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8781" r:id="rId4"/>
    <p:sldMasterId id="2147488788" r:id="rId5"/>
  </p:sldMasterIdLst>
  <p:notesMasterIdLst>
    <p:notesMasterId r:id="rId13"/>
  </p:notesMasterIdLst>
  <p:handoutMasterIdLst>
    <p:handoutMasterId r:id="rId14"/>
  </p:handoutMasterIdLst>
  <p:sldIdLst>
    <p:sldId id="2146847048" r:id="rId6"/>
    <p:sldId id="2146847594" r:id="rId7"/>
    <p:sldId id="2146847576" r:id="rId8"/>
    <p:sldId id="2146847170" r:id="rId9"/>
    <p:sldId id="2146847574" r:id="rId10"/>
    <p:sldId id="2146847172" r:id="rId11"/>
    <p:sldId id="2146847575" r:id="rId12"/>
  </p:sldIdLst>
  <p:sldSz cx="9906000" cy="6858000" type="A4"/>
  <p:notesSz cx="6858000" cy="91440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 Unicode MS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Standardabschnitt" id="{2B7BEE9B-C5D9-4E6C-A228-737609A0A096}">
          <p14:sldIdLst/>
        </p14:section>
        <p14:section name="Introduction" id="{3F1E9871-F69C-45DC-BD0C-067D3A26E7DA}">
          <p14:sldIdLst>
            <p14:sldId id="2146847048"/>
          </p14:sldIdLst>
        </p14:section>
        <p14:section name="Summary Overview" id="{BCF3FCE0-4469-490E-913B-5A8D011796F6}">
          <p14:sldIdLst>
            <p14:sldId id="2146847594"/>
            <p14:sldId id="2146847576"/>
            <p14:sldId id="2146847170"/>
            <p14:sldId id="2146847574"/>
            <p14:sldId id="2146847172"/>
            <p14:sldId id="2146847575"/>
          </p14:sldIdLst>
        </p14:section>
        <p14:section name="Annex" id="{28C936E8-EEA0-4EE4-A162-E82C31CA1CE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071" userDrawn="1">
          <p15:clr>
            <a:srgbClr val="A4A3A4"/>
          </p15:clr>
        </p15:guide>
        <p15:guide id="2" orient="horz" pos="2999" userDrawn="1">
          <p15:clr>
            <a:srgbClr val="A4A3A4"/>
          </p15:clr>
        </p15:guide>
        <p15:guide id="3" pos="32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B288222-D658-395E-091B-B060D92B499C}" name="Derks Maria 101842" initials="D1" userId="S-1-5-21-2733292141-944319808-1953232315-41790" providerId="AD"/>
  <p188:author id="{52D3BB5F-938A-A5C4-2FEA-27765391E2D9}" name="Schlipf Dominik" initials="DS" userId="S::D.Schlipf@transnetbw.de::709dd79b-46fb-43aa-9c7b-5dec1d0911ab" providerId="AD"/>
  <p188:author id="{CE8ADF7E-3153-ABF5-9C14-612E292554B0}" name="Pflanzer Václav" initials="VP" userId="S::pflanzer@ceps.cz::dd649313-377e-4125-b736-9980f49a2890" providerId="AD"/>
  <p188:author id="{AA02EA94-4687-FFBC-3A78-9FCF81999B7A}" name="Kasper, Dr. Ulf Sebastian" initials="UK" userId="S::ulf.Kasper@amprion.net::20335c05-bffb-47fa-8abc-4c227a3b3f52" providerId="AD"/>
  <p188:author id="{C2E055D6-C107-A639-C8D1-B18A6376D2FF}" name="e-ceps\101428" initials="ec" userId="e-ceps\101428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  <p:cmAuthor id="5" name="Florian Evert" initials="FE" lastIdx="2" clrIdx="5">
    <p:extLst>
      <p:ext uri="{19B8F6BF-5375-455C-9EA6-DF929625EA0E}">
        <p15:presenceInfo xmlns:p15="http://schemas.microsoft.com/office/powerpoint/2012/main" userId="S-1-5-21-1227816517-2390591808-2095617564-38029" providerId="AD"/>
      </p:ext>
    </p:extLst>
  </p:cmAuthor>
  <p:cmAuthor id="6" name="Remppis Simon" initials="RS" lastIdx="5" clrIdx="6">
    <p:extLst>
      <p:ext uri="{19B8F6BF-5375-455C-9EA6-DF929625EA0E}">
        <p15:presenceInfo xmlns:p15="http://schemas.microsoft.com/office/powerpoint/2012/main" userId="S::S.Remppis@transnetbw.de::2aef5ab0-cc38-4cab-becd-f8ca1315620f" providerId="AD"/>
      </p:ext>
    </p:extLst>
  </p:cmAuthor>
  <p:cmAuthor id="7" name="Kasper, Dr. Ulf Sebastian" initials="KDUS" lastIdx="2" clrIdx="7">
    <p:extLst>
      <p:ext uri="{19B8F6BF-5375-455C-9EA6-DF929625EA0E}">
        <p15:presenceInfo xmlns:p15="http://schemas.microsoft.com/office/powerpoint/2012/main" userId="S-1-5-21-2885048325-740612993-2269387334-13942" providerId="AD"/>
      </p:ext>
    </p:extLst>
  </p:cmAuthor>
  <p:cmAuthor id="8" name="Pellegrin Cécile" initials="PC" lastIdx="18" clrIdx="8">
    <p:extLst>
      <p:ext uri="{19B8F6BF-5375-455C-9EA6-DF929625EA0E}">
        <p15:presenceInfo xmlns:p15="http://schemas.microsoft.com/office/powerpoint/2012/main" userId="S-1-5-21-2137143959-1876693506-2580398563-11052" providerId="AD"/>
      </p:ext>
    </p:extLst>
  </p:cmAuthor>
  <p:cmAuthor id="9" name="e-ceps\100665" initials="e" lastIdx="3" clrIdx="9">
    <p:extLst>
      <p:ext uri="{19B8F6BF-5375-455C-9EA6-DF929625EA0E}">
        <p15:presenceInfo xmlns:p15="http://schemas.microsoft.com/office/powerpoint/2012/main" userId="e-ceps\100665" providerId="None"/>
      </p:ext>
    </p:extLst>
  </p:cmAuthor>
  <p:cmAuthor id="10" name="Schlipf Dominik  101428" initials="S1" lastIdx="35" clrIdx="10">
    <p:extLst>
      <p:ext uri="{19B8F6BF-5375-455C-9EA6-DF929625EA0E}">
        <p15:presenceInfo xmlns:p15="http://schemas.microsoft.com/office/powerpoint/2012/main" userId="S-1-5-21-2733292141-944319808-1953232315-40670" providerId="AD"/>
      </p:ext>
    </p:extLst>
  </p:cmAuthor>
  <p:cmAuthor id="11" name="Steber David 101525" initials="S1" lastIdx="42" clrIdx="11">
    <p:extLst>
      <p:ext uri="{19B8F6BF-5375-455C-9EA6-DF929625EA0E}">
        <p15:presenceInfo xmlns:p15="http://schemas.microsoft.com/office/powerpoint/2012/main" userId="S-1-5-21-2733292141-944319808-1953232315-40898" providerId="AD"/>
      </p:ext>
    </p:extLst>
  </p:cmAuthor>
  <p:cmAuthor id="12" name="Brun Vanessa 102250" initials="B1" lastIdx="5" clrIdx="12">
    <p:extLst>
      <p:ext uri="{19B8F6BF-5375-455C-9EA6-DF929625EA0E}">
        <p15:presenceInfo xmlns:p15="http://schemas.microsoft.com/office/powerpoint/2012/main" userId="S-1-5-21-2733292141-944319808-1953232315-43224" providerId="AD"/>
      </p:ext>
    </p:extLst>
  </p:cmAuthor>
  <p:cmAuthor id="13" name="Derks Maria 101842" initials="D1" lastIdx="11" clrIdx="13">
    <p:extLst>
      <p:ext uri="{19B8F6BF-5375-455C-9EA6-DF929625EA0E}">
        <p15:presenceInfo xmlns:p15="http://schemas.microsoft.com/office/powerpoint/2012/main" userId="S-1-5-21-2733292141-944319808-1953232315-41790" providerId="AD"/>
      </p:ext>
    </p:extLst>
  </p:cmAuthor>
  <p:cmAuthor id="14" name="Magnant Philippe" initials="MP" lastIdx="11" clrIdx="14">
    <p:extLst>
      <p:ext uri="{19B8F6BF-5375-455C-9EA6-DF929625EA0E}">
        <p15:presenceInfo xmlns:p15="http://schemas.microsoft.com/office/powerpoint/2012/main" userId="S-1-5-21-2137143959-1876693506-2580398563-50940" providerId="AD"/>
      </p:ext>
    </p:extLst>
  </p:cmAuthor>
  <p:cmAuthor id="15" name="Pellegrin Cécile" initials="PC [2]" lastIdx="38" clrIdx="15">
    <p:extLst>
      <p:ext uri="{19B8F6BF-5375-455C-9EA6-DF929625EA0E}">
        <p15:presenceInfo xmlns:p15="http://schemas.microsoft.com/office/powerpoint/2012/main" userId="S::GDK125@Belgrid.net::021e483e-7e46-4a1a-b0a1-acd8d2fcafe6" providerId="AD"/>
      </p:ext>
    </p:extLst>
  </p:cmAuthor>
  <p:cmAuthor id="16" name="Schlipf Dominik" initials="SD" lastIdx="2" clrIdx="16">
    <p:extLst>
      <p:ext uri="{19B8F6BF-5375-455C-9EA6-DF929625EA0E}">
        <p15:presenceInfo xmlns:p15="http://schemas.microsoft.com/office/powerpoint/2012/main" userId="S::D.Schlipf@transnetbw.de::709dd79b-46fb-43aa-9c7b-5dec1d0911ab" providerId="AD"/>
      </p:ext>
    </p:extLst>
  </p:cmAuthor>
  <p:cmAuthor id="17" name="Schindler Jonathan 102214" initials="S1" lastIdx="1" clrIdx="17">
    <p:extLst>
      <p:ext uri="{19B8F6BF-5375-455C-9EA6-DF929625EA0E}">
        <p15:presenceInfo xmlns:p15="http://schemas.microsoft.com/office/powerpoint/2012/main" userId="S-1-5-21-2733292141-944319808-1953232315-42866" providerId="AD"/>
      </p:ext>
    </p:extLst>
  </p:cmAuthor>
  <p:cmAuthor id="18" name="Kindsmüller, Dr. Andreas" initials="KDA" lastIdx="1" clrIdx="18">
    <p:extLst>
      <p:ext uri="{19B8F6BF-5375-455C-9EA6-DF929625EA0E}">
        <p15:presenceInfo xmlns:p15="http://schemas.microsoft.com/office/powerpoint/2012/main" userId="S::Andreas.Kindsmueller@amprion.net::c883c555-d0e5-4065-8e2b-5214fb4922fa" providerId="AD"/>
      </p:ext>
    </p:extLst>
  </p:cmAuthor>
  <p:cmAuthor id="19" name="Kasper, Dr. Ulf Sebastian" initials="KDUS [2]" lastIdx="1" clrIdx="19">
    <p:extLst>
      <p:ext uri="{19B8F6BF-5375-455C-9EA6-DF929625EA0E}">
        <p15:presenceInfo xmlns:p15="http://schemas.microsoft.com/office/powerpoint/2012/main" userId="S::ulf.Kasper@amprion.net::20335c05-bffb-47fa-8abc-4c227a3b3f52" providerId="AD"/>
      </p:ext>
    </p:extLst>
  </p:cmAuthor>
  <p:cmAuthor id="20" name="Magnant Philippe" initials="MP [2]" lastIdx="7" clrIdx="20">
    <p:extLst>
      <p:ext uri="{19B8F6BF-5375-455C-9EA6-DF929625EA0E}">
        <p15:presenceInfo xmlns:p15="http://schemas.microsoft.com/office/powerpoint/2012/main" userId="S::HCA259@Belgrid.net::8957c13f-c36e-4c1b-8734-ac072f95afef" providerId="AD"/>
      </p:ext>
    </p:extLst>
  </p:cmAuthor>
  <p:cmAuthor id="21" name="Susanne Dornick" initials="SD" lastIdx="2" clrIdx="21">
    <p:extLst>
      <p:ext uri="{19B8F6BF-5375-455C-9EA6-DF929625EA0E}">
        <p15:presenceInfo xmlns:p15="http://schemas.microsoft.com/office/powerpoint/2012/main" userId="S::SDornick@e-bridge.com::7e4f279d-63da-4c2d-9759-c2a082094936" providerId="AD"/>
      </p:ext>
    </p:extLst>
  </p:cmAuthor>
  <p:cmAuthor id="22" name="Szer Anna 101106" initials="S1" lastIdx="3" clrIdx="22">
    <p:extLst>
      <p:ext uri="{19B8F6BF-5375-455C-9EA6-DF929625EA0E}">
        <p15:presenceInfo xmlns:p15="http://schemas.microsoft.com/office/powerpoint/2012/main" userId="S-1-5-21-2733292141-944319808-1953232315-39629" providerId="AD"/>
      </p:ext>
    </p:extLst>
  </p:cmAuthor>
  <p:cmAuthor id="23" name="Kasper Ulf 101046" initials="K1" lastIdx="1" clrIdx="23">
    <p:extLst>
      <p:ext uri="{19B8F6BF-5375-455C-9EA6-DF929625EA0E}">
        <p15:presenceInfo xmlns:p15="http://schemas.microsoft.com/office/powerpoint/2012/main" userId="S-1-5-21-2733292141-944319808-1953232315-39559" providerId="AD"/>
      </p:ext>
    </p:extLst>
  </p:cmAuthor>
  <p:cmAuthor id="24" name="Aebi Stefanie" initials="AS" lastIdx="1" clrIdx="24">
    <p:extLst>
      <p:ext uri="{19B8F6BF-5375-455C-9EA6-DF929625EA0E}">
        <p15:presenceInfo xmlns:p15="http://schemas.microsoft.com/office/powerpoint/2012/main" userId="S::stefanie.aebi@swissgrid.ch::8e470f4e-f134-441b-8898-c161125c6f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hiddenSlides="1" frameSlides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682"/>
    <a:srgbClr val="67B9FF"/>
    <a:srgbClr val="002060"/>
    <a:srgbClr val="000000"/>
    <a:srgbClr val="BFBFBF"/>
    <a:srgbClr val="595959"/>
    <a:srgbClr val="FFFFFF"/>
    <a:srgbClr val="1F497D"/>
    <a:srgbClr val="AB5905"/>
    <a:srgbClr val="BDE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871" autoAdjust="0"/>
    <p:restoredTop sz="96357" autoAdjust="0"/>
  </p:normalViewPr>
  <p:slideViewPr>
    <p:cSldViewPr snapToGrid="0">
      <p:cViewPr varScale="1">
        <p:scale>
          <a:sx n="119" d="100"/>
          <a:sy n="119" d="100"/>
        </p:scale>
        <p:origin x="1194" y="330"/>
      </p:cViewPr>
      <p:guideLst>
        <p:guide orient="horz" pos="1071"/>
        <p:guide orient="horz" pos="2999"/>
        <p:guide pos="32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841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5523B9D-8214-22DC-3110-3CB2B9CBB35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EFDF7A-745C-7C37-8E33-762DCD6161C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7AD7CF-D4F2-44C1-BC58-904412505C51}" type="datetimeFigureOut">
              <a:rPr lang="en-US" smtClean="0"/>
              <a:t>6/24/2025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BA2457C8-AF14-A0C3-9FE9-4E7F1D38255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47AF438A-29F3-0105-81C5-3495971407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4122B0-FFC2-47FC-84A8-CBEFC2AEC11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9EDAFB-0D03-6BCB-9550-0A774409D1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F10393-5494-426C-B021-084917FEAA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380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87033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781C4-3037-62D9-EBE8-330E338323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465482C-E014-D2C9-0D1E-BBB048C10FC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5972100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12884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958437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D42343-B7FF-CC28-D94E-E2DA9E08AD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A5D2E37-BCC3-BDA9-37E6-D8BFB7AF5B7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29032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6C001D-9616-4C3D-D1DD-4A3C83BBD2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E7E2DFE-C0FE-0F23-FDEC-BB1B0530A9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158107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jpeg"/><Relationship Id="rId39" Type="http://schemas.openxmlformats.org/officeDocument/2006/relationships/image" Target="../media/image39.png"/><Relationship Id="rId21" Type="http://schemas.openxmlformats.org/officeDocument/2006/relationships/image" Target="../media/image21.png"/><Relationship Id="rId34" Type="http://schemas.openxmlformats.org/officeDocument/2006/relationships/image" Target="../media/image34.svg"/><Relationship Id="rId42" Type="http://schemas.openxmlformats.org/officeDocument/2006/relationships/image" Target="../media/image42.svg"/><Relationship Id="rId7" Type="http://schemas.openxmlformats.org/officeDocument/2006/relationships/image" Target="../media/image7.gif"/><Relationship Id="rId2" Type="http://schemas.openxmlformats.org/officeDocument/2006/relationships/image" Target="../media/image2.jpeg"/><Relationship Id="rId16" Type="http://schemas.openxmlformats.org/officeDocument/2006/relationships/image" Target="../media/image16.png"/><Relationship Id="rId20" Type="http://schemas.openxmlformats.org/officeDocument/2006/relationships/image" Target="../media/image20.jpeg"/><Relationship Id="rId29" Type="http://schemas.openxmlformats.org/officeDocument/2006/relationships/image" Target="../media/image29.jpeg"/><Relationship Id="rId41" Type="http://schemas.openxmlformats.org/officeDocument/2006/relationships/image" Target="../media/image4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g"/><Relationship Id="rId11" Type="http://schemas.openxmlformats.org/officeDocument/2006/relationships/image" Target="../media/image11.png"/><Relationship Id="rId24" Type="http://schemas.openxmlformats.org/officeDocument/2006/relationships/image" Target="../media/image24.emf"/><Relationship Id="rId32" Type="http://schemas.openxmlformats.org/officeDocument/2006/relationships/image" Target="../media/image32.jpeg"/><Relationship Id="rId37" Type="http://schemas.openxmlformats.org/officeDocument/2006/relationships/image" Target="../media/image37.png"/><Relationship Id="rId40" Type="http://schemas.openxmlformats.org/officeDocument/2006/relationships/image" Target="../media/image40.svg"/><Relationship Id="rId5" Type="http://schemas.openxmlformats.org/officeDocument/2006/relationships/image" Target="../media/image5.jpg"/><Relationship Id="rId15" Type="http://schemas.openxmlformats.org/officeDocument/2006/relationships/image" Target="../media/image15.svg"/><Relationship Id="rId23" Type="http://schemas.openxmlformats.org/officeDocument/2006/relationships/image" Target="../media/image23.emf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10" Type="http://schemas.openxmlformats.org/officeDocument/2006/relationships/image" Target="../media/image10.jpeg"/><Relationship Id="rId19" Type="http://schemas.openxmlformats.org/officeDocument/2006/relationships/image" Target="../media/image19.svg"/><Relationship Id="rId31" Type="http://schemas.openxmlformats.org/officeDocument/2006/relationships/image" Target="../media/image31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svg"/><Relationship Id="rId27" Type="http://schemas.openxmlformats.org/officeDocument/2006/relationships/image" Target="../media/image27.png"/><Relationship Id="rId30" Type="http://schemas.openxmlformats.org/officeDocument/2006/relationships/image" Target="../media/image30.jpeg"/><Relationship Id="rId35" Type="http://schemas.openxmlformats.org/officeDocument/2006/relationships/image" Target="../media/image35.png"/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5" Type="http://schemas.openxmlformats.org/officeDocument/2006/relationships/image" Target="../media/image25.jpeg"/><Relationship Id="rId33" Type="http://schemas.openxmlformats.org/officeDocument/2006/relationships/image" Target="../media/image33.png"/><Relationship Id="rId38" Type="http://schemas.openxmlformats.org/officeDocument/2006/relationships/image" Target="../media/image38.svg"/></Relationships>
</file>

<file path=ppt/slideLayouts/_rels/slideLayout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jpeg"/><Relationship Id="rId39" Type="http://schemas.openxmlformats.org/officeDocument/2006/relationships/image" Target="../media/image39.png"/><Relationship Id="rId21" Type="http://schemas.openxmlformats.org/officeDocument/2006/relationships/image" Target="../media/image21.png"/><Relationship Id="rId34" Type="http://schemas.openxmlformats.org/officeDocument/2006/relationships/image" Target="../media/image34.svg"/><Relationship Id="rId42" Type="http://schemas.openxmlformats.org/officeDocument/2006/relationships/image" Target="../media/image42.svg"/><Relationship Id="rId7" Type="http://schemas.openxmlformats.org/officeDocument/2006/relationships/image" Target="../media/image7.gif"/><Relationship Id="rId2" Type="http://schemas.openxmlformats.org/officeDocument/2006/relationships/image" Target="../media/image2.jpeg"/><Relationship Id="rId16" Type="http://schemas.openxmlformats.org/officeDocument/2006/relationships/image" Target="../media/image16.png"/><Relationship Id="rId20" Type="http://schemas.openxmlformats.org/officeDocument/2006/relationships/image" Target="../media/image20.jpeg"/><Relationship Id="rId29" Type="http://schemas.openxmlformats.org/officeDocument/2006/relationships/image" Target="../media/image29.jpeg"/><Relationship Id="rId41" Type="http://schemas.openxmlformats.org/officeDocument/2006/relationships/image" Target="../media/image4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g"/><Relationship Id="rId11" Type="http://schemas.openxmlformats.org/officeDocument/2006/relationships/image" Target="../media/image11.png"/><Relationship Id="rId24" Type="http://schemas.openxmlformats.org/officeDocument/2006/relationships/image" Target="../media/image24.emf"/><Relationship Id="rId32" Type="http://schemas.openxmlformats.org/officeDocument/2006/relationships/image" Target="../media/image32.jpeg"/><Relationship Id="rId37" Type="http://schemas.openxmlformats.org/officeDocument/2006/relationships/image" Target="../media/image37.png"/><Relationship Id="rId40" Type="http://schemas.openxmlformats.org/officeDocument/2006/relationships/image" Target="../media/image40.svg"/><Relationship Id="rId5" Type="http://schemas.openxmlformats.org/officeDocument/2006/relationships/image" Target="../media/image5.jpg"/><Relationship Id="rId15" Type="http://schemas.openxmlformats.org/officeDocument/2006/relationships/image" Target="../media/image15.svg"/><Relationship Id="rId23" Type="http://schemas.openxmlformats.org/officeDocument/2006/relationships/image" Target="../media/image23.emf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10" Type="http://schemas.openxmlformats.org/officeDocument/2006/relationships/image" Target="../media/image10.jpeg"/><Relationship Id="rId19" Type="http://schemas.openxmlformats.org/officeDocument/2006/relationships/image" Target="../media/image19.svg"/><Relationship Id="rId31" Type="http://schemas.openxmlformats.org/officeDocument/2006/relationships/image" Target="../media/image31.jpe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Relationship Id="rId22" Type="http://schemas.openxmlformats.org/officeDocument/2006/relationships/image" Target="../media/image22.svg"/><Relationship Id="rId27" Type="http://schemas.openxmlformats.org/officeDocument/2006/relationships/image" Target="../media/image27.png"/><Relationship Id="rId30" Type="http://schemas.openxmlformats.org/officeDocument/2006/relationships/image" Target="../media/image30.jpeg"/><Relationship Id="rId35" Type="http://schemas.openxmlformats.org/officeDocument/2006/relationships/image" Target="../media/image35.png"/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5" Type="http://schemas.openxmlformats.org/officeDocument/2006/relationships/image" Target="../media/image25.jpeg"/><Relationship Id="rId33" Type="http://schemas.openxmlformats.org/officeDocument/2006/relationships/image" Target="../media/image33.png"/><Relationship Id="rId38" Type="http://schemas.openxmlformats.org/officeDocument/2006/relationships/image" Target="../media/image38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7044142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0" i="0" dirty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640000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AB5905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540000" y="1080000"/>
            <a:ext cx="9000000" cy="4320000"/>
          </a:xfrm>
        </p:spPr>
        <p:txBody>
          <a:bodyPr/>
          <a:lstStyle>
            <a:lvl1pPr>
              <a:defRPr b="0" i="0">
                <a:solidFill>
                  <a:srgbClr val="AB5905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2860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622505" y="3930577"/>
            <a:ext cx="5275615" cy="7921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63" b="0" i="0" baseline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23854" y="2810236"/>
            <a:ext cx="5713598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1950" b="1" i="0" baseline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Name of the meeting</a:t>
            </a:r>
          </a:p>
        </p:txBody>
      </p:sp>
      <p:grpSp>
        <p:nvGrpSpPr>
          <p:cNvPr id="3" name="Graphic 3">
            <a:extLst>
              <a:ext uri="{FF2B5EF4-FFF2-40B4-BE49-F238E27FC236}">
                <a16:creationId xmlns:a16="http://schemas.microsoft.com/office/drawing/2014/main" id="{395BC908-9133-8E3E-0979-4E0001ACF0A4}"/>
              </a:ext>
            </a:extLst>
          </p:cNvPr>
          <p:cNvGrpSpPr>
            <a:grpSpLocks/>
          </p:cNvGrpSpPr>
          <p:nvPr userDrawn="1"/>
        </p:nvGrpSpPr>
        <p:grpSpPr>
          <a:xfrm>
            <a:off x="5824664" y="2320740"/>
            <a:ext cx="4533750" cy="4460400"/>
            <a:chOff x="66025" y="-34306"/>
            <a:chExt cx="6381750" cy="5895975"/>
          </a:xfrm>
          <a:solidFill>
            <a:srgbClr val="AB5905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4" name="Freeform: Shape 259">
              <a:extLst>
                <a:ext uri="{FF2B5EF4-FFF2-40B4-BE49-F238E27FC236}">
                  <a16:creationId xmlns:a16="http://schemas.microsoft.com/office/drawing/2014/main" id="{253A250C-F303-9766-0C93-8F7A11564A95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reeform: Shape 260">
              <a:extLst>
                <a:ext uri="{FF2B5EF4-FFF2-40B4-BE49-F238E27FC236}">
                  <a16:creationId xmlns:a16="http://schemas.microsoft.com/office/drawing/2014/main" id="{29784977-5477-A21C-A93A-E98A15A85FCF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reeform: Shape 261">
              <a:extLst>
                <a:ext uri="{FF2B5EF4-FFF2-40B4-BE49-F238E27FC236}">
                  <a16:creationId xmlns:a16="http://schemas.microsoft.com/office/drawing/2014/main" id="{B79D4D2C-9222-4B0D-2A0B-625F72426B7D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reeform: Shape 262">
              <a:extLst>
                <a:ext uri="{FF2B5EF4-FFF2-40B4-BE49-F238E27FC236}">
                  <a16:creationId xmlns:a16="http://schemas.microsoft.com/office/drawing/2014/main" id="{9F9287C1-5735-537D-4E27-45F8D1AEC449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: Shape 263">
              <a:extLst>
                <a:ext uri="{FF2B5EF4-FFF2-40B4-BE49-F238E27FC236}">
                  <a16:creationId xmlns:a16="http://schemas.microsoft.com/office/drawing/2014/main" id="{6A2F3108-9A51-F5DC-E816-54FE09C4562C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: Shape 264">
              <a:extLst>
                <a:ext uri="{FF2B5EF4-FFF2-40B4-BE49-F238E27FC236}">
                  <a16:creationId xmlns:a16="http://schemas.microsoft.com/office/drawing/2014/main" id="{59E82096-569A-5B03-7E91-81ED1D54A12A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reeform: Shape 265">
              <a:extLst>
                <a:ext uri="{FF2B5EF4-FFF2-40B4-BE49-F238E27FC236}">
                  <a16:creationId xmlns:a16="http://schemas.microsoft.com/office/drawing/2014/main" id="{60AE756D-35AE-309F-B95D-CF4E06E4A140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reeform: Shape 266">
              <a:extLst>
                <a:ext uri="{FF2B5EF4-FFF2-40B4-BE49-F238E27FC236}">
                  <a16:creationId xmlns:a16="http://schemas.microsoft.com/office/drawing/2014/main" id="{AED34D53-E747-4018-6BFA-F8302619224C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: Shape 267">
              <a:extLst>
                <a:ext uri="{FF2B5EF4-FFF2-40B4-BE49-F238E27FC236}">
                  <a16:creationId xmlns:a16="http://schemas.microsoft.com/office/drawing/2014/main" id="{DB7DDAEE-19DD-A9AC-FBC7-9643A71E91E4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: Shape 268">
              <a:extLst>
                <a:ext uri="{FF2B5EF4-FFF2-40B4-BE49-F238E27FC236}">
                  <a16:creationId xmlns:a16="http://schemas.microsoft.com/office/drawing/2014/main" id="{D19102E3-4235-F6A4-44B0-B5480794D934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reeform: Shape 269">
              <a:extLst>
                <a:ext uri="{FF2B5EF4-FFF2-40B4-BE49-F238E27FC236}">
                  <a16:creationId xmlns:a16="http://schemas.microsoft.com/office/drawing/2014/main" id="{88C39AC1-D22C-A193-37A3-FEDBCCA6820D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reeform: Shape 270">
              <a:extLst>
                <a:ext uri="{FF2B5EF4-FFF2-40B4-BE49-F238E27FC236}">
                  <a16:creationId xmlns:a16="http://schemas.microsoft.com/office/drawing/2014/main" id="{E2C83786-671C-8777-73E9-F353A5D6D3AE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reeform: Shape 271">
              <a:extLst>
                <a:ext uri="{FF2B5EF4-FFF2-40B4-BE49-F238E27FC236}">
                  <a16:creationId xmlns:a16="http://schemas.microsoft.com/office/drawing/2014/main" id="{4411F7B7-F434-BE7C-C8CC-7A680A52F0CB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reeform: Shape 272">
              <a:extLst>
                <a:ext uri="{FF2B5EF4-FFF2-40B4-BE49-F238E27FC236}">
                  <a16:creationId xmlns:a16="http://schemas.microsoft.com/office/drawing/2014/main" id="{CC471ACF-B91B-F1DA-6EBB-AB51A15136A5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reeform: Shape 273">
              <a:extLst>
                <a:ext uri="{FF2B5EF4-FFF2-40B4-BE49-F238E27FC236}">
                  <a16:creationId xmlns:a16="http://schemas.microsoft.com/office/drawing/2014/main" id="{90E6B3FA-1B8B-8B40-FFCB-3E3B50C3E50D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Freeform: Shape 274">
              <a:extLst>
                <a:ext uri="{FF2B5EF4-FFF2-40B4-BE49-F238E27FC236}">
                  <a16:creationId xmlns:a16="http://schemas.microsoft.com/office/drawing/2014/main" id="{53EEB15E-5FF0-144A-9552-DED3A95B8E50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Freeform: Shape 275">
              <a:extLst>
                <a:ext uri="{FF2B5EF4-FFF2-40B4-BE49-F238E27FC236}">
                  <a16:creationId xmlns:a16="http://schemas.microsoft.com/office/drawing/2014/main" id="{B8A2C3DE-113C-8AA2-EA8A-312650B6756E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Freeform: Shape 276">
              <a:extLst>
                <a:ext uri="{FF2B5EF4-FFF2-40B4-BE49-F238E27FC236}">
                  <a16:creationId xmlns:a16="http://schemas.microsoft.com/office/drawing/2014/main" id="{24303209-A900-261F-634C-6DA6FA3B9354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Freeform: Shape 277">
              <a:extLst>
                <a:ext uri="{FF2B5EF4-FFF2-40B4-BE49-F238E27FC236}">
                  <a16:creationId xmlns:a16="http://schemas.microsoft.com/office/drawing/2014/main" id="{91D38F99-D3DD-3AC4-63D6-68A138A543CD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: Shape 278">
              <a:extLst>
                <a:ext uri="{FF2B5EF4-FFF2-40B4-BE49-F238E27FC236}">
                  <a16:creationId xmlns:a16="http://schemas.microsoft.com/office/drawing/2014/main" id="{240243DA-9B82-2470-0919-8384CB0E22A0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279">
              <a:extLst>
                <a:ext uri="{FF2B5EF4-FFF2-40B4-BE49-F238E27FC236}">
                  <a16:creationId xmlns:a16="http://schemas.microsoft.com/office/drawing/2014/main" id="{8072B55C-481F-1DE2-E797-48956E4C04F2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: Shape 280">
              <a:extLst>
                <a:ext uri="{FF2B5EF4-FFF2-40B4-BE49-F238E27FC236}">
                  <a16:creationId xmlns:a16="http://schemas.microsoft.com/office/drawing/2014/main" id="{862B4534-AEAE-1345-0C3E-C99052928813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281">
              <a:extLst>
                <a:ext uri="{FF2B5EF4-FFF2-40B4-BE49-F238E27FC236}">
                  <a16:creationId xmlns:a16="http://schemas.microsoft.com/office/drawing/2014/main" id="{E7014A14-1770-E297-7794-B3E2DB9980D4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282">
              <a:extLst>
                <a:ext uri="{FF2B5EF4-FFF2-40B4-BE49-F238E27FC236}">
                  <a16:creationId xmlns:a16="http://schemas.microsoft.com/office/drawing/2014/main" id="{8B883766-CE12-1E50-A3C2-D503C2195E2C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: Shape 283">
              <a:extLst>
                <a:ext uri="{FF2B5EF4-FFF2-40B4-BE49-F238E27FC236}">
                  <a16:creationId xmlns:a16="http://schemas.microsoft.com/office/drawing/2014/main" id="{1F0EECE6-60D4-6036-C93C-E19F08D2D0DC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: Shape 284">
              <a:extLst>
                <a:ext uri="{FF2B5EF4-FFF2-40B4-BE49-F238E27FC236}">
                  <a16:creationId xmlns:a16="http://schemas.microsoft.com/office/drawing/2014/main" id="{7761E656-C660-D9F0-72CD-21EA907FF19B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eform: Shape 285">
              <a:extLst>
                <a:ext uri="{FF2B5EF4-FFF2-40B4-BE49-F238E27FC236}">
                  <a16:creationId xmlns:a16="http://schemas.microsoft.com/office/drawing/2014/main" id="{671D78EB-A8CD-81F3-6B11-6490DFD8DC3D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eform: Shape 286">
              <a:extLst>
                <a:ext uri="{FF2B5EF4-FFF2-40B4-BE49-F238E27FC236}">
                  <a16:creationId xmlns:a16="http://schemas.microsoft.com/office/drawing/2014/main" id="{7D3EC13D-C1EA-A070-5AB9-D647B4985DD7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Freeform: Shape 287">
              <a:extLst>
                <a:ext uri="{FF2B5EF4-FFF2-40B4-BE49-F238E27FC236}">
                  <a16:creationId xmlns:a16="http://schemas.microsoft.com/office/drawing/2014/main" id="{D8D54D46-84B5-1A2F-8DC8-532D38AC73BA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Freeform: Shape 288">
              <a:extLst>
                <a:ext uri="{FF2B5EF4-FFF2-40B4-BE49-F238E27FC236}">
                  <a16:creationId xmlns:a16="http://schemas.microsoft.com/office/drawing/2014/main" id="{FACDB246-C564-C1DF-FB6A-F2B9BA6FE274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: Shape 289">
              <a:extLst>
                <a:ext uri="{FF2B5EF4-FFF2-40B4-BE49-F238E27FC236}">
                  <a16:creationId xmlns:a16="http://schemas.microsoft.com/office/drawing/2014/main" id="{E2E0667A-2CD7-B007-F8CF-73C7C63AD858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eform: Shape 290">
              <a:extLst>
                <a:ext uri="{FF2B5EF4-FFF2-40B4-BE49-F238E27FC236}">
                  <a16:creationId xmlns:a16="http://schemas.microsoft.com/office/drawing/2014/main" id="{0C501FDD-9D5C-27DC-642B-7C8053FA4820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: Shape 291">
              <a:extLst>
                <a:ext uri="{FF2B5EF4-FFF2-40B4-BE49-F238E27FC236}">
                  <a16:creationId xmlns:a16="http://schemas.microsoft.com/office/drawing/2014/main" id="{5A0C4280-60D5-B18B-9A29-3D5567684BA2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: Shape 292">
              <a:extLst>
                <a:ext uri="{FF2B5EF4-FFF2-40B4-BE49-F238E27FC236}">
                  <a16:creationId xmlns:a16="http://schemas.microsoft.com/office/drawing/2014/main" id="{AD5BCE0D-3023-521B-0EE0-AC336C844BE0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: Shape 293">
              <a:extLst>
                <a:ext uri="{FF2B5EF4-FFF2-40B4-BE49-F238E27FC236}">
                  <a16:creationId xmlns:a16="http://schemas.microsoft.com/office/drawing/2014/main" id="{6D5605D6-1818-6457-A786-926679DF8817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: Shape 294">
              <a:extLst>
                <a:ext uri="{FF2B5EF4-FFF2-40B4-BE49-F238E27FC236}">
                  <a16:creationId xmlns:a16="http://schemas.microsoft.com/office/drawing/2014/main" id="{DAFE3D97-A82B-608A-A612-90F38072EE7E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: Shape 295">
              <a:extLst>
                <a:ext uri="{FF2B5EF4-FFF2-40B4-BE49-F238E27FC236}">
                  <a16:creationId xmlns:a16="http://schemas.microsoft.com/office/drawing/2014/main" id="{0115614B-1FB3-CBC2-6874-0AEA3838ACC8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: Shape 296">
              <a:extLst>
                <a:ext uri="{FF2B5EF4-FFF2-40B4-BE49-F238E27FC236}">
                  <a16:creationId xmlns:a16="http://schemas.microsoft.com/office/drawing/2014/main" id="{BB3C1F0F-D396-4255-88E7-1B3AA5E31209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: Shape 297">
              <a:extLst>
                <a:ext uri="{FF2B5EF4-FFF2-40B4-BE49-F238E27FC236}">
                  <a16:creationId xmlns:a16="http://schemas.microsoft.com/office/drawing/2014/main" id="{062D2D26-0EBC-1AFB-5130-1DC4504F49CF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Freeform: Shape 298">
              <a:extLst>
                <a:ext uri="{FF2B5EF4-FFF2-40B4-BE49-F238E27FC236}">
                  <a16:creationId xmlns:a16="http://schemas.microsoft.com/office/drawing/2014/main" id="{5ACC8A7A-8175-656A-068B-7A9110D6C806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Freeform: Shape 299">
              <a:extLst>
                <a:ext uri="{FF2B5EF4-FFF2-40B4-BE49-F238E27FC236}">
                  <a16:creationId xmlns:a16="http://schemas.microsoft.com/office/drawing/2014/main" id="{0EE75964-C91F-621D-DB7E-401BD11B4BFB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: Shape 300">
              <a:extLst>
                <a:ext uri="{FF2B5EF4-FFF2-40B4-BE49-F238E27FC236}">
                  <a16:creationId xmlns:a16="http://schemas.microsoft.com/office/drawing/2014/main" id="{2FC129D8-B2D5-EF85-F143-6096B313122C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: Shape 301">
              <a:extLst>
                <a:ext uri="{FF2B5EF4-FFF2-40B4-BE49-F238E27FC236}">
                  <a16:creationId xmlns:a16="http://schemas.microsoft.com/office/drawing/2014/main" id="{5366F926-F1F0-E685-528A-2C1418B1697E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Freeform: Shape 302">
              <a:extLst>
                <a:ext uri="{FF2B5EF4-FFF2-40B4-BE49-F238E27FC236}">
                  <a16:creationId xmlns:a16="http://schemas.microsoft.com/office/drawing/2014/main" id="{1623ECF0-B90E-5291-9DB8-933B3936A8AA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chemeClr val="tx2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: Shape 303">
              <a:extLst>
                <a:ext uri="{FF2B5EF4-FFF2-40B4-BE49-F238E27FC236}">
                  <a16:creationId xmlns:a16="http://schemas.microsoft.com/office/drawing/2014/main" id="{242B67F2-7FC7-AE3E-133C-A3839BD6FF58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: Shape 304">
              <a:extLst>
                <a:ext uri="{FF2B5EF4-FFF2-40B4-BE49-F238E27FC236}">
                  <a16:creationId xmlns:a16="http://schemas.microsoft.com/office/drawing/2014/main" id="{43B4E45B-58DC-D431-E697-EFFA03D2DE64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: Shape 305">
              <a:extLst>
                <a:ext uri="{FF2B5EF4-FFF2-40B4-BE49-F238E27FC236}">
                  <a16:creationId xmlns:a16="http://schemas.microsoft.com/office/drawing/2014/main" id="{D564952F-02E1-5CE9-4303-2E9B8EB87213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: Shape 306">
              <a:extLst>
                <a:ext uri="{FF2B5EF4-FFF2-40B4-BE49-F238E27FC236}">
                  <a16:creationId xmlns:a16="http://schemas.microsoft.com/office/drawing/2014/main" id="{1F2A739E-66BC-8E25-7D90-466161A90D7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: Shape 307">
              <a:extLst>
                <a:ext uri="{FF2B5EF4-FFF2-40B4-BE49-F238E27FC236}">
                  <a16:creationId xmlns:a16="http://schemas.microsoft.com/office/drawing/2014/main" id="{591A36BB-E8BD-7F15-7924-A1D06ECB27F3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: Shape 308">
              <a:extLst>
                <a:ext uri="{FF2B5EF4-FFF2-40B4-BE49-F238E27FC236}">
                  <a16:creationId xmlns:a16="http://schemas.microsoft.com/office/drawing/2014/main" id="{0A4B6089-033E-46F5-ED0F-935682E5627E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: Shape 309">
              <a:extLst>
                <a:ext uri="{FF2B5EF4-FFF2-40B4-BE49-F238E27FC236}">
                  <a16:creationId xmlns:a16="http://schemas.microsoft.com/office/drawing/2014/main" id="{23A91E6A-1761-186B-AC61-29C0CB011B6B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9221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897200" y="1784174"/>
            <a:ext cx="7395317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1950" b="1" i="0" baseline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512765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8F492C-84EC-E4C3-9659-6C750DB842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181DB50-0322-43D5-2B21-3AE2D501C8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4618E9F-5E7A-7595-4565-BBCFDBBC61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0000" y="1080001"/>
            <a:ext cx="8774912" cy="53091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1"/>
            <a:r>
              <a:rPr lang="en-GB" noProof="0" dirty="0"/>
              <a:t>[Add text]</a:t>
            </a:r>
          </a:p>
          <a:p>
            <a:pPr lvl="2"/>
            <a:r>
              <a:rPr lang="en-GB" noProof="0" dirty="0"/>
              <a:t>[Add text]</a:t>
            </a:r>
          </a:p>
          <a:p>
            <a:pPr lvl="3"/>
            <a:r>
              <a:rPr lang="en-GB" noProof="0" dirty="0"/>
              <a:t>[Add text]</a:t>
            </a:r>
          </a:p>
        </p:txBody>
      </p:sp>
    </p:spTree>
    <p:extLst>
      <p:ext uri="{BB962C8B-B14F-4D97-AF65-F5344CB8AC3E}">
        <p14:creationId xmlns:p14="http://schemas.microsoft.com/office/powerpoint/2010/main" val="11884396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B59A47-E689-5DB3-0764-1145BCE12F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CC23F5A-9C38-DEE6-DC6D-00F73092F6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455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slide - o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34C407-60D9-53C9-D316-70630442E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5894"/>
            <a:ext cx="7932633" cy="371475"/>
          </a:xfrm>
          <a:prstGeom prst="rect">
            <a:avLst/>
          </a:prstGeom>
        </p:spPr>
        <p:txBody>
          <a:bodyPr/>
          <a:lstStyle/>
          <a:p>
            <a:r>
              <a:rPr lang="en-GB" noProof="0" dirty="0" err="1"/>
              <a:t>Mastertitel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80D-4F5A-5A4B-A853-B190CB172C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/>
              <a:t>Mastertextformat bearbeiten</a:t>
            </a:r>
          </a:p>
          <a:p>
            <a:pPr lvl="1"/>
            <a:r>
              <a:rPr lang="en-GB" noProof="0"/>
              <a:t>Zweite Ebene</a:t>
            </a:r>
          </a:p>
          <a:p>
            <a:pPr lvl="2"/>
            <a:r>
              <a:rPr lang="en-GB" noProof="0"/>
              <a:t>Dritte Ebene</a:t>
            </a:r>
          </a:p>
          <a:p>
            <a:pPr lvl="3"/>
            <a:r>
              <a:rPr lang="en-GB" noProof="0"/>
              <a:t>Vierte Ebene</a:t>
            </a:r>
          </a:p>
          <a:p>
            <a:pPr lvl="4"/>
            <a:r>
              <a:rPr lang="en-GB" noProof="0"/>
              <a:t>Fünfte Ebene</a:t>
            </a: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07A5BD7F-9935-5545-AA13-A9D4CCF638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561" y="6449526"/>
            <a:ext cx="624557" cy="4152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52108FB-23E0-4454-978B-54EB3005B0B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6805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999" y="108000"/>
            <a:ext cx="6798796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0" i="0" dirty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8376894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AB5905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  <a:p>
            <a:pPr lvl="0">
              <a:spcBef>
                <a:spcPct val="0"/>
              </a:spcBef>
            </a:pP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562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926168" y="2912663"/>
            <a:ext cx="7395317" cy="792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baseline="0" dirty="0">
                <a:solidFill>
                  <a:schemeClr val="tx2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322"/>
            <a:ext cx="7395317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3000" b="0" i="0" baseline="0" dirty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the meeting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5FB8CB5-6E10-2979-542A-4EBEE48228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6648" y="3319766"/>
            <a:ext cx="422354" cy="14542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F95900-904C-F02A-0F92-1EFF6F256A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4717" y="2411655"/>
            <a:ext cx="532101" cy="33227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E8E291B-6534-86DB-40A8-A8B7DBCEAE1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1726" y="3472967"/>
            <a:ext cx="288089" cy="4290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AA43429-E6FF-FD14-989D-5B725AEEFE8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65144" y="3499382"/>
            <a:ext cx="573844" cy="276342"/>
          </a:xfrm>
          <a:prstGeom prst="rect">
            <a:avLst/>
          </a:prstGeom>
        </p:spPr>
      </p:pic>
      <p:pic>
        <p:nvPicPr>
          <p:cNvPr id="6" name="Picture 12">
            <a:extLst>
              <a:ext uri="{FF2B5EF4-FFF2-40B4-BE49-F238E27FC236}">
                <a16:creationId xmlns:a16="http://schemas.microsoft.com/office/drawing/2014/main" id="{4A8456BA-32B6-3F39-E72E-6FA941FC87F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/>
        </p:blipFill>
        <p:spPr bwMode="auto">
          <a:xfrm>
            <a:off x="269428" y="3972359"/>
            <a:ext cx="855487" cy="16895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D0F27A9-3616-C837-6029-02BCD00D51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059102" y="1773023"/>
            <a:ext cx="490160" cy="1691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4E4920-729D-7AD6-95B3-72F330B87A0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595" y="3227776"/>
            <a:ext cx="592836" cy="19659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440D2A-E7B9-0F1D-0592-E9F64BC4CD1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34648" y="2308102"/>
            <a:ext cx="614614" cy="3841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BA2E0CB-A1A3-FA57-310A-704DA76CCBF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538" y="3818518"/>
            <a:ext cx="327901" cy="30333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1611681-35B1-2CE2-58B7-7616CDE4581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90625" y="4403223"/>
            <a:ext cx="448906" cy="21547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901F1F31-A665-D1D8-6CC3-4CF35A4144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64093" y="4198024"/>
            <a:ext cx="414645" cy="1146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7459666-32C9-FC1B-F776-E23BC647B49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99064" y="4619850"/>
            <a:ext cx="435374" cy="22752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35F260C3-DC66-6E67-4916-48FCDCED9AD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1708" y="4187654"/>
            <a:ext cx="643805" cy="13386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DCAEECF-3C1C-DF76-5BDE-D470E798957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079" y="4907492"/>
            <a:ext cx="577379" cy="17043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99CC57ED-C6BA-CD6F-9D9A-E853229D64E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30336" y="4693268"/>
            <a:ext cx="676854" cy="12277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8F6C81E-0438-3532-FB29-02214451A2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2765" y="5166907"/>
            <a:ext cx="593685" cy="155426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3F7D4BB-9CE9-7F5F-9786-3317471D8990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68288" y="4462295"/>
            <a:ext cx="808142" cy="9732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402333B-3BB0-2367-EE1D-CABE8CC56F41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14829" y="5431225"/>
            <a:ext cx="568341" cy="20703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BB970F1-0449-223C-5BC3-835EA9179867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191141" y="5726561"/>
            <a:ext cx="392029" cy="20572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2F891CD-5F52-8B4D-DD50-C484879A3214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311188" y="5446689"/>
            <a:ext cx="525653" cy="1582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61B61BA-3451-9CA8-0F9B-75871671140A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280021" y="6014808"/>
            <a:ext cx="587985" cy="20965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FE57573-6803-E801-CD01-2D0854A48C76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293424" y="5201077"/>
            <a:ext cx="593685" cy="1484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2EE3EE6-B337-3D30-9CDF-74F70B279C5C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268288" y="5745692"/>
            <a:ext cx="657218" cy="18289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569EE79-5175-C23B-70E7-7C9B0CBBBFD3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219739" y="1684636"/>
            <a:ext cx="624539" cy="293807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75B6CC1-FF45-FA19-7046-AFD5F6799FB9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0319" y="4888883"/>
            <a:ext cx="657890" cy="24706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05B0162-F282-0952-5516-340E1BE95AC5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799933" y="1435623"/>
            <a:ext cx="673419" cy="24706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B8F37742-0A8D-D78A-71FB-53681DE56843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72587" y="2073954"/>
            <a:ext cx="471691" cy="236355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49711F22-ABAE-848E-A11D-45C3E94C3608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95785" y="6020587"/>
            <a:ext cx="562406" cy="182896"/>
          </a:xfrm>
          <a:prstGeom prst="rect">
            <a:avLst/>
          </a:prstGeom>
        </p:spPr>
      </p:pic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1FE56AA1-6C07-232E-331A-157764775A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/>
          <a:srcRect l="12229" t="22237" r="11435" b="22043"/>
          <a:stretch/>
        </p:blipFill>
        <p:spPr>
          <a:xfrm>
            <a:off x="985302" y="2046846"/>
            <a:ext cx="583371" cy="21712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5E19DC3D-7C47-7DC1-7A71-9010945143F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60" y="2830147"/>
            <a:ext cx="463016" cy="369792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B6A38F86-951A-99D1-1889-6EDC4BC64909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62733" y="3050411"/>
            <a:ext cx="695458" cy="132137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65A51B2-CD31-7BBC-55E3-BA95F083FE47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51332" y="1451315"/>
            <a:ext cx="423831" cy="163012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DEA386B9-C325-8201-CBC0-A8CEB0F0363C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36496" y="2774232"/>
            <a:ext cx="684000" cy="85365"/>
          </a:xfrm>
          <a:prstGeom prst="rect">
            <a:avLst/>
          </a:prstGeom>
        </p:spPr>
      </p:pic>
      <p:grpSp>
        <p:nvGrpSpPr>
          <p:cNvPr id="207" name="Graphic 3">
            <a:extLst>
              <a:ext uri="{FF2B5EF4-FFF2-40B4-BE49-F238E27FC236}">
                <a16:creationId xmlns:a16="http://schemas.microsoft.com/office/drawing/2014/main" id="{6C5630B3-5D86-46C2-B8DB-3E03A15F4D6F}"/>
              </a:ext>
            </a:extLst>
          </p:cNvPr>
          <p:cNvGrpSpPr>
            <a:grpSpLocks/>
          </p:cNvGrpSpPr>
          <p:nvPr userDrawn="1"/>
        </p:nvGrpSpPr>
        <p:grpSpPr>
          <a:xfrm>
            <a:off x="5713683" y="4733612"/>
            <a:ext cx="2052000" cy="1641600"/>
            <a:chOff x="66025" y="-34306"/>
            <a:chExt cx="6381750" cy="5895975"/>
          </a:xfrm>
          <a:solidFill>
            <a:srgbClr val="AB5905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208" name="Freeform: Shape 207">
              <a:extLst>
                <a:ext uri="{FF2B5EF4-FFF2-40B4-BE49-F238E27FC236}">
                  <a16:creationId xmlns:a16="http://schemas.microsoft.com/office/drawing/2014/main" id="{DF1C6926-7E09-445D-942D-739A542D1496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Freeform: Shape 208">
              <a:extLst>
                <a:ext uri="{FF2B5EF4-FFF2-40B4-BE49-F238E27FC236}">
                  <a16:creationId xmlns:a16="http://schemas.microsoft.com/office/drawing/2014/main" id="{97209D62-7999-4AFE-9202-6D9FB0D67525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0" name="Freeform: Shape 209">
              <a:extLst>
                <a:ext uri="{FF2B5EF4-FFF2-40B4-BE49-F238E27FC236}">
                  <a16:creationId xmlns:a16="http://schemas.microsoft.com/office/drawing/2014/main" id="{946B35F7-4880-47FB-A820-C5D1FC523305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Freeform: Shape 210">
              <a:extLst>
                <a:ext uri="{FF2B5EF4-FFF2-40B4-BE49-F238E27FC236}">
                  <a16:creationId xmlns:a16="http://schemas.microsoft.com/office/drawing/2014/main" id="{9B745E42-BF6B-41F0-B172-A74D4D34C133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2" name="Freeform: Shape 211">
              <a:extLst>
                <a:ext uri="{FF2B5EF4-FFF2-40B4-BE49-F238E27FC236}">
                  <a16:creationId xmlns:a16="http://schemas.microsoft.com/office/drawing/2014/main" id="{65F74314-2332-46A7-A840-E368E4E3689D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3" name="Freeform: Shape 212">
              <a:extLst>
                <a:ext uri="{FF2B5EF4-FFF2-40B4-BE49-F238E27FC236}">
                  <a16:creationId xmlns:a16="http://schemas.microsoft.com/office/drawing/2014/main" id="{7C1860C1-92DC-42E3-878B-6453D3683983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Freeform: Shape 213">
              <a:extLst>
                <a:ext uri="{FF2B5EF4-FFF2-40B4-BE49-F238E27FC236}">
                  <a16:creationId xmlns:a16="http://schemas.microsoft.com/office/drawing/2014/main" id="{D7847173-1BFC-4CB3-A383-DCE33BDF1B4B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id="{F211357D-C519-4D08-B6D9-C690290AE35B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6" name="Freeform: Shape 215">
              <a:extLst>
                <a:ext uri="{FF2B5EF4-FFF2-40B4-BE49-F238E27FC236}">
                  <a16:creationId xmlns:a16="http://schemas.microsoft.com/office/drawing/2014/main" id="{4730C910-FBC7-497C-A170-D9ABDB2FD1D7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7" name="Freeform: Shape 216">
              <a:extLst>
                <a:ext uri="{FF2B5EF4-FFF2-40B4-BE49-F238E27FC236}">
                  <a16:creationId xmlns:a16="http://schemas.microsoft.com/office/drawing/2014/main" id="{69922009-40AA-485F-ACEB-72D71DB3BD0D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id="{D1870B85-1BE1-4EDF-ABE9-DBE80EBE91A4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6212315A-EA4E-4CFE-89A4-632D6D372656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5F073723-3662-41EC-8C91-C250BC62F91C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695739E1-EAAE-4CFF-800E-CDAFB71738DA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E3442D4A-0595-47F3-B068-D616390F2649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2B0A1A23-C7C6-4593-8000-1AB3F418EAC0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6B3F18D0-4555-4694-8135-E43A13D04B15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6B95CB78-0FFF-435B-9D2E-859A9E5FB8DB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EBA2AC37-E578-444F-81CA-0C447F994635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3786B048-801D-427E-B8A0-5DE6A7F73D78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FD848426-C9FA-4F11-9EDD-D5AA7C2A4440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FE358A75-DC4C-4446-BF86-18225090025C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AB5905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EFB5CBF6-C98A-42B8-BD3E-537669C97C2F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4BA85F83-09C1-4ACD-9B61-657716CCDA92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5CA54CCC-6588-41BA-A30E-7B4C8191AB99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20534E79-9AFC-4637-8F2F-5283FD9AC659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79A2D72E-4BED-45BF-B916-A015A475CE82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BFFDB486-829E-4155-86EA-821963653258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022E6BB0-30AB-4649-B619-AD125BC3D05F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2003B5A1-223D-4CFD-A499-E71AFEA1A961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11F58EC9-5155-4018-85E5-8FA89206D507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73B7B7D2-8F31-4F8A-9D35-59763E197301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1E13289D-A2D0-410E-9EC3-DE33E874901F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A98D6D9A-5E62-45B0-9709-A6A5EC194928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4DDA3362-6F00-48C1-BD1B-814213FD64CA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7E838FDC-6056-47B1-9714-5E7E2FCBBCA8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BF58B258-5ADD-4E7A-8CF5-67C5DC71E07E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AB5905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4E5EF0C1-C47D-4B5B-A9D0-44E77A577E27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CACF616B-051B-4341-9D3B-0126B1BB417C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57718A91-CEE4-4F72-A765-488A3B33310A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CE30FA5F-F830-49D5-8A32-21FF56F04D32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2AF4E577-699B-4FE2-8273-6E4EDE2E7529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2F9B6826-2ABF-4ED1-A190-71DB34DCA622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386FF569-DBCD-4575-B42C-8DC139921432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0C479E04-1613-4D79-A46C-FDA03029E837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C5814A0C-E3D2-47B1-B168-B8D2108346DC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1EBFD853-89B0-4720-9472-9C4B6F0FB87D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8EB10DCA-5F94-4442-BABF-0DDAF1E1E94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A5378A87-B0DF-4E4A-B01E-EE0C2B2A1A10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32117AE6-699D-4965-BA5F-14EF39C93D71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E1052503-EE97-407D-83B1-54E45DEB74B9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FFB25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9" name="Graphic 3">
            <a:extLst>
              <a:ext uri="{FF2B5EF4-FFF2-40B4-BE49-F238E27FC236}">
                <a16:creationId xmlns:a16="http://schemas.microsoft.com/office/drawing/2014/main" id="{BA31456A-57A8-4A38-BCFA-3A76CB0CCD9E}"/>
              </a:ext>
            </a:extLst>
          </p:cNvPr>
          <p:cNvGrpSpPr>
            <a:grpSpLocks/>
          </p:cNvGrpSpPr>
          <p:nvPr userDrawn="1"/>
        </p:nvGrpSpPr>
        <p:grpSpPr>
          <a:xfrm>
            <a:off x="3801457" y="3812820"/>
            <a:ext cx="2052000" cy="1641600"/>
            <a:chOff x="66025" y="-34306"/>
            <a:chExt cx="6381750" cy="5895975"/>
          </a:xfrm>
          <a:solidFill>
            <a:srgbClr val="D9DBDC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360" name="Freeform: Shape 207">
              <a:extLst>
                <a:ext uri="{FF2B5EF4-FFF2-40B4-BE49-F238E27FC236}">
                  <a16:creationId xmlns:a16="http://schemas.microsoft.com/office/drawing/2014/main" id="{9BE9CD2B-B2A9-448B-8CF8-5924032A79D2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1" name="Freeform: Shape 208">
              <a:extLst>
                <a:ext uri="{FF2B5EF4-FFF2-40B4-BE49-F238E27FC236}">
                  <a16:creationId xmlns:a16="http://schemas.microsoft.com/office/drawing/2014/main" id="{BFCFC2E3-3BD9-46EC-85CE-058D4DEF814C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2" name="Freeform: Shape 209">
              <a:extLst>
                <a:ext uri="{FF2B5EF4-FFF2-40B4-BE49-F238E27FC236}">
                  <a16:creationId xmlns:a16="http://schemas.microsoft.com/office/drawing/2014/main" id="{4465790A-3345-407B-8FCF-04606A48737B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3" name="Freeform: Shape 210">
              <a:extLst>
                <a:ext uri="{FF2B5EF4-FFF2-40B4-BE49-F238E27FC236}">
                  <a16:creationId xmlns:a16="http://schemas.microsoft.com/office/drawing/2014/main" id="{EE1B4B5B-9617-4585-BB43-B86E6E5857C7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4" name="Freeform: Shape 211">
              <a:extLst>
                <a:ext uri="{FF2B5EF4-FFF2-40B4-BE49-F238E27FC236}">
                  <a16:creationId xmlns:a16="http://schemas.microsoft.com/office/drawing/2014/main" id="{6DB5682F-CD8D-4881-8443-6FDA118129AF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5" name="Freeform: Shape 212">
              <a:extLst>
                <a:ext uri="{FF2B5EF4-FFF2-40B4-BE49-F238E27FC236}">
                  <a16:creationId xmlns:a16="http://schemas.microsoft.com/office/drawing/2014/main" id="{C38907C6-5BD2-4B3F-B82C-DD9412CE7D9A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6" name="Freeform: Shape 213">
              <a:extLst>
                <a:ext uri="{FF2B5EF4-FFF2-40B4-BE49-F238E27FC236}">
                  <a16:creationId xmlns:a16="http://schemas.microsoft.com/office/drawing/2014/main" id="{B94BED68-60E7-4142-8AE7-A324A5FA54B8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7" name="Freeform: Shape 214">
              <a:extLst>
                <a:ext uri="{FF2B5EF4-FFF2-40B4-BE49-F238E27FC236}">
                  <a16:creationId xmlns:a16="http://schemas.microsoft.com/office/drawing/2014/main" id="{07E67F46-1057-4570-B929-952607A4F9C4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8" name="Freeform: Shape 215">
              <a:extLst>
                <a:ext uri="{FF2B5EF4-FFF2-40B4-BE49-F238E27FC236}">
                  <a16:creationId xmlns:a16="http://schemas.microsoft.com/office/drawing/2014/main" id="{DBC05B98-E6D9-4507-9217-51752B3150EC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B8BC53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9" name="Freeform: Shape 216">
              <a:extLst>
                <a:ext uri="{FF2B5EF4-FFF2-40B4-BE49-F238E27FC236}">
                  <a16:creationId xmlns:a16="http://schemas.microsoft.com/office/drawing/2014/main" id="{F71B027A-5791-4FE0-A124-AFB129F788D6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B8BC53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0" name="Freeform: Shape 217">
              <a:extLst>
                <a:ext uri="{FF2B5EF4-FFF2-40B4-BE49-F238E27FC236}">
                  <a16:creationId xmlns:a16="http://schemas.microsoft.com/office/drawing/2014/main" id="{C7133936-E64E-4B0C-B666-11A4A2A65D49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B8BC53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1" name="Freeform: Shape 218">
              <a:extLst>
                <a:ext uri="{FF2B5EF4-FFF2-40B4-BE49-F238E27FC236}">
                  <a16:creationId xmlns:a16="http://schemas.microsoft.com/office/drawing/2014/main" id="{B269942E-88E5-48D5-A5EF-9F42754A4514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2" name="Freeform: Shape 219">
              <a:extLst>
                <a:ext uri="{FF2B5EF4-FFF2-40B4-BE49-F238E27FC236}">
                  <a16:creationId xmlns:a16="http://schemas.microsoft.com/office/drawing/2014/main" id="{10D891EA-BF99-4148-8CD7-E79F2C122E5B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3" name="Freeform: Shape 220">
              <a:extLst>
                <a:ext uri="{FF2B5EF4-FFF2-40B4-BE49-F238E27FC236}">
                  <a16:creationId xmlns:a16="http://schemas.microsoft.com/office/drawing/2014/main" id="{FA590221-AC93-418E-A2C1-4331A2BD8273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6" name="Freeform: Shape 221">
              <a:extLst>
                <a:ext uri="{FF2B5EF4-FFF2-40B4-BE49-F238E27FC236}">
                  <a16:creationId xmlns:a16="http://schemas.microsoft.com/office/drawing/2014/main" id="{78DAD396-2B6D-48C0-8120-1939532B136D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7" name="Freeform: Shape 222">
              <a:extLst>
                <a:ext uri="{FF2B5EF4-FFF2-40B4-BE49-F238E27FC236}">
                  <a16:creationId xmlns:a16="http://schemas.microsoft.com/office/drawing/2014/main" id="{C31E71E0-4B03-4B1F-BDB3-C655A4AC123A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8" name="Freeform: Shape 223">
              <a:extLst>
                <a:ext uri="{FF2B5EF4-FFF2-40B4-BE49-F238E27FC236}">
                  <a16:creationId xmlns:a16="http://schemas.microsoft.com/office/drawing/2014/main" id="{FB7B89AD-8140-41E4-B3B5-84DC03FF9765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9" name="Freeform: Shape 224">
              <a:extLst>
                <a:ext uri="{FF2B5EF4-FFF2-40B4-BE49-F238E27FC236}">
                  <a16:creationId xmlns:a16="http://schemas.microsoft.com/office/drawing/2014/main" id="{D3F7BF3A-EA27-4E40-8CDB-540B500ADC23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0" name="Freeform: Shape 225">
              <a:extLst>
                <a:ext uri="{FF2B5EF4-FFF2-40B4-BE49-F238E27FC236}">
                  <a16:creationId xmlns:a16="http://schemas.microsoft.com/office/drawing/2014/main" id="{CB3A4FF1-D1A0-49A6-9697-B4D18BD13B07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1" name="Freeform: Shape 226">
              <a:extLst>
                <a:ext uri="{FF2B5EF4-FFF2-40B4-BE49-F238E27FC236}">
                  <a16:creationId xmlns:a16="http://schemas.microsoft.com/office/drawing/2014/main" id="{585E86D0-EF21-47E4-A5DA-5A249E002F4F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2" name="Freeform: Shape 227">
              <a:extLst>
                <a:ext uri="{FF2B5EF4-FFF2-40B4-BE49-F238E27FC236}">
                  <a16:creationId xmlns:a16="http://schemas.microsoft.com/office/drawing/2014/main" id="{A485DFEC-69BE-4514-83E3-3E3EA27A6F37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3" name="Freeform: Shape 228">
              <a:extLst>
                <a:ext uri="{FF2B5EF4-FFF2-40B4-BE49-F238E27FC236}">
                  <a16:creationId xmlns:a16="http://schemas.microsoft.com/office/drawing/2014/main" id="{363F7AD6-5DD3-4578-91B0-32DE1B0EC425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4" name="Freeform: Shape 229">
              <a:extLst>
                <a:ext uri="{FF2B5EF4-FFF2-40B4-BE49-F238E27FC236}">
                  <a16:creationId xmlns:a16="http://schemas.microsoft.com/office/drawing/2014/main" id="{F3B91686-589D-4278-BAC4-8D016336E607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5" name="Freeform: Shape 230">
              <a:extLst>
                <a:ext uri="{FF2B5EF4-FFF2-40B4-BE49-F238E27FC236}">
                  <a16:creationId xmlns:a16="http://schemas.microsoft.com/office/drawing/2014/main" id="{2A4357AE-4727-49DC-8D3D-DD1063CB0EB6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6" name="Freeform: Shape 231">
              <a:extLst>
                <a:ext uri="{FF2B5EF4-FFF2-40B4-BE49-F238E27FC236}">
                  <a16:creationId xmlns:a16="http://schemas.microsoft.com/office/drawing/2014/main" id="{38FCC6FF-63EE-47C6-A777-813EB7705F2E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7" name="Freeform: Shape 232">
              <a:extLst>
                <a:ext uri="{FF2B5EF4-FFF2-40B4-BE49-F238E27FC236}">
                  <a16:creationId xmlns:a16="http://schemas.microsoft.com/office/drawing/2014/main" id="{19BBE053-1F16-41E5-9681-428646BBE2A8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8" name="Freeform: Shape 233">
              <a:extLst>
                <a:ext uri="{FF2B5EF4-FFF2-40B4-BE49-F238E27FC236}">
                  <a16:creationId xmlns:a16="http://schemas.microsoft.com/office/drawing/2014/main" id="{821A5F1B-D883-4833-9C97-C7CBDA49A28C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9" name="Freeform: Shape 234">
              <a:extLst>
                <a:ext uri="{FF2B5EF4-FFF2-40B4-BE49-F238E27FC236}">
                  <a16:creationId xmlns:a16="http://schemas.microsoft.com/office/drawing/2014/main" id="{924FC286-51E6-4D26-9A82-38323054D5EC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0" name="Freeform: Shape 235">
              <a:extLst>
                <a:ext uri="{FF2B5EF4-FFF2-40B4-BE49-F238E27FC236}">
                  <a16:creationId xmlns:a16="http://schemas.microsoft.com/office/drawing/2014/main" id="{78EB149C-3963-475D-B2CA-7B0EF172E771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1" name="Freeform: Shape 236">
              <a:extLst>
                <a:ext uri="{FF2B5EF4-FFF2-40B4-BE49-F238E27FC236}">
                  <a16:creationId xmlns:a16="http://schemas.microsoft.com/office/drawing/2014/main" id="{B5E8B1F1-4023-4E49-98EA-15E9EBB8B79B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2" name="Freeform: Shape 237">
              <a:extLst>
                <a:ext uri="{FF2B5EF4-FFF2-40B4-BE49-F238E27FC236}">
                  <a16:creationId xmlns:a16="http://schemas.microsoft.com/office/drawing/2014/main" id="{5E4EAB9D-F6DC-47C0-8670-0B2345FE60CB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3" name="Freeform: Shape 238">
              <a:extLst>
                <a:ext uri="{FF2B5EF4-FFF2-40B4-BE49-F238E27FC236}">
                  <a16:creationId xmlns:a16="http://schemas.microsoft.com/office/drawing/2014/main" id="{6352758A-12C2-45D1-A5B3-20B2E56D0B05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4" name="Freeform: Shape 239">
              <a:extLst>
                <a:ext uri="{FF2B5EF4-FFF2-40B4-BE49-F238E27FC236}">
                  <a16:creationId xmlns:a16="http://schemas.microsoft.com/office/drawing/2014/main" id="{9EE88F9E-706E-4594-AC1F-CFEF6125F0CB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5" name="Freeform: Shape 240">
              <a:extLst>
                <a:ext uri="{FF2B5EF4-FFF2-40B4-BE49-F238E27FC236}">
                  <a16:creationId xmlns:a16="http://schemas.microsoft.com/office/drawing/2014/main" id="{41E50EAA-E65B-489D-A140-D9AA67E8FE98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6" name="Freeform: Shape 241">
              <a:extLst>
                <a:ext uri="{FF2B5EF4-FFF2-40B4-BE49-F238E27FC236}">
                  <a16:creationId xmlns:a16="http://schemas.microsoft.com/office/drawing/2014/main" id="{1248ED66-A4D4-4019-8E2C-5029FDD36B76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7" name="Freeform: Shape 242">
              <a:extLst>
                <a:ext uri="{FF2B5EF4-FFF2-40B4-BE49-F238E27FC236}">
                  <a16:creationId xmlns:a16="http://schemas.microsoft.com/office/drawing/2014/main" id="{4173D4A0-BFCA-435A-A321-ABD10E7BC18E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8" name="Freeform: Shape 243">
              <a:extLst>
                <a:ext uri="{FF2B5EF4-FFF2-40B4-BE49-F238E27FC236}">
                  <a16:creationId xmlns:a16="http://schemas.microsoft.com/office/drawing/2014/main" id="{37CA7899-E54C-4707-A6F5-89854FAA7FA8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9" name="Freeform: Shape 244">
              <a:extLst>
                <a:ext uri="{FF2B5EF4-FFF2-40B4-BE49-F238E27FC236}">
                  <a16:creationId xmlns:a16="http://schemas.microsoft.com/office/drawing/2014/main" id="{4AD62B61-33C0-491D-92FC-B4F1A36BE5FB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0" name="Freeform: Shape 245">
              <a:extLst>
                <a:ext uri="{FF2B5EF4-FFF2-40B4-BE49-F238E27FC236}">
                  <a16:creationId xmlns:a16="http://schemas.microsoft.com/office/drawing/2014/main" id="{2A23FDDC-9B3F-40E9-99E6-89E0CF545C1B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B8BC53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1" name="Freeform: Shape 246">
              <a:extLst>
                <a:ext uri="{FF2B5EF4-FFF2-40B4-BE49-F238E27FC236}">
                  <a16:creationId xmlns:a16="http://schemas.microsoft.com/office/drawing/2014/main" id="{F1CEA002-AB4B-4434-98FC-67FFBE0F449B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2" name="Freeform: Shape 247">
              <a:extLst>
                <a:ext uri="{FF2B5EF4-FFF2-40B4-BE49-F238E27FC236}">
                  <a16:creationId xmlns:a16="http://schemas.microsoft.com/office/drawing/2014/main" id="{00F0D02C-645A-4621-8E7E-3973E9F173A6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3" name="Freeform: Shape 248">
              <a:extLst>
                <a:ext uri="{FF2B5EF4-FFF2-40B4-BE49-F238E27FC236}">
                  <a16:creationId xmlns:a16="http://schemas.microsoft.com/office/drawing/2014/main" id="{3CFFA3C1-4870-4DE7-9687-82863975F96C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4" name="Freeform: Shape 249">
              <a:extLst>
                <a:ext uri="{FF2B5EF4-FFF2-40B4-BE49-F238E27FC236}">
                  <a16:creationId xmlns:a16="http://schemas.microsoft.com/office/drawing/2014/main" id="{402794C5-5BE7-47BB-97CB-F97E1A424E78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5" name="Freeform: Shape 250">
              <a:extLst>
                <a:ext uri="{FF2B5EF4-FFF2-40B4-BE49-F238E27FC236}">
                  <a16:creationId xmlns:a16="http://schemas.microsoft.com/office/drawing/2014/main" id="{064D601D-E8A9-4ECF-B7EA-1B025B989371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545719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6" name="Freeform: Shape 251">
              <a:extLst>
                <a:ext uri="{FF2B5EF4-FFF2-40B4-BE49-F238E27FC236}">
                  <a16:creationId xmlns:a16="http://schemas.microsoft.com/office/drawing/2014/main" id="{D2E9567D-D7F2-4183-A39D-498D295218D6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7" name="Freeform: Shape 252">
              <a:extLst>
                <a:ext uri="{FF2B5EF4-FFF2-40B4-BE49-F238E27FC236}">
                  <a16:creationId xmlns:a16="http://schemas.microsoft.com/office/drawing/2014/main" id="{2CB31E1F-1259-46B2-BE8E-B74588E3E5B9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8" name="Freeform: Shape 253">
              <a:extLst>
                <a:ext uri="{FF2B5EF4-FFF2-40B4-BE49-F238E27FC236}">
                  <a16:creationId xmlns:a16="http://schemas.microsoft.com/office/drawing/2014/main" id="{D00BD463-0641-47B2-9F65-341E0A924827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9" name="Freeform: Shape 254">
              <a:extLst>
                <a:ext uri="{FF2B5EF4-FFF2-40B4-BE49-F238E27FC236}">
                  <a16:creationId xmlns:a16="http://schemas.microsoft.com/office/drawing/2014/main" id="{6FEA3187-1C99-469C-A81E-D6B7A59474A5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0" name="Freeform: Shape 255">
              <a:extLst>
                <a:ext uri="{FF2B5EF4-FFF2-40B4-BE49-F238E27FC236}">
                  <a16:creationId xmlns:a16="http://schemas.microsoft.com/office/drawing/2014/main" id="{CE5E44B2-FB8B-4209-8BE7-3CCC25EF82A3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1" name="Freeform: Shape 256">
              <a:extLst>
                <a:ext uri="{FF2B5EF4-FFF2-40B4-BE49-F238E27FC236}">
                  <a16:creationId xmlns:a16="http://schemas.microsoft.com/office/drawing/2014/main" id="{B58EEAC0-E59E-4E68-950D-9CB5A2069C78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9DBDC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2" name="Freeform: Shape 257">
              <a:extLst>
                <a:ext uri="{FF2B5EF4-FFF2-40B4-BE49-F238E27FC236}">
                  <a16:creationId xmlns:a16="http://schemas.microsoft.com/office/drawing/2014/main" id="{08ED1F34-8ACD-4E40-BA4D-A23A456A363C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15" name="Graphic 3">
            <a:extLst>
              <a:ext uri="{FF2B5EF4-FFF2-40B4-BE49-F238E27FC236}">
                <a16:creationId xmlns:a16="http://schemas.microsoft.com/office/drawing/2014/main" id="{950F6323-C861-4919-9195-A2A7FB96C2DA}"/>
              </a:ext>
            </a:extLst>
          </p:cNvPr>
          <p:cNvGrpSpPr>
            <a:grpSpLocks/>
          </p:cNvGrpSpPr>
          <p:nvPr userDrawn="1"/>
        </p:nvGrpSpPr>
        <p:grpSpPr>
          <a:xfrm>
            <a:off x="1893665" y="4766199"/>
            <a:ext cx="2052000" cy="1641600"/>
            <a:chOff x="66025" y="-34306"/>
            <a:chExt cx="6381750" cy="5895975"/>
          </a:xfrm>
          <a:solidFill>
            <a:srgbClr val="D9DBDC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516" name="Freeform: Shape 207">
              <a:extLst>
                <a:ext uri="{FF2B5EF4-FFF2-40B4-BE49-F238E27FC236}">
                  <a16:creationId xmlns:a16="http://schemas.microsoft.com/office/drawing/2014/main" id="{FED2A8E4-73A7-4BF8-843E-F3FE67CBF860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7" name="Freeform: Shape 208">
              <a:extLst>
                <a:ext uri="{FF2B5EF4-FFF2-40B4-BE49-F238E27FC236}">
                  <a16:creationId xmlns:a16="http://schemas.microsoft.com/office/drawing/2014/main" id="{E329E79E-5D4A-40FC-A88A-7D4557233ACB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8" name="Freeform: Shape 209">
              <a:extLst>
                <a:ext uri="{FF2B5EF4-FFF2-40B4-BE49-F238E27FC236}">
                  <a16:creationId xmlns:a16="http://schemas.microsoft.com/office/drawing/2014/main" id="{3294A837-3542-4587-9B46-6E716858839A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9" name="Freeform: Shape 210">
              <a:extLst>
                <a:ext uri="{FF2B5EF4-FFF2-40B4-BE49-F238E27FC236}">
                  <a16:creationId xmlns:a16="http://schemas.microsoft.com/office/drawing/2014/main" id="{A08D7817-86DC-4D54-B73D-915F709ADD14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0" name="Freeform: Shape 211">
              <a:extLst>
                <a:ext uri="{FF2B5EF4-FFF2-40B4-BE49-F238E27FC236}">
                  <a16:creationId xmlns:a16="http://schemas.microsoft.com/office/drawing/2014/main" id="{D619CCAC-2355-419E-9F03-9E43224B5EAC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1" name="Freeform: Shape 212">
              <a:extLst>
                <a:ext uri="{FF2B5EF4-FFF2-40B4-BE49-F238E27FC236}">
                  <a16:creationId xmlns:a16="http://schemas.microsoft.com/office/drawing/2014/main" id="{ADDDE562-4004-482F-813D-641E307436B0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2" name="Freeform: Shape 213">
              <a:extLst>
                <a:ext uri="{FF2B5EF4-FFF2-40B4-BE49-F238E27FC236}">
                  <a16:creationId xmlns:a16="http://schemas.microsoft.com/office/drawing/2014/main" id="{1511B9FC-0E69-453B-A115-967E00F849AB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3" name="Freeform: Shape 214">
              <a:extLst>
                <a:ext uri="{FF2B5EF4-FFF2-40B4-BE49-F238E27FC236}">
                  <a16:creationId xmlns:a16="http://schemas.microsoft.com/office/drawing/2014/main" id="{4801476A-AD51-418C-B4DD-708035074DE3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4" name="Freeform: Shape 215">
              <a:extLst>
                <a:ext uri="{FF2B5EF4-FFF2-40B4-BE49-F238E27FC236}">
                  <a16:creationId xmlns:a16="http://schemas.microsoft.com/office/drawing/2014/main" id="{92E7A99F-2886-47A1-8FF1-1713EC5C86D6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5" name="Freeform: Shape 216">
              <a:extLst>
                <a:ext uri="{FF2B5EF4-FFF2-40B4-BE49-F238E27FC236}">
                  <a16:creationId xmlns:a16="http://schemas.microsoft.com/office/drawing/2014/main" id="{DD45A704-768E-4C87-B7FA-55AB00FE5B21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6" name="Freeform: Shape 217">
              <a:extLst>
                <a:ext uri="{FF2B5EF4-FFF2-40B4-BE49-F238E27FC236}">
                  <a16:creationId xmlns:a16="http://schemas.microsoft.com/office/drawing/2014/main" id="{8DB9EFD5-2C73-441F-B73C-08E78C471DA1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7" name="Freeform: Shape 218">
              <a:extLst>
                <a:ext uri="{FF2B5EF4-FFF2-40B4-BE49-F238E27FC236}">
                  <a16:creationId xmlns:a16="http://schemas.microsoft.com/office/drawing/2014/main" id="{A1036A72-C9A0-4A06-8033-98343EF858C0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8" name="Freeform: Shape 219">
              <a:extLst>
                <a:ext uri="{FF2B5EF4-FFF2-40B4-BE49-F238E27FC236}">
                  <a16:creationId xmlns:a16="http://schemas.microsoft.com/office/drawing/2014/main" id="{B4ECB645-4BFE-4AA7-A7FD-017C355A8FD2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9" name="Freeform: Shape 220">
              <a:extLst>
                <a:ext uri="{FF2B5EF4-FFF2-40B4-BE49-F238E27FC236}">
                  <a16:creationId xmlns:a16="http://schemas.microsoft.com/office/drawing/2014/main" id="{5DC187EC-BE12-4FAF-982C-DE805EFEB843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0" name="Freeform: Shape 221">
              <a:extLst>
                <a:ext uri="{FF2B5EF4-FFF2-40B4-BE49-F238E27FC236}">
                  <a16:creationId xmlns:a16="http://schemas.microsoft.com/office/drawing/2014/main" id="{F77ED3FF-89DE-4508-9722-45A29DCEA822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1" name="Freeform: Shape 222">
              <a:extLst>
                <a:ext uri="{FF2B5EF4-FFF2-40B4-BE49-F238E27FC236}">
                  <a16:creationId xmlns:a16="http://schemas.microsoft.com/office/drawing/2014/main" id="{1CED5C17-6427-480A-BC34-D962233231EB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2" name="Freeform: Shape 223">
              <a:extLst>
                <a:ext uri="{FF2B5EF4-FFF2-40B4-BE49-F238E27FC236}">
                  <a16:creationId xmlns:a16="http://schemas.microsoft.com/office/drawing/2014/main" id="{72F9D50A-F9B8-43B1-B372-27DB2D7E7F7C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3" name="Freeform: Shape 224">
              <a:extLst>
                <a:ext uri="{FF2B5EF4-FFF2-40B4-BE49-F238E27FC236}">
                  <a16:creationId xmlns:a16="http://schemas.microsoft.com/office/drawing/2014/main" id="{EB8992B7-65EB-46A4-A088-0287BD71F3E2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4" name="Freeform: Shape 225">
              <a:extLst>
                <a:ext uri="{FF2B5EF4-FFF2-40B4-BE49-F238E27FC236}">
                  <a16:creationId xmlns:a16="http://schemas.microsoft.com/office/drawing/2014/main" id="{70A0B587-DFBB-4F7A-B00E-C083BEC29CAE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5" name="Freeform: Shape 226">
              <a:extLst>
                <a:ext uri="{FF2B5EF4-FFF2-40B4-BE49-F238E27FC236}">
                  <a16:creationId xmlns:a16="http://schemas.microsoft.com/office/drawing/2014/main" id="{62B57CA1-7447-414B-B30A-5922236D59B7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6" name="Freeform: Shape 227">
              <a:extLst>
                <a:ext uri="{FF2B5EF4-FFF2-40B4-BE49-F238E27FC236}">
                  <a16:creationId xmlns:a16="http://schemas.microsoft.com/office/drawing/2014/main" id="{92D73E69-3AA5-4AED-8D04-BE425F02B856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7" name="Freeform: Shape 228">
              <a:extLst>
                <a:ext uri="{FF2B5EF4-FFF2-40B4-BE49-F238E27FC236}">
                  <a16:creationId xmlns:a16="http://schemas.microsoft.com/office/drawing/2014/main" id="{BA8C321E-728E-4AA7-9AA4-5463339B8EAF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8" name="Freeform: Shape 229">
              <a:extLst>
                <a:ext uri="{FF2B5EF4-FFF2-40B4-BE49-F238E27FC236}">
                  <a16:creationId xmlns:a16="http://schemas.microsoft.com/office/drawing/2014/main" id="{73806736-6DF9-4EE5-BB07-FB4C2B7A99BB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9" name="Freeform: Shape 230">
              <a:extLst>
                <a:ext uri="{FF2B5EF4-FFF2-40B4-BE49-F238E27FC236}">
                  <a16:creationId xmlns:a16="http://schemas.microsoft.com/office/drawing/2014/main" id="{33436423-BD45-4C1A-B872-C37789E1C10C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0" name="Freeform: Shape 231">
              <a:extLst>
                <a:ext uri="{FF2B5EF4-FFF2-40B4-BE49-F238E27FC236}">
                  <a16:creationId xmlns:a16="http://schemas.microsoft.com/office/drawing/2014/main" id="{2027629A-0E76-42D0-971F-CD5CF3077964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1" name="Freeform: Shape 232">
              <a:extLst>
                <a:ext uri="{FF2B5EF4-FFF2-40B4-BE49-F238E27FC236}">
                  <a16:creationId xmlns:a16="http://schemas.microsoft.com/office/drawing/2014/main" id="{C33D8146-DEFC-451E-BF4F-06FBF8B98D30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2" name="Freeform: Shape 233">
              <a:extLst>
                <a:ext uri="{FF2B5EF4-FFF2-40B4-BE49-F238E27FC236}">
                  <a16:creationId xmlns:a16="http://schemas.microsoft.com/office/drawing/2014/main" id="{8C6C57D5-CD8A-49DC-90F8-AD296CBD9900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3" name="Freeform: Shape 234">
              <a:extLst>
                <a:ext uri="{FF2B5EF4-FFF2-40B4-BE49-F238E27FC236}">
                  <a16:creationId xmlns:a16="http://schemas.microsoft.com/office/drawing/2014/main" id="{BDAC8EBA-F6CD-447C-B62A-101CCD5E42AE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4" name="Freeform: Shape 235">
              <a:extLst>
                <a:ext uri="{FF2B5EF4-FFF2-40B4-BE49-F238E27FC236}">
                  <a16:creationId xmlns:a16="http://schemas.microsoft.com/office/drawing/2014/main" id="{957EC5F6-C36D-43E2-A2C8-AC046A11054B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5" name="Freeform: Shape 236">
              <a:extLst>
                <a:ext uri="{FF2B5EF4-FFF2-40B4-BE49-F238E27FC236}">
                  <a16:creationId xmlns:a16="http://schemas.microsoft.com/office/drawing/2014/main" id="{716CB3FC-BA61-440B-A209-F132AD6B652C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6" name="Freeform: Shape 237">
              <a:extLst>
                <a:ext uri="{FF2B5EF4-FFF2-40B4-BE49-F238E27FC236}">
                  <a16:creationId xmlns:a16="http://schemas.microsoft.com/office/drawing/2014/main" id="{CB631182-3B4B-4794-ACF3-E2725365258B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7" name="Freeform: Shape 238">
              <a:extLst>
                <a:ext uri="{FF2B5EF4-FFF2-40B4-BE49-F238E27FC236}">
                  <a16:creationId xmlns:a16="http://schemas.microsoft.com/office/drawing/2014/main" id="{A70AB619-6494-43B7-A80E-3F16D5BF47A4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8" name="Freeform: Shape 239">
              <a:extLst>
                <a:ext uri="{FF2B5EF4-FFF2-40B4-BE49-F238E27FC236}">
                  <a16:creationId xmlns:a16="http://schemas.microsoft.com/office/drawing/2014/main" id="{6A552C01-7F10-4D03-AA51-D51DE1DA6377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9" name="Freeform: Shape 240">
              <a:extLst>
                <a:ext uri="{FF2B5EF4-FFF2-40B4-BE49-F238E27FC236}">
                  <a16:creationId xmlns:a16="http://schemas.microsoft.com/office/drawing/2014/main" id="{D22D325C-D6FE-49AB-942E-B73639B06DD4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0" name="Freeform: Shape 241">
              <a:extLst>
                <a:ext uri="{FF2B5EF4-FFF2-40B4-BE49-F238E27FC236}">
                  <a16:creationId xmlns:a16="http://schemas.microsoft.com/office/drawing/2014/main" id="{D5C89369-97BB-4607-842F-48DFCD59F429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1" name="Freeform: Shape 242">
              <a:extLst>
                <a:ext uri="{FF2B5EF4-FFF2-40B4-BE49-F238E27FC236}">
                  <a16:creationId xmlns:a16="http://schemas.microsoft.com/office/drawing/2014/main" id="{E0D0E801-E506-4030-AAB6-0C972B1747A5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2" name="Freeform: Shape 243">
              <a:extLst>
                <a:ext uri="{FF2B5EF4-FFF2-40B4-BE49-F238E27FC236}">
                  <a16:creationId xmlns:a16="http://schemas.microsoft.com/office/drawing/2014/main" id="{C5D2D6E2-90BA-4CDA-B019-10023D282F7A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3" name="Freeform: Shape 244">
              <a:extLst>
                <a:ext uri="{FF2B5EF4-FFF2-40B4-BE49-F238E27FC236}">
                  <a16:creationId xmlns:a16="http://schemas.microsoft.com/office/drawing/2014/main" id="{B4268EE0-1D5A-449C-AE7D-B9CB9658C02A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4" name="Freeform: Shape 245">
              <a:extLst>
                <a:ext uri="{FF2B5EF4-FFF2-40B4-BE49-F238E27FC236}">
                  <a16:creationId xmlns:a16="http://schemas.microsoft.com/office/drawing/2014/main" id="{549348AD-2997-4507-A440-72853B466136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5" name="Freeform: Shape 246">
              <a:extLst>
                <a:ext uri="{FF2B5EF4-FFF2-40B4-BE49-F238E27FC236}">
                  <a16:creationId xmlns:a16="http://schemas.microsoft.com/office/drawing/2014/main" id="{81935574-74CD-4C5F-B73C-A258787A1979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6" name="Freeform: Shape 247">
              <a:extLst>
                <a:ext uri="{FF2B5EF4-FFF2-40B4-BE49-F238E27FC236}">
                  <a16:creationId xmlns:a16="http://schemas.microsoft.com/office/drawing/2014/main" id="{96698380-6AC9-4BCA-8127-B615A43CA5E2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FFC000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7" name="Freeform: Shape 248">
              <a:extLst>
                <a:ext uri="{FF2B5EF4-FFF2-40B4-BE49-F238E27FC236}">
                  <a16:creationId xmlns:a16="http://schemas.microsoft.com/office/drawing/2014/main" id="{CC80A0A4-3B7B-42B2-8D67-59E7593C662D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8" name="Freeform: Shape 249">
              <a:extLst>
                <a:ext uri="{FF2B5EF4-FFF2-40B4-BE49-F238E27FC236}">
                  <a16:creationId xmlns:a16="http://schemas.microsoft.com/office/drawing/2014/main" id="{92285187-3C21-4BAB-A7AB-3B371C889E07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9" name="Freeform: Shape 250">
              <a:extLst>
                <a:ext uri="{FF2B5EF4-FFF2-40B4-BE49-F238E27FC236}">
                  <a16:creationId xmlns:a16="http://schemas.microsoft.com/office/drawing/2014/main" id="{76C8BCEA-99F1-40D8-93CC-77C727E8E3C6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0" name="Freeform: Shape 251">
              <a:extLst>
                <a:ext uri="{FF2B5EF4-FFF2-40B4-BE49-F238E27FC236}">
                  <a16:creationId xmlns:a16="http://schemas.microsoft.com/office/drawing/2014/main" id="{89186125-9613-4E6C-8BAD-2C7B2E3E88D1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1" name="Freeform: Shape 252">
              <a:extLst>
                <a:ext uri="{FF2B5EF4-FFF2-40B4-BE49-F238E27FC236}">
                  <a16:creationId xmlns:a16="http://schemas.microsoft.com/office/drawing/2014/main" id="{814AEC62-7CDE-452C-B276-2FAC0D23E154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2" name="Freeform: Shape 253">
              <a:extLst>
                <a:ext uri="{FF2B5EF4-FFF2-40B4-BE49-F238E27FC236}">
                  <a16:creationId xmlns:a16="http://schemas.microsoft.com/office/drawing/2014/main" id="{4E975ADB-8218-4A0F-A027-A1A65A83E03F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3" name="Freeform: Shape 254">
              <a:extLst>
                <a:ext uri="{FF2B5EF4-FFF2-40B4-BE49-F238E27FC236}">
                  <a16:creationId xmlns:a16="http://schemas.microsoft.com/office/drawing/2014/main" id="{4CD1830C-B303-4ECD-A543-0C24673629A3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4" name="Freeform: Shape 255">
              <a:extLst>
                <a:ext uri="{FF2B5EF4-FFF2-40B4-BE49-F238E27FC236}">
                  <a16:creationId xmlns:a16="http://schemas.microsoft.com/office/drawing/2014/main" id="{A0033C3B-1EF7-4F3B-ADC8-4DDE8A1F3F9B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5" name="Freeform: Shape 256">
              <a:extLst>
                <a:ext uri="{FF2B5EF4-FFF2-40B4-BE49-F238E27FC236}">
                  <a16:creationId xmlns:a16="http://schemas.microsoft.com/office/drawing/2014/main" id="{F25F7842-8099-4B5F-8ACC-0D49B6B4914C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6" name="Freeform: Shape 257">
              <a:extLst>
                <a:ext uri="{FF2B5EF4-FFF2-40B4-BE49-F238E27FC236}">
                  <a16:creationId xmlns:a16="http://schemas.microsoft.com/office/drawing/2014/main" id="{37C6BDBF-AAE2-4035-BE69-7158E18DD3F2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FFDD71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2" name="Graphic 3">
            <a:extLst>
              <a:ext uri="{FF2B5EF4-FFF2-40B4-BE49-F238E27FC236}">
                <a16:creationId xmlns:a16="http://schemas.microsoft.com/office/drawing/2014/main" id="{6C5630B3-5D86-46C2-B8DB-3E03A15F4D6F}"/>
              </a:ext>
            </a:extLst>
          </p:cNvPr>
          <p:cNvGrpSpPr>
            <a:grpSpLocks/>
          </p:cNvGrpSpPr>
          <p:nvPr userDrawn="1"/>
        </p:nvGrpSpPr>
        <p:grpSpPr>
          <a:xfrm>
            <a:off x="7621884" y="3794506"/>
            <a:ext cx="2052000" cy="1641600"/>
            <a:chOff x="66025" y="-34306"/>
            <a:chExt cx="6381750" cy="5895975"/>
          </a:xfrm>
          <a:solidFill>
            <a:srgbClr val="D9DBDC"/>
          </a:solidFill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313" name="Freeform: Shape 207">
              <a:extLst>
                <a:ext uri="{FF2B5EF4-FFF2-40B4-BE49-F238E27FC236}">
                  <a16:creationId xmlns:a16="http://schemas.microsoft.com/office/drawing/2014/main" id="{DF1C6926-7E09-445D-942D-739A542D1496}"/>
                </a:ext>
              </a:extLst>
            </p:cNvPr>
            <p:cNvSpPr/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4" name="Freeform: Shape 208">
              <a:extLst>
                <a:ext uri="{FF2B5EF4-FFF2-40B4-BE49-F238E27FC236}">
                  <a16:creationId xmlns:a16="http://schemas.microsoft.com/office/drawing/2014/main" id="{97209D62-7999-4AFE-9202-6D9FB0D67525}"/>
                </a:ext>
              </a:extLst>
            </p:cNvPr>
            <p:cNvSpPr/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5" name="Freeform: Shape 209">
              <a:extLst>
                <a:ext uri="{FF2B5EF4-FFF2-40B4-BE49-F238E27FC236}">
                  <a16:creationId xmlns:a16="http://schemas.microsoft.com/office/drawing/2014/main" id="{946B35F7-4880-47FB-A820-C5D1FC523305}"/>
                </a:ext>
              </a:extLst>
            </p:cNvPr>
            <p:cNvSpPr/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6" name="Freeform: Shape 210">
              <a:extLst>
                <a:ext uri="{FF2B5EF4-FFF2-40B4-BE49-F238E27FC236}">
                  <a16:creationId xmlns:a16="http://schemas.microsoft.com/office/drawing/2014/main" id="{9B745E42-BF6B-41F0-B172-A74D4D34C133}"/>
                </a:ext>
              </a:extLst>
            </p:cNvPr>
            <p:cNvSpPr/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7" name="Freeform: Shape 211">
              <a:extLst>
                <a:ext uri="{FF2B5EF4-FFF2-40B4-BE49-F238E27FC236}">
                  <a16:creationId xmlns:a16="http://schemas.microsoft.com/office/drawing/2014/main" id="{65F74314-2332-46A7-A840-E368E4E3689D}"/>
                </a:ext>
              </a:extLst>
            </p:cNvPr>
            <p:cNvSpPr/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8" name="Freeform: Shape 212">
              <a:extLst>
                <a:ext uri="{FF2B5EF4-FFF2-40B4-BE49-F238E27FC236}">
                  <a16:creationId xmlns:a16="http://schemas.microsoft.com/office/drawing/2014/main" id="{7C1860C1-92DC-42E3-878B-6453D3683983}"/>
                </a:ext>
              </a:extLst>
            </p:cNvPr>
            <p:cNvSpPr/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9" name="Freeform: Shape 213">
              <a:extLst>
                <a:ext uri="{FF2B5EF4-FFF2-40B4-BE49-F238E27FC236}">
                  <a16:creationId xmlns:a16="http://schemas.microsoft.com/office/drawing/2014/main" id="{D7847173-1BFC-4CB3-A383-DCE33BDF1B4B}"/>
                </a:ext>
              </a:extLst>
            </p:cNvPr>
            <p:cNvSpPr/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0" name="Freeform: Shape 214">
              <a:extLst>
                <a:ext uri="{FF2B5EF4-FFF2-40B4-BE49-F238E27FC236}">
                  <a16:creationId xmlns:a16="http://schemas.microsoft.com/office/drawing/2014/main" id="{F211357D-C519-4D08-B6D9-C690290AE35B}"/>
                </a:ext>
              </a:extLst>
            </p:cNvPr>
            <p:cNvSpPr/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1" name="Freeform: Shape 215">
              <a:extLst>
                <a:ext uri="{FF2B5EF4-FFF2-40B4-BE49-F238E27FC236}">
                  <a16:creationId xmlns:a16="http://schemas.microsoft.com/office/drawing/2014/main" id="{4730C910-FBC7-497C-A170-D9ABDB2FD1D7}"/>
                </a:ext>
              </a:extLst>
            </p:cNvPr>
            <p:cNvSpPr/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2" name="Freeform: Shape 216">
              <a:extLst>
                <a:ext uri="{FF2B5EF4-FFF2-40B4-BE49-F238E27FC236}">
                  <a16:creationId xmlns:a16="http://schemas.microsoft.com/office/drawing/2014/main" id="{69922009-40AA-485F-ACEB-72D71DB3BD0D}"/>
                </a:ext>
              </a:extLst>
            </p:cNvPr>
            <p:cNvSpPr/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3" name="Freeform: Shape 217">
              <a:extLst>
                <a:ext uri="{FF2B5EF4-FFF2-40B4-BE49-F238E27FC236}">
                  <a16:creationId xmlns:a16="http://schemas.microsoft.com/office/drawing/2014/main" id="{D1870B85-1BE1-4EDF-ABE9-DBE80EBE91A4}"/>
                </a:ext>
              </a:extLst>
            </p:cNvPr>
            <p:cNvSpPr/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4" name="Freeform: Shape 218">
              <a:extLst>
                <a:ext uri="{FF2B5EF4-FFF2-40B4-BE49-F238E27FC236}">
                  <a16:creationId xmlns:a16="http://schemas.microsoft.com/office/drawing/2014/main" id="{6212315A-EA4E-4CFE-89A4-632D6D372656}"/>
                </a:ext>
              </a:extLst>
            </p:cNvPr>
            <p:cNvSpPr/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5" name="Freeform: Shape 219">
              <a:extLst>
                <a:ext uri="{FF2B5EF4-FFF2-40B4-BE49-F238E27FC236}">
                  <a16:creationId xmlns:a16="http://schemas.microsoft.com/office/drawing/2014/main" id="{5F073723-3662-41EC-8C91-C250BC62F91C}"/>
                </a:ext>
              </a:extLst>
            </p:cNvPr>
            <p:cNvSpPr/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6" name="Freeform: Shape 220">
              <a:extLst>
                <a:ext uri="{FF2B5EF4-FFF2-40B4-BE49-F238E27FC236}">
                  <a16:creationId xmlns:a16="http://schemas.microsoft.com/office/drawing/2014/main" id="{695739E1-EAAE-4CFF-800E-CDAFB71738DA}"/>
                </a:ext>
              </a:extLst>
            </p:cNvPr>
            <p:cNvSpPr/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7" name="Freeform: Shape 221">
              <a:extLst>
                <a:ext uri="{FF2B5EF4-FFF2-40B4-BE49-F238E27FC236}">
                  <a16:creationId xmlns:a16="http://schemas.microsoft.com/office/drawing/2014/main" id="{E3442D4A-0595-47F3-B068-D616390F2649}"/>
                </a:ext>
              </a:extLst>
            </p:cNvPr>
            <p:cNvSpPr/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4BB2F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8" name="Freeform: Shape 222">
              <a:extLst>
                <a:ext uri="{FF2B5EF4-FFF2-40B4-BE49-F238E27FC236}">
                  <a16:creationId xmlns:a16="http://schemas.microsoft.com/office/drawing/2014/main" id="{2B0A1A23-C7C6-4593-8000-1AB3F418EAC0}"/>
                </a:ext>
              </a:extLst>
            </p:cNvPr>
            <p:cNvSpPr/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7F7F7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9" name="Freeform: Shape 223">
              <a:extLst>
                <a:ext uri="{FF2B5EF4-FFF2-40B4-BE49-F238E27FC236}">
                  <a16:creationId xmlns:a16="http://schemas.microsoft.com/office/drawing/2014/main" id="{6B3F18D0-4555-4694-8135-E43A13D04B15}"/>
                </a:ext>
              </a:extLst>
            </p:cNvPr>
            <p:cNvSpPr/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0" name="Freeform: Shape 224">
              <a:extLst>
                <a:ext uri="{FF2B5EF4-FFF2-40B4-BE49-F238E27FC236}">
                  <a16:creationId xmlns:a16="http://schemas.microsoft.com/office/drawing/2014/main" id="{6B95CB78-0FFF-435B-9D2E-859A9E5FB8DB}"/>
                </a:ext>
              </a:extLst>
            </p:cNvPr>
            <p:cNvSpPr/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1" name="Freeform: Shape 225">
              <a:extLst>
                <a:ext uri="{FF2B5EF4-FFF2-40B4-BE49-F238E27FC236}">
                  <a16:creationId xmlns:a16="http://schemas.microsoft.com/office/drawing/2014/main" id="{EBA2AC37-E578-444F-81CA-0C447F994635}"/>
                </a:ext>
              </a:extLst>
            </p:cNvPr>
            <p:cNvSpPr/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2" name="Freeform: Shape 226">
              <a:extLst>
                <a:ext uri="{FF2B5EF4-FFF2-40B4-BE49-F238E27FC236}">
                  <a16:creationId xmlns:a16="http://schemas.microsoft.com/office/drawing/2014/main" id="{3786B048-801D-427E-B8A0-5DE6A7F73D78}"/>
                </a:ext>
              </a:extLst>
            </p:cNvPr>
            <p:cNvSpPr/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3" name="Freeform: Shape 227">
              <a:extLst>
                <a:ext uri="{FF2B5EF4-FFF2-40B4-BE49-F238E27FC236}">
                  <a16:creationId xmlns:a16="http://schemas.microsoft.com/office/drawing/2014/main" id="{FD848426-C9FA-4F11-9EDD-D5AA7C2A4440}"/>
                </a:ext>
              </a:extLst>
            </p:cNvPr>
            <p:cNvSpPr/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4" name="Freeform: Shape 228">
              <a:extLst>
                <a:ext uri="{FF2B5EF4-FFF2-40B4-BE49-F238E27FC236}">
                  <a16:creationId xmlns:a16="http://schemas.microsoft.com/office/drawing/2014/main" id="{FE358A75-DC4C-4446-BF86-18225090025C}"/>
                </a:ext>
              </a:extLst>
            </p:cNvPr>
            <p:cNvSpPr/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5" name="Freeform: Shape 229">
              <a:extLst>
                <a:ext uri="{FF2B5EF4-FFF2-40B4-BE49-F238E27FC236}">
                  <a16:creationId xmlns:a16="http://schemas.microsoft.com/office/drawing/2014/main" id="{EFB5CBF6-C98A-42B8-BD3E-537669C97C2F}"/>
                </a:ext>
              </a:extLst>
            </p:cNvPr>
            <p:cNvSpPr/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6" name="Freeform: Shape 230">
              <a:extLst>
                <a:ext uri="{FF2B5EF4-FFF2-40B4-BE49-F238E27FC236}">
                  <a16:creationId xmlns:a16="http://schemas.microsoft.com/office/drawing/2014/main" id="{4BA85F83-09C1-4ACD-9B61-657716CCDA92}"/>
                </a:ext>
              </a:extLst>
            </p:cNvPr>
            <p:cNvSpPr/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7" name="Freeform: Shape 231">
              <a:extLst>
                <a:ext uri="{FF2B5EF4-FFF2-40B4-BE49-F238E27FC236}">
                  <a16:creationId xmlns:a16="http://schemas.microsoft.com/office/drawing/2014/main" id="{5CA54CCC-6588-41BA-A30E-7B4C8191AB99}"/>
                </a:ext>
              </a:extLst>
            </p:cNvPr>
            <p:cNvSpPr/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8" name="Freeform: Shape 232">
              <a:extLst>
                <a:ext uri="{FF2B5EF4-FFF2-40B4-BE49-F238E27FC236}">
                  <a16:creationId xmlns:a16="http://schemas.microsoft.com/office/drawing/2014/main" id="{20534E79-9AFC-4637-8F2F-5283FD9AC659}"/>
                </a:ext>
              </a:extLst>
            </p:cNvPr>
            <p:cNvSpPr/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9" name="Freeform: Shape 233">
              <a:extLst>
                <a:ext uri="{FF2B5EF4-FFF2-40B4-BE49-F238E27FC236}">
                  <a16:creationId xmlns:a16="http://schemas.microsoft.com/office/drawing/2014/main" id="{79A2D72E-4BED-45BF-B916-A015A475CE82}"/>
                </a:ext>
              </a:extLst>
            </p:cNvPr>
            <p:cNvSpPr/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0" name="Freeform: Shape 234">
              <a:extLst>
                <a:ext uri="{FF2B5EF4-FFF2-40B4-BE49-F238E27FC236}">
                  <a16:creationId xmlns:a16="http://schemas.microsoft.com/office/drawing/2014/main" id="{BFFDB486-829E-4155-86EA-821963653258}"/>
                </a:ext>
              </a:extLst>
            </p:cNvPr>
            <p:cNvSpPr/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1" name="Freeform: Shape 235">
              <a:extLst>
                <a:ext uri="{FF2B5EF4-FFF2-40B4-BE49-F238E27FC236}">
                  <a16:creationId xmlns:a16="http://schemas.microsoft.com/office/drawing/2014/main" id="{022E6BB0-30AB-4649-B619-AD125BC3D05F}"/>
                </a:ext>
              </a:extLst>
            </p:cNvPr>
            <p:cNvSpPr/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2" name="Freeform: Shape 236">
              <a:extLst>
                <a:ext uri="{FF2B5EF4-FFF2-40B4-BE49-F238E27FC236}">
                  <a16:creationId xmlns:a16="http://schemas.microsoft.com/office/drawing/2014/main" id="{2003B5A1-223D-4CFD-A499-E71AFEA1A961}"/>
                </a:ext>
              </a:extLst>
            </p:cNvPr>
            <p:cNvSpPr/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1F497D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3" name="Freeform: Shape 237">
              <a:extLst>
                <a:ext uri="{FF2B5EF4-FFF2-40B4-BE49-F238E27FC236}">
                  <a16:creationId xmlns:a16="http://schemas.microsoft.com/office/drawing/2014/main" id="{11F58EC9-5155-4018-85E5-8FA89206D507}"/>
                </a:ext>
              </a:extLst>
            </p:cNvPr>
            <p:cNvSpPr/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4" name="Freeform: Shape 238">
              <a:extLst>
                <a:ext uri="{FF2B5EF4-FFF2-40B4-BE49-F238E27FC236}">
                  <a16:creationId xmlns:a16="http://schemas.microsoft.com/office/drawing/2014/main" id="{73B7B7D2-8F31-4F8A-9D35-59763E197301}"/>
                </a:ext>
              </a:extLst>
            </p:cNvPr>
            <p:cNvSpPr/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5" name="Freeform: Shape 239">
              <a:extLst>
                <a:ext uri="{FF2B5EF4-FFF2-40B4-BE49-F238E27FC236}">
                  <a16:creationId xmlns:a16="http://schemas.microsoft.com/office/drawing/2014/main" id="{1E13289D-A2D0-410E-9EC3-DE33E874901F}"/>
                </a:ext>
              </a:extLst>
            </p:cNvPr>
            <p:cNvSpPr/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6" name="Freeform: Shape 240">
              <a:extLst>
                <a:ext uri="{FF2B5EF4-FFF2-40B4-BE49-F238E27FC236}">
                  <a16:creationId xmlns:a16="http://schemas.microsoft.com/office/drawing/2014/main" id="{A98D6D9A-5E62-45B0-9709-A6A5EC194928}"/>
                </a:ext>
              </a:extLst>
            </p:cNvPr>
            <p:cNvSpPr/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7" name="Freeform: Shape 241">
              <a:extLst>
                <a:ext uri="{FF2B5EF4-FFF2-40B4-BE49-F238E27FC236}">
                  <a16:creationId xmlns:a16="http://schemas.microsoft.com/office/drawing/2014/main" id="{4DDA3362-6F00-48C1-BD1B-814213FD64CA}"/>
                </a:ext>
              </a:extLst>
            </p:cNvPr>
            <p:cNvSpPr/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8" name="Freeform: Shape 242">
              <a:extLst>
                <a:ext uri="{FF2B5EF4-FFF2-40B4-BE49-F238E27FC236}">
                  <a16:creationId xmlns:a16="http://schemas.microsoft.com/office/drawing/2014/main" id="{7E838FDC-6056-47B1-9714-5E7E2FCBBCA8}"/>
                </a:ext>
              </a:extLst>
            </p:cNvPr>
            <p:cNvSpPr/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9" name="Freeform: Shape 243">
              <a:extLst>
                <a:ext uri="{FF2B5EF4-FFF2-40B4-BE49-F238E27FC236}">
                  <a16:creationId xmlns:a16="http://schemas.microsoft.com/office/drawing/2014/main" id="{BF58B258-5ADD-4E7A-8CF5-67C5DC71E07E}"/>
                </a:ext>
              </a:extLst>
            </p:cNvPr>
            <p:cNvSpPr/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0" name="Freeform: Shape 244">
              <a:extLst>
                <a:ext uri="{FF2B5EF4-FFF2-40B4-BE49-F238E27FC236}">
                  <a16:creationId xmlns:a16="http://schemas.microsoft.com/office/drawing/2014/main" id="{4E5EF0C1-C47D-4B5B-A9D0-44E77A577E27}"/>
                </a:ext>
              </a:extLst>
            </p:cNvPr>
            <p:cNvSpPr/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BDE3F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1" name="Freeform: Shape 245">
              <a:extLst>
                <a:ext uri="{FF2B5EF4-FFF2-40B4-BE49-F238E27FC236}">
                  <a16:creationId xmlns:a16="http://schemas.microsoft.com/office/drawing/2014/main" id="{CACF616B-051B-4341-9D3B-0126B1BB417C}"/>
                </a:ext>
              </a:extLst>
            </p:cNvPr>
            <p:cNvSpPr/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2" name="Freeform: Shape 246">
              <a:extLst>
                <a:ext uri="{FF2B5EF4-FFF2-40B4-BE49-F238E27FC236}">
                  <a16:creationId xmlns:a16="http://schemas.microsoft.com/office/drawing/2014/main" id="{57718A91-CEE4-4F72-A765-488A3B33310A}"/>
                </a:ext>
              </a:extLst>
            </p:cNvPr>
            <p:cNvSpPr/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3" name="Freeform: Shape 247">
              <a:extLst>
                <a:ext uri="{FF2B5EF4-FFF2-40B4-BE49-F238E27FC236}">
                  <a16:creationId xmlns:a16="http://schemas.microsoft.com/office/drawing/2014/main" id="{CE30FA5F-F830-49D5-8A32-21FF56F04D32}"/>
                </a:ext>
              </a:extLst>
            </p:cNvPr>
            <p:cNvSpPr/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4" name="Freeform: Shape 248">
              <a:extLst>
                <a:ext uri="{FF2B5EF4-FFF2-40B4-BE49-F238E27FC236}">
                  <a16:creationId xmlns:a16="http://schemas.microsoft.com/office/drawing/2014/main" id="{2AF4E577-699B-4FE2-8273-6E4EDE2E7529}"/>
                </a:ext>
              </a:extLst>
            </p:cNvPr>
            <p:cNvSpPr/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7F7F7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5" name="Freeform: Shape 249">
              <a:extLst>
                <a:ext uri="{FF2B5EF4-FFF2-40B4-BE49-F238E27FC236}">
                  <a16:creationId xmlns:a16="http://schemas.microsoft.com/office/drawing/2014/main" id="{2F9B6826-2ABF-4ED1-A190-71DB34DCA622}"/>
                </a:ext>
              </a:extLst>
            </p:cNvPr>
            <p:cNvSpPr/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6" name="Freeform: Shape 250">
              <a:extLst>
                <a:ext uri="{FF2B5EF4-FFF2-40B4-BE49-F238E27FC236}">
                  <a16:creationId xmlns:a16="http://schemas.microsoft.com/office/drawing/2014/main" id="{386FF569-DBCD-4575-B42C-8DC139921432}"/>
                </a:ext>
              </a:extLst>
            </p:cNvPr>
            <p:cNvSpPr/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7F7F7F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7" name="Freeform: Shape 251">
              <a:extLst>
                <a:ext uri="{FF2B5EF4-FFF2-40B4-BE49-F238E27FC236}">
                  <a16:creationId xmlns:a16="http://schemas.microsoft.com/office/drawing/2014/main" id="{0C479E04-1613-4D79-A46C-FDA03029E837}"/>
                </a:ext>
              </a:extLst>
            </p:cNvPr>
            <p:cNvSpPr/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8" name="Freeform: Shape 252">
              <a:extLst>
                <a:ext uri="{FF2B5EF4-FFF2-40B4-BE49-F238E27FC236}">
                  <a16:creationId xmlns:a16="http://schemas.microsoft.com/office/drawing/2014/main" id="{C5814A0C-E3D2-47B1-B168-B8D2108346DC}"/>
                </a:ext>
              </a:extLst>
            </p:cNvPr>
            <p:cNvSpPr/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4" name="Freeform: Shape 253">
              <a:extLst>
                <a:ext uri="{FF2B5EF4-FFF2-40B4-BE49-F238E27FC236}">
                  <a16:creationId xmlns:a16="http://schemas.microsoft.com/office/drawing/2014/main" id="{1EBFD853-89B0-4720-9472-9C4B6F0FB87D}"/>
                </a:ext>
              </a:extLst>
            </p:cNvPr>
            <p:cNvSpPr/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2" name="Freeform: Shape 254">
              <a:extLst>
                <a:ext uri="{FF2B5EF4-FFF2-40B4-BE49-F238E27FC236}">
                  <a16:creationId xmlns:a16="http://schemas.microsoft.com/office/drawing/2014/main" id="{8EB10DCA-5F94-4442-BABF-0DDAF1E1E94F}"/>
                </a:ext>
              </a:extLst>
            </p:cNvPr>
            <p:cNvSpPr/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3" name="Freeform: Shape 255">
              <a:extLst>
                <a:ext uri="{FF2B5EF4-FFF2-40B4-BE49-F238E27FC236}">
                  <a16:creationId xmlns:a16="http://schemas.microsoft.com/office/drawing/2014/main" id="{A5378A87-B0DF-4E4A-B01E-EE0C2B2A1A10}"/>
                </a:ext>
              </a:extLst>
            </p:cNvPr>
            <p:cNvSpPr/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4" name="Freeform: Shape 256">
              <a:extLst>
                <a:ext uri="{FF2B5EF4-FFF2-40B4-BE49-F238E27FC236}">
                  <a16:creationId xmlns:a16="http://schemas.microsoft.com/office/drawing/2014/main" id="{32117AE6-699D-4965-BA5F-14EF39C93D71}"/>
                </a:ext>
              </a:extLst>
            </p:cNvPr>
            <p:cNvSpPr/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5" name="Freeform: Shape 257">
              <a:extLst>
                <a:ext uri="{FF2B5EF4-FFF2-40B4-BE49-F238E27FC236}">
                  <a16:creationId xmlns:a16="http://schemas.microsoft.com/office/drawing/2014/main" id="{E1052503-EE97-407D-83B1-54E45DEB74B9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grpFill/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aa-ET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970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927517" y="1792800"/>
            <a:ext cx="7395317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3000" b="0" i="0" baseline="0" dirty="0">
                <a:solidFill>
                  <a:srgbClr val="AB5905"/>
                </a:solidFill>
              </a:defRPr>
            </a:lvl1pPr>
          </a:lstStyle>
          <a:p>
            <a:pPr lvl="0"/>
            <a:r>
              <a:rPr lang="en-US"/>
              <a:t>Appendix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EF3EB35-9B7F-3275-A19C-9195E8FC6E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6648" y="3319766"/>
            <a:ext cx="422354" cy="14542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2568D6D-58ED-CC2C-1AB0-93DD9D0C36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84717" y="2411655"/>
            <a:ext cx="532101" cy="332272"/>
          </a:xfrm>
          <a:prstGeom prst="rect">
            <a:avLst/>
          </a:prstGeom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301864AF-194A-7D9A-A084-137FACD0BD0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31726" y="3472967"/>
            <a:ext cx="288089" cy="429002"/>
          </a:xfrm>
          <a:prstGeom prst="rect">
            <a:avLst/>
          </a:prstGeom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0656321B-2BB6-995E-422C-09EE95D05DF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965144" y="3499382"/>
            <a:ext cx="573844" cy="276342"/>
          </a:xfrm>
          <a:prstGeom prst="rect">
            <a:avLst/>
          </a:prstGeom>
        </p:spPr>
      </p:pic>
      <p:pic>
        <p:nvPicPr>
          <p:cNvPr id="7" name="Picture 12">
            <a:extLst>
              <a:ext uri="{FF2B5EF4-FFF2-40B4-BE49-F238E27FC236}">
                <a16:creationId xmlns:a16="http://schemas.microsoft.com/office/drawing/2014/main" id="{9A342A5E-5C71-7118-995C-2F729F8E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/>
        </p:blipFill>
        <p:spPr bwMode="auto">
          <a:xfrm>
            <a:off x="269428" y="3972359"/>
            <a:ext cx="855487" cy="16895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DD137FD6-F751-0B70-453A-CC06152AD8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059102" y="1773023"/>
            <a:ext cx="490160" cy="169107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47CBB37A-35B9-1CE8-4C36-7095BF9FADA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595" y="3227776"/>
            <a:ext cx="592836" cy="196596"/>
          </a:xfrm>
          <a:prstGeom prst="rect">
            <a:avLst/>
          </a:prstGeom>
        </p:spPr>
      </p:pic>
      <p:pic>
        <p:nvPicPr>
          <p:cNvPr id="10" name="Picture 8">
            <a:extLst>
              <a:ext uri="{FF2B5EF4-FFF2-40B4-BE49-F238E27FC236}">
                <a16:creationId xmlns:a16="http://schemas.microsoft.com/office/drawing/2014/main" id="{20D0F240-CCF0-D6D7-03A0-EF2D0F3604B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34648" y="2308102"/>
            <a:ext cx="614614" cy="384134"/>
          </a:xfrm>
          <a:prstGeom prst="rect">
            <a:avLst/>
          </a:prstGeom>
        </p:spPr>
      </p:pic>
      <p:pic>
        <p:nvPicPr>
          <p:cNvPr id="11" name="Picture 9">
            <a:extLst>
              <a:ext uri="{FF2B5EF4-FFF2-40B4-BE49-F238E27FC236}">
                <a16:creationId xmlns:a16="http://schemas.microsoft.com/office/drawing/2014/main" id="{0E67F0D6-F21B-A533-6C49-159742A793D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9538" y="3818518"/>
            <a:ext cx="327901" cy="303330"/>
          </a:xfrm>
          <a:prstGeom prst="rect">
            <a:avLst/>
          </a:prstGeom>
        </p:spPr>
      </p:pic>
      <p:pic>
        <p:nvPicPr>
          <p:cNvPr id="12" name="Picture 10">
            <a:extLst>
              <a:ext uri="{FF2B5EF4-FFF2-40B4-BE49-F238E27FC236}">
                <a16:creationId xmlns:a16="http://schemas.microsoft.com/office/drawing/2014/main" id="{3097DFE0-A15F-5D0E-BD65-9CD2385ADFB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90625" y="4403223"/>
            <a:ext cx="448906" cy="215470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2E8C6C73-8424-2D38-3D54-1DE537DC2F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64093" y="4198024"/>
            <a:ext cx="414645" cy="1146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2">
            <a:extLst>
              <a:ext uri="{FF2B5EF4-FFF2-40B4-BE49-F238E27FC236}">
                <a16:creationId xmlns:a16="http://schemas.microsoft.com/office/drawing/2014/main" id="{A6E712E2-B960-4F3C-79DA-D9CCA2F21EF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99064" y="4619850"/>
            <a:ext cx="435374" cy="227524"/>
          </a:xfrm>
          <a:prstGeom prst="rect">
            <a:avLst/>
          </a:prstGeom>
        </p:spPr>
      </p:pic>
      <p:pic>
        <p:nvPicPr>
          <p:cNvPr id="15" name="Graphic 13">
            <a:extLst>
              <a:ext uri="{FF2B5EF4-FFF2-40B4-BE49-F238E27FC236}">
                <a16:creationId xmlns:a16="http://schemas.microsoft.com/office/drawing/2014/main" id="{05FAC8F5-E531-B7F6-136B-19AE17F77319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81708" y="4187654"/>
            <a:ext cx="643805" cy="133861"/>
          </a:xfrm>
          <a:prstGeom prst="rect">
            <a:avLst/>
          </a:prstGeom>
        </p:spPr>
      </p:pic>
      <p:pic>
        <p:nvPicPr>
          <p:cNvPr id="16" name="Graphic 16">
            <a:extLst>
              <a:ext uri="{FF2B5EF4-FFF2-40B4-BE49-F238E27FC236}">
                <a16:creationId xmlns:a16="http://schemas.microsoft.com/office/drawing/2014/main" id="{2EB8DEA5-1E69-27F7-864C-CD323E58217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62079" y="4907492"/>
            <a:ext cx="577379" cy="170431"/>
          </a:xfrm>
          <a:prstGeom prst="rect">
            <a:avLst/>
          </a:prstGeom>
        </p:spPr>
      </p:pic>
      <p:pic>
        <p:nvPicPr>
          <p:cNvPr id="17" name="Graphic 17">
            <a:extLst>
              <a:ext uri="{FF2B5EF4-FFF2-40B4-BE49-F238E27FC236}">
                <a16:creationId xmlns:a16="http://schemas.microsoft.com/office/drawing/2014/main" id="{A4CD5DD6-163C-AA1A-3DFA-25C4B213BB50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30336" y="4693268"/>
            <a:ext cx="676854" cy="122778"/>
          </a:xfrm>
          <a:prstGeom prst="rect">
            <a:avLst/>
          </a:prstGeom>
        </p:spPr>
      </p:pic>
      <p:pic>
        <p:nvPicPr>
          <p:cNvPr id="18" name="Picture 18">
            <a:extLst>
              <a:ext uri="{FF2B5EF4-FFF2-40B4-BE49-F238E27FC236}">
                <a16:creationId xmlns:a16="http://schemas.microsoft.com/office/drawing/2014/main" id="{5045BE3B-8FB0-0A8A-AE71-9ABFFFA6D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2765" y="5166907"/>
            <a:ext cx="593685" cy="155426"/>
          </a:xfrm>
          <a:prstGeom prst="rect">
            <a:avLst/>
          </a:prstGeom>
        </p:spPr>
      </p:pic>
      <p:pic>
        <p:nvPicPr>
          <p:cNvPr id="19" name="Graphic 19">
            <a:extLst>
              <a:ext uri="{FF2B5EF4-FFF2-40B4-BE49-F238E27FC236}">
                <a16:creationId xmlns:a16="http://schemas.microsoft.com/office/drawing/2014/main" id="{3443FB9E-7FD8-8DBA-3174-026E92C1746A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68288" y="4462295"/>
            <a:ext cx="808142" cy="97326"/>
          </a:xfrm>
          <a:prstGeom prst="rect">
            <a:avLst/>
          </a:prstGeom>
        </p:spPr>
      </p:pic>
      <p:pic>
        <p:nvPicPr>
          <p:cNvPr id="20" name="Picture 20">
            <a:extLst>
              <a:ext uri="{FF2B5EF4-FFF2-40B4-BE49-F238E27FC236}">
                <a16:creationId xmlns:a16="http://schemas.microsoft.com/office/drawing/2014/main" id="{EE2DB717-4C9F-BA2A-F5A2-ABF7ACBE2B24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14829" y="5431225"/>
            <a:ext cx="568341" cy="207036"/>
          </a:xfrm>
          <a:prstGeom prst="rect">
            <a:avLst/>
          </a:prstGeom>
        </p:spPr>
      </p:pic>
      <p:pic>
        <p:nvPicPr>
          <p:cNvPr id="21" name="Picture 21">
            <a:extLst>
              <a:ext uri="{FF2B5EF4-FFF2-40B4-BE49-F238E27FC236}">
                <a16:creationId xmlns:a16="http://schemas.microsoft.com/office/drawing/2014/main" id="{63280C24-479B-A8B0-7966-BF4F4871AFB4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191141" y="5726561"/>
            <a:ext cx="392029" cy="20572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A1EEDC1-E361-7454-1406-4CE860015338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311188" y="5446689"/>
            <a:ext cx="525653" cy="15822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262DE6-1596-1CEB-D89C-C0714F09DA59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280021" y="6014808"/>
            <a:ext cx="587985" cy="20965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C19B612-85DC-2217-C780-96B51B67AE6F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293424" y="5201077"/>
            <a:ext cx="593685" cy="148421"/>
          </a:xfrm>
          <a:prstGeom prst="rect">
            <a:avLst/>
          </a:prstGeom>
        </p:spPr>
      </p:pic>
      <p:pic>
        <p:nvPicPr>
          <p:cNvPr id="26" name="Picture 26">
            <a:extLst>
              <a:ext uri="{FF2B5EF4-FFF2-40B4-BE49-F238E27FC236}">
                <a16:creationId xmlns:a16="http://schemas.microsoft.com/office/drawing/2014/main" id="{2FDF84A6-D612-59CA-00BD-8C698DBB01B8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268288" y="5745692"/>
            <a:ext cx="657218" cy="182896"/>
          </a:xfrm>
          <a:prstGeom prst="rect">
            <a:avLst/>
          </a:prstGeom>
        </p:spPr>
      </p:pic>
      <p:pic>
        <p:nvPicPr>
          <p:cNvPr id="27" name="Picture 27">
            <a:extLst>
              <a:ext uri="{FF2B5EF4-FFF2-40B4-BE49-F238E27FC236}">
                <a16:creationId xmlns:a16="http://schemas.microsoft.com/office/drawing/2014/main" id="{59BE2204-0BD4-548F-C2B3-B0B56C372EFA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219739" y="1684636"/>
            <a:ext cx="624539" cy="293807"/>
          </a:xfrm>
          <a:prstGeom prst="rect">
            <a:avLst/>
          </a:prstGeom>
        </p:spPr>
      </p:pic>
      <p:pic>
        <p:nvPicPr>
          <p:cNvPr id="28" name="Picture 28">
            <a:extLst>
              <a:ext uri="{FF2B5EF4-FFF2-40B4-BE49-F238E27FC236}">
                <a16:creationId xmlns:a16="http://schemas.microsoft.com/office/drawing/2014/main" id="{CAF7FC91-1884-F33F-FCA5-9B9226EE792B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0319" y="4888883"/>
            <a:ext cx="657890" cy="247061"/>
          </a:xfrm>
          <a:prstGeom prst="rect">
            <a:avLst/>
          </a:prstGeom>
        </p:spPr>
      </p:pic>
      <p:pic>
        <p:nvPicPr>
          <p:cNvPr id="29" name="Picture 29">
            <a:extLst>
              <a:ext uri="{FF2B5EF4-FFF2-40B4-BE49-F238E27FC236}">
                <a16:creationId xmlns:a16="http://schemas.microsoft.com/office/drawing/2014/main" id="{D3B40325-9309-41F9-79FE-2651DA42C5D6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799933" y="1435623"/>
            <a:ext cx="673419" cy="247060"/>
          </a:xfrm>
          <a:prstGeom prst="rect">
            <a:avLst/>
          </a:prstGeom>
        </p:spPr>
      </p:pic>
      <p:pic>
        <p:nvPicPr>
          <p:cNvPr id="30" name="Picture 30">
            <a:extLst>
              <a:ext uri="{FF2B5EF4-FFF2-40B4-BE49-F238E27FC236}">
                <a16:creationId xmlns:a16="http://schemas.microsoft.com/office/drawing/2014/main" id="{0B472D17-9570-AB05-8274-264F5C3D46D8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72587" y="2073954"/>
            <a:ext cx="471691" cy="236355"/>
          </a:xfrm>
          <a:prstGeom prst="rect">
            <a:avLst/>
          </a:prstGeom>
        </p:spPr>
      </p:pic>
      <p:pic>
        <p:nvPicPr>
          <p:cNvPr id="31" name="Graphic 31">
            <a:extLst>
              <a:ext uri="{FF2B5EF4-FFF2-40B4-BE49-F238E27FC236}">
                <a16:creationId xmlns:a16="http://schemas.microsoft.com/office/drawing/2014/main" id="{7ABECAA4-5A79-ECC5-435B-4B2FD9E37E2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995785" y="6020587"/>
            <a:ext cx="562406" cy="182896"/>
          </a:xfrm>
          <a:prstGeom prst="rect">
            <a:avLst/>
          </a:prstGeom>
        </p:spPr>
      </p:pic>
      <p:pic>
        <p:nvPicPr>
          <p:cNvPr id="32" name="Picture 32" descr="Logo&#10;&#10;Description automatically generated">
            <a:extLst>
              <a:ext uri="{FF2B5EF4-FFF2-40B4-BE49-F238E27FC236}">
                <a16:creationId xmlns:a16="http://schemas.microsoft.com/office/drawing/2014/main" id="{676C3862-DE40-D8D5-6C2D-BE07721570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/>
          <a:srcRect l="12229" t="22237" r="11435" b="22043"/>
          <a:stretch/>
        </p:blipFill>
        <p:spPr>
          <a:xfrm>
            <a:off x="985302" y="2046846"/>
            <a:ext cx="583371" cy="217125"/>
          </a:xfrm>
          <a:prstGeom prst="rect">
            <a:avLst/>
          </a:prstGeom>
        </p:spPr>
      </p:pic>
      <p:pic>
        <p:nvPicPr>
          <p:cNvPr id="33" name="Picture 33">
            <a:extLst>
              <a:ext uri="{FF2B5EF4-FFF2-40B4-BE49-F238E27FC236}">
                <a16:creationId xmlns:a16="http://schemas.microsoft.com/office/drawing/2014/main" id="{7DC8675E-FE6A-5B99-B2D6-38A0778127E9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260" y="2830147"/>
            <a:ext cx="463016" cy="369792"/>
          </a:xfrm>
          <a:prstGeom prst="rect">
            <a:avLst/>
          </a:prstGeom>
        </p:spPr>
      </p:pic>
      <p:pic>
        <p:nvPicPr>
          <p:cNvPr id="34" name="Graphic 34">
            <a:extLst>
              <a:ext uri="{FF2B5EF4-FFF2-40B4-BE49-F238E27FC236}">
                <a16:creationId xmlns:a16="http://schemas.microsoft.com/office/drawing/2014/main" id="{BCE81DAC-6820-71E1-62B2-020F83009F6E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62733" y="3050411"/>
            <a:ext cx="695458" cy="132137"/>
          </a:xfrm>
          <a:prstGeom prst="rect">
            <a:avLst/>
          </a:prstGeom>
        </p:spPr>
      </p:pic>
      <p:pic>
        <p:nvPicPr>
          <p:cNvPr id="35" name="Graphic 35">
            <a:extLst>
              <a:ext uri="{FF2B5EF4-FFF2-40B4-BE49-F238E27FC236}">
                <a16:creationId xmlns:a16="http://schemas.microsoft.com/office/drawing/2014/main" id="{24ACFAAD-2E70-736F-1E76-F3A94E305F1F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51332" y="1451315"/>
            <a:ext cx="423831" cy="163012"/>
          </a:xfrm>
          <a:prstGeom prst="rect">
            <a:avLst/>
          </a:prstGeom>
        </p:spPr>
      </p:pic>
      <p:pic>
        <p:nvPicPr>
          <p:cNvPr id="36" name="Graphic 36">
            <a:extLst>
              <a:ext uri="{FF2B5EF4-FFF2-40B4-BE49-F238E27FC236}">
                <a16:creationId xmlns:a16="http://schemas.microsoft.com/office/drawing/2014/main" id="{959D4A1F-A22E-657D-1C11-13981AC61EEE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836496" y="2774232"/>
            <a:ext cx="684000" cy="85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846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- two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34C407-60D9-53C9-D316-70630442EA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55894"/>
            <a:ext cx="7932633" cy="371475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E2D80D-4F5A-5A4B-A853-B190CB172C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 err="1"/>
              <a:t>Mastertext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Ebene</a:t>
            </a:r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Ebene</a:t>
            </a:r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Ebene</a:t>
            </a:r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Ebene</a:t>
            </a:r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07A5BD7F-9935-5545-AA13-A9D4CCF638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561" y="6449526"/>
            <a:ext cx="624557" cy="4152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52108FB-23E0-4454-978B-54EB3005B0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46A92ED-DF70-3045-DACB-46A649814B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1" y="423550"/>
            <a:ext cx="7932632" cy="371474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 marL="0" indent="0">
              <a:buNone/>
              <a:defRPr lang="nl-NL" sz="1300" b="0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Click to edit Description</a:t>
            </a:r>
          </a:p>
          <a:p>
            <a:pPr lvl="0">
              <a:spcBef>
                <a:spcPct val="0"/>
              </a:spcBef>
            </a:pP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238578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_Main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EDD501-6905-1F74-EB9A-8427EFDA4B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1080000"/>
            <a:ext cx="8753884" cy="5316350"/>
          </a:xfrm>
        </p:spPr>
        <p:txBody>
          <a:bodyPr/>
          <a:lstStyle>
            <a:lvl1pPr marL="234000" indent="-234000">
              <a:buClr>
                <a:srgbClr val="AB5905"/>
              </a:buClr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  <a:lvl2pPr marL="46800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2pPr>
            <a:lvl3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3pPr>
            <a:lvl4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4pPr>
            <a:lvl5pPr marL="1111278" indent="-292108">
              <a:buFont typeface="Arial" panose="020B0604020202020204" pitchFamily="34" charset="0"/>
              <a:buChar char="•"/>
              <a:defRPr/>
            </a:lvl5pPr>
          </a:lstStyle>
          <a:p>
            <a:pPr marL="234000" marR="0" lvl="1" indent="-234000" algn="l" defTabSz="91442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AB5905"/>
              </a:buClr>
              <a:buSzPct val="70000"/>
              <a:buFont typeface="Wingdings" panose="05000000000000000000" pitchFamily="2" charset="2"/>
              <a:buChar char="l"/>
              <a:tabLst/>
            </a:pPr>
            <a:r>
              <a:rPr lang="de-DE" dirty="0"/>
              <a:t>Mastertextformat bearbeiten</a:t>
            </a:r>
          </a:p>
          <a:p>
            <a:pPr marL="468000" lvl="2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65000"/>
              <a:buFont typeface="Wingdings" panose="05000000000000000000" pitchFamily="2" charset="2"/>
              <a:buChar char="¡"/>
            </a:pPr>
            <a:r>
              <a:rPr lang="de-DE" dirty="0"/>
              <a:t>Zweite Ebene</a:t>
            </a:r>
          </a:p>
          <a:p>
            <a:pPr marL="731250" lvl="3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Wingdings" pitchFamily="2" charset="2"/>
              <a:buChar char="§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3E0F2-945E-4E56-7AA1-6F5E1D76C9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670C210-1953-0A1B-E769-12EDA0248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86219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_Main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DEDD501-6905-1F74-EB9A-8427EFDA4B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0000" y="1080000"/>
            <a:ext cx="8753884" cy="5316350"/>
          </a:xfrm>
        </p:spPr>
        <p:txBody>
          <a:bodyPr/>
          <a:lstStyle>
            <a:lvl1pPr marL="234000" indent="-234000">
              <a:buClr>
                <a:srgbClr val="AB5905"/>
              </a:buClr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  <a:lvl2pPr marL="46800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2pPr>
            <a:lvl3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3pPr>
            <a:lvl4pPr marL="731250" indent="-234000">
              <a:buFont typeface="Arial" panose="020B0604020202020204" pitchFamily="34" charset="0"/>
              <a:buChar char="•"/>
              <a:defRPr lang="de-DE" sz="1300" b="0" i="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4pPr>
            <a:lvl5pPr marL="1111278" indent="-292108">
              <a:buFont typeface="Arial" panose="020B0604020202020204" pitchFamily="34" charset="0"/>
              <a:buChar char="•"/>
              <a:defRPr/>
            </a:lvl5pPr>
          </a:lstStyle>
          <a:p>
            <a:pPr marL="234000" marR="0" lvl="1" indent="-234000" algn="l" defTabSz="914423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AB5905"/>
              </a:buClr>
              <a:buSzPct val="70000"/>
              <a:buFont typeface="Wingdings" panose="05000000000000000000" pitchFamily="2" charset="2"/>
              <a:buChar char="l"/>
              <a:tabLst/>
            </a:pPr>
            <a:r>
              <a:rPr lang="de-DE" dirty="0"/>
              <a:t>Mastertextformat bearbeiten</a:t>
            </a:r>
          </a:p>
          <a:p>
            <a:pPr marL="468000" lvl="2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65000"/>
              <a:buFont typeface="Wingdings" panose="05000000000000000000" pitchFamily="2" charset="2"/>
              <a:buChar char="¡"/>
            </a:pPr>
            <a:r>
              <a:rPr lang="de-DE" dirty="0"/>
              <a:t>Zweite Ebene</a:t>
            </a:r>
          </a:p>
          <a:p>
            <a:pPr marL="731250" lvl="3" indent="-2340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Wingdings" pitchFamily="2" charset="2"/>
              <a:buChar char="§"/>
            </a:pPr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DF3E0F2-945E-4E56-7AA1-6F5E1D76C9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6FEF769-C20D-75AB-A744-5F83253FC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D1D52720-2D2F-181B-5115-DA0DC0A7E0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7800665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300" b="0" i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 dirty="0"/>
              <a:t>Click to edit Description</a:t>
            </a:r>
          </a:p>
        </p:txBody>
      </p:sp>
    </p:spTree>
    <p:extLst>
      <p:ext uri="{BB962C8B-B14F-4D97-AF65-F5344CB8AC3E}">
        <p14:creationId xmlns:p14="http://schemas.microsoft.com/office/powerpoint/2010/main" val="23247457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108000"/>
            <a:ext cx="7800665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63" b="0" i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GB" noProof="0" dirty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461650"/>
            <a:ext cx="7800665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300" b="0" i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540000" y="1080000"/>
            <a:ext cx="8753884" cy="531635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AB5905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1"/>
            <a:r>
              <a:rPr lang="en-GB" noProof="0"/>
              <a:t>[Add text]</a:t>
            </a:r>
          </a:p>
          <a:p>
            <a:pPr lvl="2"/>
            <a:r>
              <a:rPr lang="en-GB" noProof="0"/>
              <a:t>[Add text]</a:t>
            </a:r>
          </a:p>
          <a:p>
            <a:pPr lvl="3"/>
            <a:r>
              <a:rPr lang="en-GB" noProof="0"/>
              <a:t>[Add text]</a:t>
            </a:r>
          </a:p>
          <a:p>
            <a:pPr lvl="3"/>
            <a:endParaRPr lang="en-GB" noProof="0"/>
          </a:p>
          <a:p>
            <a:pPr lvl="3"/>
            <a:endParaRPr lang="en-GB" noProof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70" y="6553202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4324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0000" y="108000"/>
            <a:ext cx="7779639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63" b="0" i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GB" noProof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1" y="461650"/>
            <a:ext cx="7779638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300" b="0" i="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GB" noProof="0"/>
              <a:t>Click to edit Description</a:t>
            </a:r>
          </a:p>
          <a:p>
            <a:pPr lvl="0">
              <a:spcBef>
                <a:spcPct val="0"/>
              </a:spcBef>
            </a:pPr>
            <a:endParaRPr lang="en-GB" noProof="0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48970" y="6553202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900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43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>
            <a:extLst>
              <a:ext uri="{FF2B5EF4-FFF2-40B4-BE49-F238E27FC236}">
                <a16:creationId xmlns:a16="http://schemas.microsoft.com/office/drawing/2014/main" id="{4582A9D9-5E54-4A35-8253-E752DE894F9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906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9148969" y="6553200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540000" y="108000"/>
            <a:ext cx="8543925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080000"/>
            <a:ext cx="90000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</a:p>
        </p:txBody>
      </p:sp>
    </p:spTree>
    <p:extLst>
      <p:ext uri="{BB962C8B-B14F-4D97-AF65-F5344CB8AC3E}">
        <p14:creationId xmlns:p14="http://schemas.microsoft.com/office/powerpoint/2010/main" val="33599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82" r:id="rId1"/>
    <p:sldLayoutId id="2147488783" r:id="rId2"/>
    <p:sldLayoutId id="2147488786" r:id="rId3"/>
    <p:sldLayoutId id="2147488785" r:id="rId4"/>
    <p:sldLayoutId id="2147488798" r:id="rId5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600" b="0" i="0">
          <a:solidFill>
            <a:srgbClr val="AB5905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84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67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51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34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rgbClr val="AB5905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85750" marR="0" indent="-285750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AB5905"/>
        </a:buClr>
        <a:buSzPct val="70000"/>
        <a:buFont typeface="Wingdings" panose="05000000000000000000" pitchFamily="2" charset="2"/>
        <a:buChar char="l"/>
        <a:tabLst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546100" indent="-2667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806450" indent="-2667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50" indent="-29210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00" indent="-31115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843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127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411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8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67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51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3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18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02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1985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269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C7C72B4-E5E9-6BC6-3CD3-1F5C500BF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49510359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501" imgH="501" progId="TCLayout.ActiveDocument.1">
                  <p:embed/>
                </p:oleObj>
              </mc:Choice>
              <mc:Fallback>
                <p:oleObj name="think-cell Folie" r:id="rId12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C7C72B4-E5E9-6BC6-3CD3-1F5C500BF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Picture 44">
            <a:extLst>
              <a:ext uri="{FF2B5EF4-FFF2-40B4-BE49-F238E27FC236}">
                <a16:creationId xmlns:a16="http://schemas.microsoft.com/office/drawing/2014/main" id="{4582A9D9-5E54-4A35-8253-E752DE894F9F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2"/>
            <a:ext cx="9906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9148970" y="6553202"/>
            <a:ext cx="665523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540001" y="108000"/>
            <a:ext cx="7779638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75BB10-AA0D-AADE-C5DB-6B15565B67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813C50A-65D2-5C0A-4B17-B974DA652A9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02870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cs-CZ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asifikace: Veřejné</a:t>
            </a:r>
          </a:p>
        </p:txBody>
      </p:sp>
    </p:spTree>
    <p:extLst>
      <p:ext uri="{BB962C8B-B14F-4D97-AF65-F5344CB8AC3E}">
        <p14:creationId xmlns:p14="http://schemas.microsoft.com/office/powerpoint/2010/main" val="138609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89" r:id="rId1"/>
    <p:sldLayoutId id="2147488790" r:id="rId2"/>
    <p:sldLayoutId id="2147488791" r:id="rId3"/>
    <p:sldLayoutId id="2147488792" r:id="rId4"/>
    <p:sldLayoutId id="2147488793" r:id="rId5"/>
    <p:sldLayoutId id="2147488794" r:id="rId6"/>
    <p:sldLayoutId id="2147488795" r:id="rId7"/>
    <p:sldLayoutId id="2147488796" r:id="rId8"/>
    <p:sldLayoutId id="2147488797" r:id="rId9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463" b="0" i="0">
          <a:solidFill>
            <a:schemeClr val="tx1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95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89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84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78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34000" marR="0" indent="-234000" algn="l" defTabSz="914423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AB5905"/>
        </a:buClr>
        <a:buSzPct val="70000"/>
        <a:buFont typeface="Wingdings" panose="05000000000000000000" pitchFamily="2" charset="2"/>
        <a:buChar char="l"/>
        <a:tabLst/>
        <a:defRPr sz="13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468000" indent="-2340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3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731250" indent="-2340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300" b="0" i="0">
          <a:solidFill>
            <a:schemeClr val="tx1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78" indent="-292108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/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36" indent="-311157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914" indent="-220148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210" indent="-220148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504" indent="-220148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95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89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84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78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73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68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2062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357" algn="l" defTabSz="440295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1" Type="http://schemas.openxmlformats.org/officeDocument/2006/relationships/tags" Target="../tags/tag22.xml"/><Relationship Id="rId63" Type="http://schemas.openxmlformats.org/officeDocument/2006/relationships/tags" Target="../tags/tag64.xml"/><Relationship Id="rId159" Type="http://schemas.openxmlformats.org/officeDocument/2006/relationships/tags" Target="../tags/tag160.xml"/><Relationship Id="rId170" Type="http://schemas.openxmlformats.org/officeDocument/2006/relationships/tags" Target="../tags/tag171.xml"/><Relationship Id="rId226" Type="http://schemas.openxmlformats.org/officeDocument/2006/relationships/tags" Target="../tags/tag227.xml"/><Relationship Id="rId268" Type="http://schemas.openxmlformats.org/officeDocument/2006/relationships/tags" Target="../tags/tag269.xml"/><Relationship Id="rId32" Type="http://schemas.openxmlformats.org/officeDocument/2006/relationships/tags" Target="../tags/tag33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5" Type="http://schemas.openxmlformats.org/officeDocument/2006/relationships/tags" Target="../tags/tag6.xml"/><Relationship Id="rId181" Type="http://schemas.openxmlformats.org/officeDocument/2006/relationships/tags" Target="../tags/tag182.xml"/><Relationship Id="rId237" Type="http://schemas.openxmlformats.org/officeDocument/2006/relationships/tags" Target="../tags/tag238.xml"/><Relationship Id="rId279" Type="http://schemas.openxmlformats.org/officeDocument/2006/relationships/slideLayout" Target="../slideLayouts/slideLayout5.xml"/><Relationship Id="rId22" Type="http://schemas.openxmlformats.org/officeDocument/2006/relationships/tags" Target="../tags/tag23.xml"/><Relationship Id="rId43" Type="http://schemas.openxmlformats.org/officeDocument/2006/relationships/tags" Target="../tags/tag44.xml"/><Relationship Id="rId64" Type="http://schemas.openxmlformats.org/officeDocument/2006/relationships/tags" Target="../tags/tag65.xml"/><Relationship Id="rId118" Type="http://schemas.openxmlformats.org/officeDocument/2006/relationships/tags" Target="../tags/tag119.xml"/><Relationship Id="rId139" Type="http://schemas.openxmlformats.org/officeDocument/2006/relationships/tags" Target="../tags/tag140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71" Type="http://schemas.openxmlformats.org/officeDocument/2006/relationships/tags" Target="../tags/tag172.xml"/><Relationship Id="rId192" Type="http://schemas.openxmlformats.org/officeDocument/2006/relationships/tags" Target="../tags/tag193.xml"/><Relationship Id="rId206" Type="http://schemas.openxmlformats.org/officeDocument/2006/relationships/tags" Target="../tags/tag207.xml"/><Relationship Id="rId227" Type="http://schemas.openxmlformats.org/officeDocument/2006/relationships/tags" Target="../tags/tag228.xml"/><Relationship Id="rId248" Type="http://schemas.openxmlformats.org/officeDocument/2006/relationships/tags" Target="../tags/tag249.xml"/><Relationship Id="rId269" Type="http://schemas.openxmlformats.org/officeDocument/2006/relationships/tags" Target="../tags/tag270.xml"/><Relationship Id="rId12" Type="http://schemas.openxmlformats.org/officeDocument/2006/relationships/tags" Target="../tags/tag13.xml"/><Relationship Id="rId33" Type="http://schemas.openxmlformats.org/officeDocument/2006/relationships/tags" Target="../tags/tag34.xml"/><Relationship Id="rId108" Type="http://schemas.openxmlformats.org/officeDocument/2006/relationships/tags" Target="../tags/tag109.xml"/><Relationship Id="rId129" Type="http://schemas.openxmlformats.org/officeDocument/2006/relationships/tags" Target="../tags/tag130.xml"/><Relationship Id="rId280" Type="http://schemas.openxmlformats.org/officeDocument/2006/relationships/image" Target="../media/image44.png"/><Relationship Id="rId54" Type="http://schemas.openxmlformats.org/officeDocument/2006/relationships/tags" Target="../tags/tag55.xml"/><Relationship Id="rId75" Type="http://schemas.openxmlformats.org/officeDocument/2006/relationships/tags" Target="../tags/tag76.xml"/><Relationship Id="rId96" Type="http://schemas.openxmlformats.org/officeDocument/2006/relationships/tags" Target="../tags/tag97.xml"/><Relationship Id="rId140" Type="http://schemas.openxmlformats.org/officeDocument/2006/relationships/tags" Target="../tags/tag141.xml"/><Relationship Id="rId161" Type="http://schemas.openxmlformats.org/officeDocument/2006/relationships/tags" Target="../tags/tag162.xml"/><Relationship Id="rId182" Type="http://schemas.openxmlformats.org/officeDocument/2006/relationships/tags" Target="../tags/tag183.xml"/><Relationship Id="rId217" Type="http://schemas.openxmlformats.org/officeDocument/2006/relationships/tags" Target="../tags/tag218.xml"/><Relationship Id="rId6" Type="http://schemas.openxmlformats.org/officeDocument/2006/relationships/tags" Target="../tags/tag7.xml"/><Relationship Id="rId238" Type="http://schemas.openxmlformats.org/officeDocument/2006/relationships/tags" Target="../tags/tag239.xml"/><Relationship Id="rId259" Type="http://schemas.openxmlformats.org/officeDocument/2006/relationships/tags" Target="../tags/tag260.xml"/><Relationship Id="rId23" Type="http://schemas.openxmlformats.org/officeDocument/2006/relationships/tags" Target="../tags/tag24.xml"/><Relationship Id="rId119" Type="http://schemas.openxmlformats.org/officeDocument/2006/relationships/tags" Target="../tags/tag120.xml"/><Relationship Id="rId270" Type="http://schemas.openxmlformats.org/officeDocument/2006/relationships/tags" Target="../tags/tag271.xml"/><Relationship Id="rId44" Type="http://schemas.openxmlformats.org/officeDocument/2006/relationships/tags" Target="../tags/tag45.xml"/><Relationship Id="rId65" Type="http://schemas.openxmlformats.org/officeDocument/2006/relationships/tags" Target="../tags/tag66.xml"/><Relationship Id="rId86" Type="http://schemas.openxmlformats.org/officeDocument/2006/relationships/tags" Target="../tags/tag87.xml"/><Relationship Id="rId130" Type="http://schemas.openxmlformats.org/officeDocument/2006/relationships/tags" Target="../tags/tag131.xml"/><Relationship Id="rId151" Type="http://schemas.openxmlformats.org/officeDocument/2006/relationships/tags" Target="../tags/tag152.xml"/><Relationship Id="rId172" Type="http://schemas.openxmlformats.org/officeDocument/2006/relationships/tags" Target="../tags/tag173.xml"/><Relationship Id="rId193" Type="http://schemas.openxmlformats.org/officeDocument/2006/relationships/tags" Target="../tags/tag194.xml"/><Relationship Id="rId207" Type="http://schemas.openxmlformats.org/officeDocument/2006/relationships/tags" Target="../tags/tag208.xml"/><Relationship Id="rId228" Type="http://schemas.openxmlformats.org/officeDocument/2006/relationships/tags" Target="../tags/tag229.xml"/><Relationship Id="rId249" Type="http://schemas.openxmlformats.org/officeDocument/2006/relationships/tags" Target="../tags/tag250.xml"/><Relationship Id="rId13" Type="http://schemas.openxmlformats.org/officeDocument/2006/relationships/tags" Target="../tags/tag14.xml"/><Relationship Id="rId109" Type="http://schemas.openxmlformats.org/officeDocument/2006/relationships/tags" Target="../tags/tag110.xml"/><Relationship Id="rId260" Type="http://schemas.openxmlformats.org/officeDocument/2006/relationships/tags" Target="../tags/tag261.xml"/><Relationship Id="rId281" Type="http://schemas.openxmlformats.org/officeDocument/2006/relationships/image" Target="../media/image45.png"/><Relationship Id="rId34" Type="http://schemas.openxmlformats.org/officeDocument/2006/relationships/tags" Target="../tags/tag35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20" Type="http://schemas.openxmlformats.org/officeDocument/2006/relationships/tags" Target="../tags/tag121.xml"/><Relationship Id="rId141" Type="http://schemas.openxmlformats.org/officeDocument/2006/relationships/tags" Target="../tags/tag142.xml"/><Relationship Id="rId7" Type="http://schemas.openxmlformats.org/officeDocument/2006/relationships/tags" Target="../tags/tag8.xml"/><Relationship Id="rId162" Type="http://schemas.openxmlformats.org/officeDocument/2006/relationships/tags" Target="../tags/tag163.xml"/><Relationship Id="rId183" Type="http://schemas.openxmlformats.org/officeDocument/2006/relationships/tags" Target="../tags/tag184.xml"/><Relationship Id="rId218" Type="http://schemas.openxmlformats.org/officeDocument/2006/relationships/tags" Target="../tags/tag219.xml"/><Relationship Id="rId239" Type="http://schemas.openxmlformats.org/officeDocument/2006/relationships/tags" Target="../tags/tag240.xml"/><Relationship Id="rId250" Type="http://schemas.openxmlformats.org/officeDocument/2006/relationships/tags" Target="../tags/tag251.xml"/><Relationship Id="rId271" Type="http://schemas.openxmlformats.org/officeDocument/2006/relationships/tags" Target="../tags/tag272.xml"/><Relationship Id="rId24" Type="http://schemas.openxmlformats.org/officeDocument/2006/relationships/tags" Target="../tags/tag25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31" Type="http://schemas.openxmlformats.org/officeDocument/2006/relationships/tags" Target="../tags/tag132.xml"/><Relationship Id="rId152" Type="http://schemas.openxmlformats.org/officeDocument/2006/relationships/tags" Target="../tags/tag153.xml"/><Relationship Id="rId173" Type="http://schemas.openxmlformats.org/officeDocument/2006/relationships/tags" Target="../tags/tag174.xml"/><Relationship Id="rId194" Type="http://schemas.openxmlformats.org/officeDocument/2006/relationships/tags" Target="../tags/tag195.xml"/><Relationship Id="rId208" Type="http://schemas.openxmlformats.org/officeDocument/2006/relationships/tags" Target="../tags/tag209.xml"/><Relationship Id="rId229" Type="http://schemas.openxmlformats.org/officeDocument/2006/relationships/tags" Target="../tags/tag230.xml"/><Relationship Id="rId240" Type="http://schemas.openxmlformats.org/officeDocument/2006/relationships/tags" Target="../tags/tag241.xml"/><Relationship Id="rId261" Type="http://schemas.openxmlformats.org/officeDocument/2006/relationships/tags" Target="../tags/tag262.xml"/><Relationship Id="rId14" Type="http://schemas.openxmlformats.org/officeDocument/2006/relationships/tags" Target="../tags/tag15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282" Type="http://schemas.openxmlformats.org/officeDocument/2006/relationships/image" Target="../media/image46.png"/><Relationship Id="rId8" Type="http://schemas.openxmlformats.org/officeDocument/2006/relationships/tags" Target="../tags/tag9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Relationship Id="rId163" Type="http://schemas.openxmlformats.org/officeDocument/2006/relationships/tags" Target="../tags/tag164.xml"/><Relationship Id="rId184" Type="http://schemas.openxmlformats.org/officeDocument/2006/relationships/tags" Target="../tags/tag185.xml"/><Relationship Id="rId219" Type="http://schemas.openxmlformats.org/officeDocument/2006/relationships/tags" Target="../tags/tag220.xml"/><Relationship Id="rId230" Type="http://schemas.openxmlformats.org/officeDocument/2006/relationships/tags" Target="../tags/tag231.xml"/><Relationship Id="rId251" Type="http://schemas.openxmlformats.org/officeDocument/2006/relationships/tags" Target="../tags/tag252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272" Type="http://schemas.openxmlformats.org/officeDocument/2006/relationships/tags" Target="../tags/tag273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53" Type="http://schemas.openxmlformats.org/officeDocument/2006/relationships/tags" Target="../tags/tag154.xml"/><Relationship Id="rId174" Type="http://schemas.openxmlformats.org/officeDocument/2006/relationships/tags" Target="../tags/tag175.xml"/><Relationship Id="rId195" Type="http://schemas.openxmlformats.org/officeDocument/2006/relationships/tags" Target="../tags/tag196.xml"/><Relationship Id="rId209" Type="http://schemas.openxmlformats.org/officeDocument/2006/relationships/tags" Target="../tags/tag210.xml"/><Relationship Id="rId220" Type="http://schemas.openxmlformats.org/officeDocument/2006/relationships/tags" Target="../tags/tag221.xml"/><Relationship Id="rId241" Type="http://schemas.openxmlformats.org/officeDocument/2006/relationships/tags" Target="../tags/tag242.xml"/><Relationship Id="rId15" Type="http://schemas.openxmlformats.org/officeDocument/2006/relationships/tags" Target="../tags/tag16.xml"/><Relationship Id="rId36" Type="http://schemas.openxmlformats.org/officeDocument/2006/relationships/tags" Target="../tags/tag37.xml"/><Relationship Id="rId57" Type="http://schemas.openxmlformats.org/officeDocument/2006/relationships/tags" Target="../tags/tag58.xml"/><Relationship Id="rId262" Type="http://schemas.openxmlformats.org/officeDocument/2006/relationships/tags" Target="../tags/tag263.xml"/><Relationship Id="rId78" Type="http://schemas.openxmlformats.org/officeDocument/2006/relationships/tags" Target="../tags/tag79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43" Type="http://schemas.openxmlformats.org/officeDocument/2006/relationships/tags" Target="../tags/tag144.xml"/><Relationship Id="rId164" Type="http://schemas.openxmlformats.org/officeDocument/2006/relationships/tags" Target="../tags/tag165.xml"/><Relationship Id="rId185" Type="http://schemas.openxmlformats.org/officeDocument/2006/relationships/tags" Target="../tags/tag186.xml"/><Relationship Id="rId9" Type="http://schemas.openxmlformats.org/officeDocument/2006/relationships/tags" Target="../tags/tag10.xml"/><Relationship Id="rId210" Type="http://schemas.openxmlformats.org/officeDocument/2006/relationships/tags" Target="../tags/tag211.xml"/><Relationship Id="rId26" Type="http://schemas.openxmlformats.org/officeDocument/2006/relationships/tags" Target="../tags/tag27.xml"/><Relationship Id="rId231" Type="http://schemas.openxmlformats.org/officeDocument/2006/relationships/tags" Target="../tags/tag232.xml"/><Relationship Id="rId252" Type="http://schemas.openxmlformats.org/officeDocument/2006/relationships/tags" Target="../tags/tag253.xml"/><Relationship Id="rId273" Type="http://schemas.openxmlformats.org/officeDocument/2006/relationships/tags" Target="../tags/tag274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tags" Target="../tags/tag176.xml"/><Relationship Id="rId196" Type="http://schemas.openxmlformats.org/officeDocument/2006/relationships/tags" Target="../tags/tag197.xml"/><Relationship Id="rId200" Type="http://schemas.openxmlformats.org/officeDocument/2006/relationships/tags" Target="../tags/tag201.xml"/><Relationship Id="rId16" Type="http://schemas.openxmlformats.org/officeDocument/2006/relationships/tags" Target="../tags/tag17.xml"/><Relationship Id="rId221" Type="http://schemas.openxmlformats.org/officeDocument/2006/relationships/tags" Target="../tags/tag222.xml"/><Relationship Id="rId242" Type="http://schemas.openxmlformats.org/officeDocument/2006/relationships/tags" Target="../tags/tag243.xml"/><Relationship Id="rId263" Type="http://schemas.openxmlformats.org/officeDocument/2006/relationships/tags" Target="../tags/tag264.xml"/><Relationship Id="rId37" Type="http://schemas.openxmlformats.org/officeDocument/2006/relationships/tags" Target="../tags/tag38.xml"/><Relationship Id="rId58" Type="http://schemas.openxmlformats.org/officeDocument/2006/relationships/tags" Target="../tags/tag59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44" Type="http://schemas.openxmlformats.org/officeDocument/2006/relationships/tags" Target="../tags/tag145.xml"/><Relationship Id="rId90" Type="http://schemas.openxmlformats.org/officeDocument/2006/relationships/tags" Target="../tags/tag91.xml"/><Relationship Id="rId165" Type="http://schemas.openxmlformats.org/officeDocument/2006/relationships/tags" Target="../tags/tag166.xml"/><Relationship Id="rId186" Type="http://schemas.openxmlformats.org/officeDocument/2006/relationships/tags" Target="../tags/tag187.xml"/><Relationship Id="rId211" Type="http://schemas.openxmlformats.org/officeDocument/2006/relationships/tags" Target="../tags/tag212.xml"/><Relationship Id="rId232" Type="http://schemas.openxmlformats.org/officeDocument/2006/relationships/tags" Target="../tags/tag233.xml"/><Relationship Id="rId253" Type="http://schemas.openxmlformats.org/officeDocument/2006/relationships/tags" Target="../tags/tag254.xml"/><Relationship Id="rId274" Type="http://schemas.openxmlformats.org/officeDocument/2006/relationships/tags" Target="../tags/tag275.xml"/><Relationship Id="rId27" Type="http://schemas.openxmlformats.org/officeDocument/2006/relationships/tags" Target="../tags/tag28.xml"/><Relationship Id="rId48" Type="http://schemas.openxmlformats.org/officeDocument/2006/relationships/tags" Target="../tags/tag49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34" Type="http://schemas.openxmlformats.org/officeDocument/2006/relationships/tags" Target="../tags/tag135.xml"/><Relationship Id="rId80" Type="http://schemas.openxmlformats.org/officeDocument/2006/relationships/tags" Target="../tags/tag81.xml"/><Relationship Id="rId155" Type="http://schemas.openxmlformats.org/officeDocument/2006/relationships/tags" Target="../tags/tag156.xml"/><Relationship Id="rId176" Type="http://schemas.openxmlformats.org/officeDocument/2006/relationships/tags" Target="../tags/tag177.xml"/><Relationship Id="rId197" Type="http://schemas.openxmlformats.org/officeDocument/2006/relationships/tags" Target="../tags/tag198.xml"/><Relationship Id="rId201" Type="http://schemas.openxmlformats.org/officeDocument/2006/relationships/tags" Target="../tags/tag202.xml"/><Relationship Id="rId222" Type="http://schemas.openxmlformats.org/officeDocument/2006/relationships/tags" Target="../tags/tag223.xml"/><Relationship Id="rId243" Type="http://schemas.openxmlformats.org/officeDocument/2006/relationships/tags" Target="../tags/tag244.xml"/><Relationship Id="rId264" Type="http://schemas.openxmlformats.org/officeDocument/2006/relationships/tags" Target="../tags/tag265.xml"/><Relationship Id="rId17" Type="http://schemas.openxmlformats.org/officeDocument/2006/relationships/tags" Target="../tags/tag18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24" Type="http://schemas.openxmlformats.org/officeDocument/2006/relationships/tags" Target="../tags/tag125.xml"/><Relationship Id="rId70" Type="http://schemas.openxmlformats.org/officeDocument/2006/relationships/tags" Target="../tags/tag71.xml"/><Relationship Id="rId91" Type="http://schemas.openxmlformats.org/officeDocument/2006/relationships/tags" Target="../tags/tag92.xml"/><Relationship Id="rId145" Type="http://schemas.openxmlformats.org/officeDocument/2006/relationships/tags" Target="../tags/tag146.xml"/><Relationship Id="rId166" Type="http://schemas.openxmlformats.org/officeDocument/2006/relationships/tags" Target="../tags/tag167.xml"/><Relationship Id="rId187" Type="http://schemas.openxmlformats.org/officeDocument/2006/relationships/tags" Target="../tags/tag188.xml"/><Relationship Id="rId1" Type="http://schemas.openxmlformats.org/officeDocument/2006/relationships/tags" Target="../tags/tag2.xml"/><Relationship Id="rId212" Type="http://schemas.openxmlformats.org/officeDocument/2006/relationships/tags" Target="../tags/tag213.xml"/><Relationship Id="rId233" Type="http://schemas.openxmlformats.org/officeDocument/2006/relationships/tags" Target="../tags/tag234.xml"/><Relationship Id="rId254" Type="http://schemas.openxmlformats.org/officeDocument/2006/relationships/tags" Target="../tags/tag255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275" Type="http://schemas.openxmlformats.org/officeDocument/2006/relationships/tags" Target="../tags/tag276.xml"/><Relationship Id="rId60" Type="http://schemas.openxmlformats.org/officeDocument/2006/relationships/tags" Target="../tags/tag61.xml"/><Relationship Id="rId81" Type="http://schemas.openxmlformats.org/officeDocument/2006/relationships/tags" Target="../tags/tag82.xml"/><Relationship Id="rId135" Type="http://schemas.openxmlformats.org/officeDocument/2006/relationships/tags" Target="../tags/tag136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98" Type="http://schemas.openxmlformats.org/officeDocument/2006/relationships/tags" Target="../tags/tag199.xml"/><Relationship Id="rId202" Type="http://schemas.openxmlformats.org/officeDocument/2006/relationships/tags" Target="../tags/tag203.xml"/><Relationship Id="rId223" Type="http://schemas.openxmlformats.org/officeDocument/2006/relationships/tags" Target="../tags/tag224.xml"/><Relationship Id="rId244" Type="http://schemas.openxmlformats.org/officeDocument/2006/relationships/tags" Target="../tags/tag245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265" Type="http://schemas.openxmlformats.org/officeDocument/2006/relationships/tags" Target="../tags/tag266.xml"/><Relationship Id="rId50" Type="http://schemas.openxmlformats.org/officeDocument/2006/relationships/tags" Target="../tags/tag51.xml"/><Relationship Id="rId104" Type="http://schemas.openxmlformats.org/officeDocument/2006/relationships/tags" Target="../tags/tag105.xml"/><Relationship Id="rId125" Type="http://schemas.openxmlformats.org/officeDocument/2006/relationships/tags" Target="../tags/tag126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tags" Target="../tags/tag189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13" Type="http://schemas.openxmlformats.org/officeDocument/2006/relationships/tags" Target="../tags/tag214.xml"/><Relationship Id="rId234" Type="http://schemas.openxmlformats.org/officeDocument/2006/relationships/tags" Target="../tags/tag235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55" Type="http://schemas.openxmlformats.org/officeDocument/2006/relationships/tags" Target="../tags/tag256.xml"/><Relationship Id="rId276" Type="http://schemas.openxmlformats.org/officeDocument/2006/relationships/tags" Target="../tags/tag277.xml"/><Relationship Id="rId40" Type="http://schemas.openxmlformats.org/officeDocument/2006/relationships/tags" Target="../tags/tag41.xml"/><Relationship Id="rId115" Type="http://schemas.openxmlformats.org/officeDocument/2006/relationships/tags" Target="../tags/tag116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9" Type="http://schemas.openxmlformats.org/officeDocument/2006/relationships/tags" Target="../tags/tag200.xml"/><Relationship Id="rId203" Type="http://schemas.openxmlformats.org/officeDocument/2006/relationships/tags" Target="../tags/tag204.xml"/><Relationship Id="rId19" Type="http://schemas.openxmlformats.org/officeDocument/2006/relationships/tags" Target="../tags/tag20.xml"/><Relationship Id="rId224" Type="http://schemas.openxmlformats.org/officeDocument/2006/relationships/tags" Target="../tags/tag225.xml"/><Relationship Id="rId245" Type="http://schemas.openxmlformats.org/officeDocument/2006/relationships/tags" Target="../tags/tag246.xml"/><Relationship Id="rId266" Type="http://schemas.openxmlformats.org/officeDocument/2006/relationships/tags" Target="../tags/tag267.xml"/><Relationship Id="rId30" Type="http://schemas.openxmlformats.org/officeDocument/2006/relationships/tags" Target="../tags/tag3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189" Type="http://schemas.openxmlformats.org/officeDocument/2006/relationships/tags" Target="../tags/tag190.xml"/><Relationship Id="rId3" Type="http://schemas.openxmlformats.org/officeDocument/2006/relationships/tags" Target="../tags/tag4.xml"/><Relationship Id="rId214" Type="http://schemas.openxmlformats.org/officeDocument/2006/relationships/tags" Target="../tags/tag215.xml"/><Relationship Id="rId235" Type="http://schemas.openxmlformats.org/officeDocument/2006/relationships/tags" Target="../tags/tag236.xml"/><Relationship Id="rId256" Type="http://schemas.openxmlformats.org/officeDocument/2006/relationships/tags" Target="../tags/tag257.xml"/><Relationship Id="rId277" Type="http://schemas.openxmlformats.org/officeDocument/2006/relationships/tags" Target="../tags/tag278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179" Type="http://schemas.openxmlformats.org/officeDocument/2006/relationships/tags" Target="../tags/tag180.xml"/><Relationship Id="rId190" Type="http://schemas.openxmlformats.org/officeDocument/2006/relationships/tags" Target="../tags/tag191.xml"/><Relationship Id="rId204" Type="http://schemas.openxmlformats.org/officeDocument/2006/relationships/tags" Target="../tags/tag205.xml"/><Relationship Id="rId225" Type="http://schemas.openxmlformats.org/officeDocument/2006/relationships/tags" Target="../tags/tag226.xml"/><Relationship Id="rId246" Type="http://schemas.openxmlformats.org/officeDocument/2006/relationships/tags" Target="../tags/tag247.xml"/><Relationship Id="rId267" Type="http://schemas.openxmlformats.org/officeDocument/2006/relationships/tags" Target="../tags/tag268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94" Type="http://schemas.openxmlformats.org/officeDocument/2006/relationships/tags" Target="../tags/tag95.xml"/><Relationship Id="rId148" Type="http://schemas.openxmlformats.org/officeDocument/2006/relationships/tags" Target="../tags/tag149.xml"/><Relationship Id="rId169" Type="http://schemas.openxmlformats.org/officeDocument/2006/relationships/tags" Target="../tags/tag170.xml"/><Relationship Id="rId4" Type="http://schemas.openxmlformats.org/officeDocument/2006/relationships/tags" Target="../tags/tag5.xml"/><Relationship Id="rId180" Type="http://schemas.openxmlformats.org/officeDocument/2006/relationships/tags" Target="../tags/tag181.xml"/><Relationship Id="rId215" Type="http://schemas.openxmlformats.org/officeDocument/2006/relationships/tags" Target="../tags/tag216.xml"/><Relationship Id="rId236" Type="http://schemas.openxmlformats.org/officeDocument/2006/relationships/tags" Target="../tags/tag237.xml"/><Relationship Id="rId257" Type="http://schemas.openxmlformats.org/officeDocument/2006/relationships/tags" Target="../tags/tag258.xml"/><Relationship Id="rId278" Type="http://schemas.openxmlformats.org/officeDocument/2006/relationships/tags" Target="../tags/tag279.xml"/><Relationship Id="rId42" Type="http://schemas.openxmlformats.org/officeDocument/2006/relationships/tags" Target="../tags/tag43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191" Type="http://schemas.openxmlformats.org/officeDocument/2006/relationships/tags" Target="../tags/tag192.xml"/><Relationship Id="rId205" Type="http://schemas.openxmlformats.org/officeDocument/2006/relationships/tags" Target="../tags/tag206.xml"/><Relationship Id="rId247" Type="http://schemas.openxmlformats.org/officeDocument/2006/relationships/tags" Target="../tags/tag248.xml"/><Relationship Id="rId107" Type="http://schemas.openxmlformats.org/officeDocument/2006/relationships/tags" Target="../tags/tag108.xml"/><Relationship Id="rId11" Type="http://schemas.openxmlformats.org/officeDocument/2006/relationships/tags" Target="../tags/tag12.xml"/><Relationship Id="rId53" Type="http://schemas.openxmlformats.org/officeDocument/2006/relationships/tags" Target="../tags/tag54.xml"/><Relationship Id="rId149" Type="http://schemas.openxmlformats.org/officeDocument/2006/relationships/tags" Target="../tags/tag150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216" Type="http://schemas.openxmlformats.org/officeDocument/2006/relationships/tags" Target="../tags/tag217.xml"/><Relationship Id="rId258" Type="http://schemas.openxmlformats.org/officeDocument/2006/relationships/tags" Target="../tags/tag25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eepublicdownloads.blob.core.windows.net/public-cdn-container/clean-documents/Network%20codes%20documents/Implementation/picasso/PICASSO_press_release_platform_accession_SEPS_for_ENTSO-E.pdf" TargetMode="External"/><Relationship Id="rId13" Type="http://schemas.openxmlformats.org/officeDocument/2006/relationships/hyperlink" Target="https://eepublicdownloads.blob.core.windows.net/public-cdn-container/clean-documents/Network%20codes%20documents/Implementation/picasso/PICASSO_press_release_platform_accession_Fingrid.pdf" TargetMode="External"/><Relationship Id="rId18" Type="http://schemas.openxmlformats.org/officeDocument/2006/relationships/image" Target="../media/image48.png"/><Relationship Id="rId3" Type="http://schemas.openxmlformats.org/officeDocument/2006/relationships/hyperlink" Target="https://eepublicdownloads.blob.core.windows.net/public-cdn-container/clean-documents/Network%20codes%20documents/NC%20EB/2024/241127_Communication_note_REN_go-live.pdf" TargetMode="External"/><Relationship Id="rId7" Type="http://schemas.openxmlformats.org/officeDocument/2006/relationships/image" Target="../media/image47.png"/><Relationship Id="rId12" Type="http://schemas.openxmlformats.org/officeDocument/2006/relationships/hyperlink" Target="https://eepublicdownloads.blob.core.windows.net/public-cdn-container/clean-documents/Network%20codes%20documents/Implementation/picasso/PICASSO_press_release_platform_accession_IPTO-ADMIE.pdf" TargetMode="External"/><Relationship Id="rId17" Type="http://schemas.openxmlformats.org/officeDocument/2006/relationships/hyperlink" Target="timeline%20for%20preparation%20of%20EBCG%20and%20MESC%20materials,%20both%20events%20on%20July%203rd." TargetMode="External"/><Relationship Id="rId2" Type="http://schemas.openxmlformats.org/officeDocument/2006/relationships/notesSlide" Target="../notesSlides/notesSlide2.xml"/><Relationship Id="rId16" Type="http://schemas.openxmlformats.org/officeDocument/2006/relationships/hyperlink" Target="https://eepublicdownloads.blob.core.windows.net/public-cdn-container/clean-documents/Network%20codes%20documents/Implementation/picasso/PICASSO_press_release_platform_accession_Elering.pdf" TargetMode="External"/><Relationship Id="rId20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entsoe.eu/documents/nc/NC%20EB/2025/250523_Communication_note_ELIA_go-live.pdf" TargetMode="External"/><Relationship Id="rId11" Type="http://schemas.openxmlformats.org/officeDocument/2006/relationships/hyperlink" Target="https://eepublicdownloads.blob.core.windows.net/public-cdn-container/clean-documents/Network%20codes%20documents/Implementation/picasso/PICASSO_press_release_platform_accession_Litgrid.pdf" TargetMode="External"/><Relationship Id="rId5" Type="http://schemas.openxmlformats.org/officeDocument/2006/relationships/hyperlink" Target="https://eepublicdownloads.blob.core.windows.net/public-cdn-container/clean-documents/Network%20codes%20documents/NC%20EB/2024/241217_Communication_note_RE_go-live.pdf" TargetMode="External"/><Relationship Id="rId15" Type="http://schemas.openxmlformats.org/officeDocument/2006/relationships/hyperlink" Target="https://eepublicdownloads.blob.core.windows.net/public-cdn-container/clean-documents/Network%20codes%20documents/Implementation/picasso/PICASSO_press_release_platform_accession_AST.pdf" TargetMode="External"/><Relationship Id="rId10" Type="http://schemas.openxmlformats.org/officeDocument/2006/relationships/hyperlink" Target="https://eepublicdownloads.blob.core.windows.net/public-cdn-container/clean-documents/uploads/PICASSO_press_release_platform_accession_ESO.pdf" TargetMode="External"/><Relationship Id="rId19" Type="http://schemas.openxmlformats.org/officeDocument/2006/relationships/image" Target="../media/image49.png"/><Relationship Id="rId4" Type="http://schemas.openxmlformats.org/officeDocument/2006/relationships/hyperlink" Target="https://eepublicdownloads.blob.core.windows.net/public-cdn-container/clean-documents/Network%20codes%20documents/NC%20EB/2024/241206_Communication_note_SEPS_go-live.pdf" TargetMode="External"/><Relationship Id="rId9" Type="http://schemas.openxmlformats.org/officeDocument/2006/relationships/hyperlink" Target="https://eepublicdownloads.blob.core.windows.net/public-cdn-container/clean-documents/Network%20codes%20documents/Implementation/picasso/PICASSO_press_release_platform_accession_Elia.pdf" TargetMode="External"/><Relationship Id="rId14" Type="http://schemas.openxmlformats.org/officeDocument/2006/relationships/hyperlink" Target="https://eepublicdownloads.blob.core.windows.net/public-cdn-container/clean-documents/Network%20codes%20documents/Implementation/picasso/PICASSO_press_release-platform_accession_RTE.pdf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NC%20EB/2025/MARI_Accession_Roadmap_APR_2025.pdf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NC%20EB/2025/MARI_Accession_Roadmap_APR_2025.pdf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Implementation/picasso/PICASSO_Accession_Roadmap_APR_2025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eepublicdownloads.blob.core.windows.net/public-cdn-container/clean-documents/Network%20codes%20documents/Implementation/picasso/PICASSO_Accession_Roadmap_APR_2025.pdf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cs-CZ" dirty="0">
                <a:solidFill>
                  <a:schemeClr val="tx1"/>
                </a:solidFill>
              </a:rPr>
              <a:t>July</a:t>
            </a:r>
            <a:r>
              <a:rPr lang="en-US" dirty="0">
                <a:solidFill>
                  <a:schemeClr val="tx1"/>
                </a:solidFill>
              </a:rPr>
              <a:t> 3</a:t>
            </a:r>
            <a:r>
              <a:rPr lang="en-US" baseline="30000" dirty="0">
                <a:solidFill>
                  <a:schemeClr val="tx1"/>
                </a:solidFill>
              </a:rPr>
              <a:t>rd</a:t>
            </a:r>
            <a:r>
              <a:rPr lang="en-US" dirty="0">
                <a:solidFill>
                  <a:schemeClr val="tx1"/>
                </a:solidFill>
              </a:rPr>
              <a:t>, 202</a:t>
            </a:r>
            <a:r>
              <a:rPr lang="cs-CZ" dirty="0">
                <a:solidFill>
                  <a:schemeClr val="tx1"/>
                </a:solidFill>
              </a:rPr>
              <a:t>5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MESC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Update on Balancing Platforms</a:t>
            </a:r>
          </a:p>
        </p:txBody>
      </p:sp>
    </p:spTree>
    <p:extLst>
      <p:ext uri="{BB962C8B-B14F-4D97-AF65-F5344CB8AC3E}">
        <p14:creationId xmlns:p14="http://schemas.microsoft.com/office/powerpoint/2010/main" val="15484088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59A034-54CE-5A08-CDE5-1BD0B1CA2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Introduction</a:t>
            </a:r>
            <a:endParaRPr lang="en-GB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C097BA5-3B55-DBDD-634F-2B623F99D4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2108FB-23E0-4454-978B-54EB3005B0BA}" type="slidenum">
              <a:rPr lang="en-GB" noProof="0" smtClean="0"/>
              <a:pPr/>
              <a:t>1</a:t>
            </a:fld>
            <a:endParaRPr lang="en-GB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AD96BEF-5434-9860-3A93-4B640FE20C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noProof="0"/>
              <a:t>Overview on current status of European Balancing Platforms</a:t>
            </a:r>
          </a:p>
          <a:p>
            <a:endParaRPr lang="en-GB" noProof="0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C8851CD5-222F-4DDB-8597-7C962AF9E866}"/>
              </a:ext>
            </a:extLst>
          </p:cNvPr>
          <p:cNvSpPr txBox="1">
            <a:spLocks/>
          </p:cNvSpPr>
          <p:nvPr/>
        </p:nvSpPr>
        <p:spPr>
          <a:xfrm>
            <a:off x="451531" y="5258869"/>
            <a:ext cx="7132126" cy="813067"/>
          </a:xfrm>
          <a:prstGeom prst="rect">
            <a:avLst/>
          </a:prstGeom>
          <a:noFill/>
          <a:ln>
            <a:noFill/>
          </a:ln>
        </p:spPr>
        <p:txBody>
          <a:bodyPr vert="horz" lIns="74295" tIns="37148" rIns="74295" bIns="37148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04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00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60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20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5400" lvl="1" indent="0">
              <a:buSzPct val="100000"/>
              <a:buNone/>
            </a:pPr>
            <a:endParaRPr lang="cs-CZ" sz="1138" dirty="0"/>
          </a:p>
          <a:p>
            <a:pPr lvl="1">
              <a:buSzPct val="100000"/>
              <a:buFont typeface="Wingdings" panose="05000000000000000000" pitchFamily="2" charset="2"/>
              <a:buChar char="Ø"/>
            </a:pPr>
            <a:r>
              <a:rPr lang="en-GB" sz="1138" dirty="0"/>
              <a:t>European market design has significantly changed the local procurement rules.</a:t>
            </a:r>
            <a:endParaRPr lang="cs-CZ" sz="1138" dirty="0"/>
          </a:p>
          <a:p>
            <a:pPr lvl="1">
              <a:buSzPct val="100000"/>
              <a:buFont typeface="Wingdings" panose="05000000000000000000" pitchFamily="2" charset="2"/>
              <a:buChar char="Ø"/>
            </a:pPr>
            <a:r>
              <a:rPr lang="en-GB" sz="1138" dirty="0"/>
              <a:t>In 2024 all platforms together achieved an economic surplus of more than 1,450 Mio. €</a:t>
            </a: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3AC5EB4-BCA0-8D91-26B8-98A631193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1710662"/>
              </p:ext>
            </p:extLst>
          </p:nvPr>
        </p:nvGraphicFramePr>
        <p:xfrm>
          <a:off x="647348" y="1476283"/>
          <a:ext cx="8538214" cy="34539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17845">
                  <a:extLst>
                    <a:ext uri="{9D8B030D-6E8A-4147-A177-3AD203B41FA5}">
                      <a16:colId xmlns:a16="http://schemas.microsoft.com/office/drawing/2014/main" val="2479466062"/>
                    </a:ext>
                  </a:extLst>
                </a:gridCol>
                <a:gridCol w="1955468">
                  <a:extLst>
                    <a:ext uri="{9D8B030D-6E8A-4147-A177-3AD203B41FA5}">
                      <a16:colId xmlns:a16="http://schemas.microsoft.com/office/drawing/2014/main" val="1939237048"/>
                    </a:ext>
                  </a:extLst>
                </a:gridCol>
                <a:gridCol w="1903782">
                  <a:extLst>
                    <a:ext uri="{9D8B030D-6E8A-4147-A177-3AD203B41FA5}">
                      <a16:colId xmlns:a16="http://schemas.microsoft.com/office/drawing/2014/main" val="1255074970"/>
                    </a:ext>
                  </a:extLst>
                </a:gridCol>
                <a:gridCol w="1860710">
                  <a:extLst>
                    <a:ext uri="{9D8B030D-6E8A-4147-A177-3AD203B41FA5}">
                      <a16:colId xmlns:a16="http://schemas.microsoft.com/office/drawing/2014/main" val="1762177968"/>
                    </a:ext>
                  </a:extLst>
                </a:gridCol>
                <a:gridCol w="1800409">
                  <a:extLst>
                    <a:ext uri="{9D8B030D-6E8A-4147-A177-3AD203B41FA5}">
                      <a16:colId xmlns:a16="http://schemas.microsoft.com/office/drawing/2014/main" val="1825307574"/>
                    </a:ext>
                  </a:extLst>
                </a:gridCol>
              </a:tblGrid>
              <a:tr h="229076"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000" b="1" noProof="0" dirty="0"/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/>
                        <a:t>IGCC</a:t>
                      </a:r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/>
                        <a:t>MARI</a:t>
                      </a:r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/>
                        <a:t>PICASSO</a:t>
                      </a:r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noProof="0" dirty="0"/>
                        <a:t>TERRE</a:t>
                      </a:r>
                    </a:p>
                  </a:txBody>
                  <a:tcPr marL="74295" marR="74295" marT="37148" marB="37148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677258"/>
                  </a:ext>
                </a:extLst>
              </a:tr>
              <a:tr h="383858"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Balancing servic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IN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mFRR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aFRR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RR</a:t>
                      </a:r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2407050293"/>
                  </a:ext>
                </a:extLst>
              </a:tr>
              <a:tr h="1258098"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Participants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 dirty="0"/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1499386999"/>
                  </a:ext>
                </a:extLst>
              </a:tr>
              <a:tr h="268877"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Target area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Continental Europ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≥ Continental Europ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≥ Continental Europ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≥ RR TSOs</a:t>
                      </a:r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4240111433"/>
                  </a:ext>
                </a:extLst>
              </a:tr>
              <a:tr h="383858"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Go-live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24/06/2021 &amp; operational since 01/10/2011 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05/10/2022*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22/06/2022*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29/09/2020*</a:t>
                      </a:r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2211295156"/>
                  </a:ext>
                </a:extLst>
              </a:tr>
              <a:tr h="507683"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Status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noProof="0" dirty="0"/>
                        <a:t> 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noProof="0" dirty="0"/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1135881819"/>
                  </a:ext>
                </a:extLst>
              </a:tr>
              <a:tr h="42246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000" noProof="0" dirty="0"/>
                        <a:t>Highlights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noProof="0" dirty="0"/>
                        <a:t>Economic surplus of around </a:t>
                      </a:r>
                      <a:br>
                        <a:rPr lang="cs-CZ" sz="900" noProof="0"/>
                      </a:br>
                      <a:r>
                        <a:rPr lang="en-US" sz="900" noProof="0"/>
                        <a:t>175</a:t>
                      </a:r>
                      <a:r>
                        <a:rPr lang="en-US" sz="9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Mio. € </a:t>
                      </a:r>
                      <a:r>
                        <a:rPr lang="en-US" sz="900" noProof="0" dirty="0"/>
                        <a:t>in Q1 2025</a:t>
                      </a:r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marL="0" lvl="0" algn="l">
                        <a:buNone/>
                      </a:pPr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Economic surplus of </a:t>
                      </a:r>
                      <a:b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en-US" sz="900" b="0" i="0" u="none" strike="noStrike" noProof="0" dirty="0">
                          <a:solidFill>
                            <a:srgbClr val="000000"/>
                          </a:solidFill>
                          <a:latin typeface="Arial"/>
                        </a:rPr>
                        <a:t>41 Mio. € in Q1/Q2 2025.</a:t>
                      </a:r>
                      <a:endParaRPr lang="en-US" sz="1400" dirty="0"/>
                    </a:p>
                  </a:txBody>
                  <a:tcPr marL="74295" marR="74295" marT="37148" marB="37148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noProof="0" dirty="0"/>
                        <a:t>Economic surplus of more than 145 Mio € in Q1/Q2 2025. </a:t>
                      </a:r>
                      <a:endParaRPr lang="en-US" sz="900" kern="0" dirty="0"/>
                    </a:p>
                  </a:txBody>
                  <a:tcPr marL="74295" marR="74295" marT="37148" marB="37148" anchor="ctr"/>
                </a:tc>
                <a:tc>
                  <a:txBody>
                    <a:bodyPr/>
                    <a:lstStyle/>
                    <a:p>
                      <a:pPr marL="0" marR="0" lvl="0" indent="0" algn="l" defTabSz="4402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noProof="0" dirty="0"/>
                        <a:t>Economic surplus of nearly </a:t>
                      </a:r>
                      <a:br>
                        <a:rPr lang="cs-CZ" sz="900" noProof="0" dirty="0"/>
                      </a:br>
                      <a:r>
                        <a:rPr lang="en-US" sz="900" noProof="0" dirty="0"/>
                        <a:t>201</a:t>
                      </a:r>
                      <a:r>
                        <a:rPr lang="cs-CZ" sz="900" noProof="0" dirty="0"/>
                        <a:t> </a:t>
                      </a:r>
                      <a:r>
                        <a:rPr lang="en-US" sz="900" noProof="0" dirty="0"/>
                        <a:t>Mio. € in 2025.</a:t>
                      </a:r>
                      <a:endParaRPr lang="en-US" sz="900" noProof="0" dirty="0">
                        <a:solidFill>
                          <a:srgbClr val="FF0000"/>
                        </a:solidFill>
                      </a:endParaRPr>
                    </a:p>
                  </a:txBody>
                  <a:tcPr marL="74295" marR="74295" marT="37148" marB="37148" anchor="ctr"/>
                </a:tc>
                <a:extLst>
                  <a:ext uri="{0D108BD9-81ED-4DB2-BD59-A6C34878D82A}">
                    <a16:rowId xmlns:a16="http://schemas.microsoft.com/office/drawing/2014/main" val="1587076398"/>
                  </a:ext>
                </a:extLst>
              </a:tr>
            </a:tbl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8B925FF8-FF0F-D5CB-DCB4-FF7B78E73C78}"/>
              </a:ext>
            </a:extLst>
          </p:cNvPr>
          <p:cNvSpPr txBox="1"/>
          <p:nvPr/>
        </p:nvSpPr>
        <p:spPr>
          <a:xfrm>
            <a:off x="3680142" y="5023803"/>
            <a:ext cx="5676513" cy="204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731">
                <a:latin typeface="Arial" panose="020B0604020202020204" pitchFamily="34" charset="0"/>
                <a:cs typeface="Arial" panose="020B0604020202020204" pitchFamily="34" charset="0"/>
              </a:rPr>
              <a:t>* Date as of when cross-border exchanges were possible due to neighboring TSO joining. Technical go-live of platform was earlier.</a:t>
            </a:r>
            <a:endParaRPr lang="en-GB" sz="73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A7A6D9FA-840A-8694-80C1-BC2EFC3CBFB1}"/>
              </a:ext>
            </a:extLst>
          </p:cNvPr>
          <p:cNvGrpSpPr/>
          <p:nvPr/>
        </p:nvGrpSpPr>
        <p:grpSpPr>
          <a:xfrm>
            <a:off x="2440098" y="4034063"/>
            <a:ext cx="219375" cy="438750"/>
            <a:chOff x="-717331" y="4028090"/>
            <a:chExt cx="270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36BB796-E0F3-5EE4-0E77-A1DADDD95661}"/>
                </a:ext>
              </a:extLst>
            </p:cNvPr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defTabSz="742950" eaLnBrk="0" hangingPunct="0"/>
              <a:endParaRPr kumimoji="0" lang="en-US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3A87A6BD-0151-26EA-5B3A-D681F35FD2B9}"/>
                </a:ext>
              </a:extLst>
            </p:cNvPr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12" name="Ellipse 11">
                <a:extLst>
                  <a:ext uri="{FF2B5EF4-FFF2-40B4-BE49-F238E27FC236}">
                    <a16:creationId xmlns:a16="http://schemas.microsoft.com/office/drawing/2014/main" id="{DF9B783E-05BA-8F95-2FF4-D8DA2E10178C}"/>
                  </a:ext>
                </a:extLst>
              </p:cNvPr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4E362891-BC50-6C39-F71A-DE095AAF340E}"/>
                  </a:ext>
                </a:extLst>
              </p:cNvPr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6532F140-F5B8-A51B-1EE4-8DE4663F446B}"/>
                  </a:ext>
                </a:extLst>
              </p:cNvPr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9269B55-EC09-3ACF-4D90-30CE554414A9}"/>
              </a:ext>
            </a:extLst>
          </p:cNvPr>
          <p:cNvGrpSpPr/>
          <p:nvPr/>
        </p:nvGrpSpPr>
        <p:grpSpPr>
          <a:xfrm>
            <a:off x="4452222" y="4034063"/>
            <a:ext cx="219375" cy="438750"/>
            <a:chOff x="-717331" y="4028090"/>
            <a:chExt cx="270000" cy="54000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4D80F866-1B18-0165-0E33-D92E618B6539}"/>
                </a:ext>
              </a:extLst>
            </p:cNvPr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defTabSz="742950" eaLnBrk="0" hangingPunct="0"/>
              <a:endParaRPr kumimoji="0" lang="en-US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77008F8-4FCE-80AF-D1E5-F90383D28E9E}"/>
                </a:ext>
              </a:extLst>
            </p:cNvPr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18" name="Ellipse 17">
                <a:extLst>
                  <a:ext uri="{FF2B5EF4-FFF2-40B4-BE49-F238E27FC236}">
                    <a16:creationId xmlns:a16="http://schemas.microsoft.com/office/drawing/2014/main" id="{CE741B89-4B9D-A270-00ED-309891A04447}"/>
                  </a:ext>
                </a:extLst>
              </p:cNvPr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DD52E341-5416-4D00-86D0-DCF5C5016A39}"/>
                  </a:ext>
                </a:extLst>
              </p:cNvPr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EAE26F4B-0648-B325-AD45-2DC52ECB0A96}"/>
                  </a:ext>
                </a:extLst>
              </p:cNvPr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D6ECB315-B8F3-39DF-1F36-D4B965CD98C7}"/>
              </a:ext>
            </a:extLst>
          </p:cNvPr>
          <p:cNvGrpSpPr/>
          <p:nvPr/>
        </p:nvGrpSpPr>
        <p:grpSpPr>
          <a:xfrm>
            <a:off x="6355629" y="4034063"/>
            <a:ext cx="219375" cy="438750"/>
            <a:chOff x="-717331" y="4028090"/>
            <a:chExt cx="270000" cy="540000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2BB07E17-AD3B-6A04-34E6-9D1428D11C02}"/>
                </a:ext>
              </a:extLst>
            </p:cNvPr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defTabSz="742950" eaLnBrk="0" hangingPunct="0"/>
              <a:endParaRPr kumimoji="0" lang="en-US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A7D28E92-DEA6-CF93-31AA-D45FD2A8D338}"/>
                </a:ext>
              </a:extLst>
            </p:cNvPr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2EE9B522-CBD7-5813-536C-DF04457D7C77}"/>
                  </a:ext>
                </a:extLst>
              </p:cNvPr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5" name="Ellipse 24">
                <a:extLst>
                  <a:ext uri="{FF2B5EF4-FFF2-40B4-BE49-F238E27FC236}">
                    <a16:creationId xmlns:a16="http://schemas.microsoft.com/office/drawing/2014/main" id="{460F2C84-8713-6D1F-5E87-30F9440FA30B}"/>
                  </a:ext>
                </a:extLst>
              </p:cNvPr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1AA0FC87-70D9-3444-0DE2-62030C18830F}"/>
                  </a:ext>
                </a:extLst>
              </p:cNvPr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D468E387-90AE-7C25-12F7-FFD58F3A907A}"/>
              </a:ext>
            </a:extLst>
          </p:cNvPr>
          <p:cNvGrpSpPr/>
          <p:nvPr/>
        </p:nvGrpSpPr>
        <p:grpSpPr>
          <a:xfrm>
            <a:off x="8213506" y="4034063"/>
            <a:ext cx="219375" cy="438750"/>
            <a:chOff x="-717331" y="4028090"/>
            <a:chExt cx="270000" cy="540000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7E66DB00-D9D2-F15D-5E9D-A8A3A6575FA6}"/>
                </a:ext>
              </a:extLst>
            </p:cNvPr>
            <p:cNvSpPr/>
            <p:nvPr/>
          </p:nvSpPr>
          <p:spPr bwMode="auto">
            <a:xfrm>
              <a:off x="-717331" y="4028090"/>
              <a:ext cx="270000" cy="540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defTabSz="742950" eaLnBrk="0" hangingPunct="0"/>
              <a:endParaRPr kumimoji="0" lang="en-US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C841EBD6-861E-BB9E-70B3-B11BE3BF432A}"/>
                </a:ext>
              </a:extLst>
            </p:cNvPr>
            <p:cNvGrpSpPr/>
            <p:nvPr/>
          </p:nvGrpSpPr>
          <p:grpSpPr>
            <a:xfrm>
              <a:off x="-654331" y="4082090"/>
              <a:ext cx="144000" cy="432000"/>
              <a:chOff x="-1008993" y="2120462"/>
              <a:chExt cx="144000" cy="432000"/>
            </a:xfrm>
          </p:grpSpPr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3ECCF9E4-D2E9-3787-A52F-D329A467461B}"/>
                  </a:ext>
                </a:extLst>
              </p:cNvPr>
              <p:cNvSpPr/>
              <p:nvPr/>
            </p:nvSpPr>
            <p:spPr bwMode="auto">
              <a:xfrm>
                <a:off x="-1008993" y="2120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E31AF0FF-4E09-1E80-B116-F6EA8675205B}"/>
                  </a:ext>
                </a:extLst>
              </p:cNvPr>
              <p:cNvSpPr/>
              <p:nvPr/>
            </p:nvSpPr>
            <p:spPr bwMode="auto">
              <a:xfrm>
                <a:off x="-1008993" y="2264462"/>
                <a:ext cx="144000" cy="14400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15A0B85B-E3BA-BA63-2AA7-025AAC1C70B4}"/>
                  </a:ext>
                </a:extLst>
              </p:cNvPr>
              <p:cNvSpPr/>
              <p:nvPr/>
            </p:nvSpPr>
            <p:spPr bwMode="auto">
              <a:xfrm>
                <a:off x="-1008993" y="2408462"/>
                <a:ext cx="144000" cy="144000"/>
              </a:xfrm>
              <a:prstGeom prst="ellipse">
                <a:avLst/>
              </a:prstGeom>
              <a:solidFill>
                <a:srgbClr val="00B05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eaLnBrk="0" hangingPunct="0"/>
                <a:endParaRPr kumimoji="0" lang="en-US" b="0" i="0" u="none" strike="noStrike" cap="none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FDF3AF3D-2B32-2B45-F68E-CDC35415A2E2}"/>
              </a:ext>
            </a:extLst>
          </p:cNvPr>
          <p:cNvPicPr>
            <a:picLocks noChangeAspect="1"/>
          </p:cNvPicPr>
          <p:nvPr/>
        </p:nvPicPr>
        <p:blipFill>
          <a:blip r:embed="rId280"/>
          <a:stretch>
            <a:fillRect/>
          </a:stretch>
        </p:blipFill>
        <p:spPr>
          <a:xfrm>
            <a:off x="7734935" y="2107827"/>
            <a:ext cx="1124406" cy="1229585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EAA11340-B4D2-BE50-144D-4A7583CD59EC}"/>
              </a:ext>
            </a:extLst>
          </p:cNvPr>
          <p:cNvPicPr>
            <a:picLocks noChangeAspect="1"/>
          </p:cNvPicPr>
          <p:nvPr/>
        </p:nvPicPr>
        <p:blipFill>
          <a:blip r:embed="rId281"/>
          <a:stretch>
            <a:fillRect/>
          </a:stretch>
        </p:blipFill>
        <p:spPr>
          <a:xfrm>
            <a:off x="2095150" y="2165084"/>
            <a:ext cx="1128646" cy="1149167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1CD7DFC-27DB-DC1F-947D-9F45F1304B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7003" y="2107827"/>
            <a:ext cx="1128646" cy="1150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66" name="Gruppieren 1565">
            <a:extLst>
              <a:ext uri="{FF2B5EF4-FFF2-40B4-BE49-F238E27FC236}">
                <a16:creationId xmlns:a16="http://schemas.microsoft.com/office/drawing/2014/main" id="{CC901B5A-0073-55E7-CAA5-D03D27E69EF5}"/>
              </a:ext>
            </a:extLst>
          </p:cNvPr>
          <p:cNvGrpSpPr>
            <a:grpSpLocks noChangeAspect="1"/>
          </p:cNvGrpSpPr>
          <p:nvPr/>
        </p:nvGrpSpPr>
        <p:grpSpPr>
          <a:xfrm>
            <a:off x="3979212" y="2107827"/>
            <a:ext cx="1128541" cy="1149525"/>
            <a:chOff x="6190596" y="792682"/>
            <a:chExt cx="5691173" cy="5797131"/>
          </a:xfrm>
        </p:grpSpPr>
        <p:grpSp>
          <p:nvGrpSpPr>
            <p:cNvPr id="1567" name="Group 4">
              <a:extLst>
                <a:ext uri="{FF2B5EF4-FFF2-40B4-BE49-F238E27FC236}">
                  <a16:creationId xmlns:a16="http://schemas.microsoft.com/office/drawing/2014/main" id="{6BC994F4-4AA7-CAC4-71DC-3DC2A0C4EB2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90596" y="792682"/>
              <a:ext cx="5691173" cy="5797131"/>
              <a:chOff x="2940741" y="1700213"/>
              <a:chExt cx="4348519" cy="4429479"/>
            </a:xfrm>
          </p:grpSpPr>
          <p:sp>
            <p:nvSpPr>
              <p:cNvPr id="1806" name="ee4p_AL_1_15912">
                <a:extLst>
                  <a:ext uri="{FF2B5EF4-FFF2-40B4-BE49-F238E27FC236}">
                    <a16:creationId xmlns:a16="http://schemas.microsoft.com/office/drawing/2014/main" id="{CEE05DF2-7DAB-C9F4-2C87-EEF55EDE4542}"/>
                  </a:ext>
                </a:extLst>
              </p:cNvPr>
              <p:cNvSpPr>
                <a:spLocks noChangeAspect="1"/>
              </p:cNvSpPr>
              <p:nvPr>
                <p:custDataLst>
                  <p:tags r:id="rId237"/>
                </p:custDataLst>
              </p:nvPr>
            </p:nvSpPr>
            <p:spPr>
              <a:xfrm>
                <a:off x="5461805" y="5339950"/>
                <a:ext cx="153439" cy="312738"/>
              </a:xfrm>
              <a:custGeom>
                <a:avLst/>
                <a:gdLst/>
                <a:ahLst/>
                <a:cxnLst/>
                <a:rect l="0" t="0" r="0" b="0"/>
                <a:pathLst>
                  <a:path w="38706" h="78890">
                    <a:moveTo>
                      <a:pt x="17320" y="2687"/>
                    </a:moveTo>
                    <a:lnTo>
                      <a:pt x="18195" y="3291"/>
                    </a:lnTo>
                    <a:lnTo>
                      <a:pt x="20013" y="5925"/>
                    </a:lnTo>
                    <a:lnTo>
                      <a:pt x="21225" y="8240"/>
                    </a:lnTo>
                    <a:lnTo>
                      <a:pt x="23606" y="9044"/>
                    </a:lnTo>
                    <a:lnTo>
                      <a:pt x="24935" y="9945"/>
                    </a:lnTo>
                    <a:lnTo>
                      <a:pt x="26640" y="11317"/>
                    </a:lnTo>
                    <a:lnTo>
                      <a:pt x="27467" y="12697"/>
                    </a:lnTo>
                    <a:lnTo>
                      <a:pt x="28629" y="16906"/>
                    </a:lnTo>
                    <a:lnTo>
                      <a:pt x="28763" y="19445"/>
                    </a:lnTo>
                    <a:lnTo>
                      <a:pt x="28426" y="20605"/>
                    </a:lnTo>
                    <a:lnTo>
                      <a:pt x="28137" y="20905"/>
                    </a:lnTo>
                    <a:lnTo>
                      <a:pt x="27077" y="25035"/>
                    </a:lnTo>
                    <a:lnTo>
                      <a:pt x="27330" y="27137"/>
                    </a:lnTo>
                    <a:lnTo>
                      <a:pt x="27321" y="28520"/>
                    </a:lnTo>
                    <a:lnTo>
                      <a:pt x="26423" y="29066"/>
                    </a:lnTo>
                    <a:lnTo>
                      <a:pt x="25827" y="29934"/>
                    </a:lnTo>
                    <a:lnTo>
                      <a:pt x="26794" y="33365"/>
                    </a:lnTo>
                    <a:lnTo>
                      <a:pt x="26675" y="34825"/>
                    </a:lnTo>
                    <a:lnTo>
                      <a:pt x="26718" y="36499"/>
                    </a:lnTo>
                    <a:lnTo>
                      <a:pt x="28463" y="40315"/>
                    </a:lnTo>
                    <a:lnTo>
                      <a:pt x="29493" y="41494"/>
                    </a:lnTo>
                    <a:lnTo>
                      <a:pt x="30413" y="42057"/>
                    </a:lnTo>
                    <a:lnTo>
                      <a:pt x="31590" y="45563"/>
                    </a:lnTo>
                    <a:lnTo>
                      <a:pt x="32287" y="46170"/>
                    </a:lnTo>
                    <a:lnTo>
                      <a:pt x="35148" y="45838"/>
                    </a:lnTo>
                    <a:lnTo>
                      <a:pt x="36548" y="46227"/>
                    </a:lnTo>
                    <a:lnTo>
                      <a:pt x="37103" y="47057"/>
                    </a:lnTo>
                    <a:lnTo>
                      <a:pt x="37228" y="47625"/>
                    </a:lnTo>
                    <a:lnTo>
                      <a:pt x="37040" y="49585"/>
                    </a:lnTo>
                    <a:lnTo>
                      <a:pt x="37751" y="51094"/>
                    </a:lnTo>
                    <a:lnTo>
                      <a:pt x="38705" y="52646"/>
                    </a:lnTo>
                    <a:lnTo>
                      <a:pt x="38701" y="53594"/>
                    </a:lnTo>
                    <a:lnTo>
                      <a:pt x="38061" y="55143"/>
                    </a:lnTo>
                    <a:lnTo>
                      <a:pt x="36917" y="56950"/>
                    </a:lnTo>
                    <a:lnTo>
                      <a:pt x="35401" y="57643"/>
                    </a:lnTo>
                    <a:lnTo>
                      <a:pt x="33730" y="58231"/>
                    </a:lnTo>
                    <a:lnTo>
                      <a:pt x="32933" y="59633"/>
                    </a:lnTo>
                    <a:lnTo>
                      <a:pt x="32527" y="61123"/>
                    </a:lnTo>
                    <a:lnTo>
                      <a:pt x="31780" y="62228"/>
                    </a:lnTo>
                    <a:lnTo>
                      <a:pt x="31318" y="63438"/>
                    </a:lnTo>
                    <a:lnTo>
                      <a:pt x="30610" y="65909"/>
                    </a:lnTo>
                    <a:lnTo>
                      <a:pt x="30443" y="66807"/>
                    </a:lnTo>
                    <a:lnTo>
                      <a:pt x="29312" y="67713"/>
                    </a:lnTo>
                    <a:lnTo>
                      <a:pt x="27561" y="68082"/>
                    </a:lnTo>
                    <a:lnTo>
                      <a:pt x="25990" y="68159"/>
                    </a:lnTo>
                    <a:lnTo>
                      <a:pt x="24928" y="68579"/>
                    </a:lnTo>
                    <a:lnTo>
                      <a:pt x="24391" y="69421"/>
                    </a:lnTo>
                    <a:lnTo>
                      <a:pt x="23391" y="70102"/>
                    </a:lnTo>
                    <a:lnTo>
                      <a:pt x="22786" y="70405"/>
                    </a:lnTo>
                    <a:lnTo>
                      <a:pt x="22790" y="71152"/>
                    </a:lnTo>
                    <a:lnTo>
                      <a:pt x="23518" y="72719"/>
                    </a:lnTo>
                    <a:lnTo>
                      <a:pt x="24345" y="73991"/>
                    </a:lnTo>
                    <a:lnTo>
                      <a:pt x="24362" y="75011"/>
                    </a:lnTo>
                    <a:lnTo>
                      <a:pt x="23956" y="75294"/>
                    </a:lnTo>
                    <a:lnTo>
                      <a:pt x="22676" y="75166"/>
                    </a:lnTo>
                    <a:lnTo>
                      <a:pt x="22404" y="75542"/>
                    </a:lnTo>
                    <a:lnTo>
                      <a:pt x="22265" y="76677"/>
                    </a:lnTo>
                    <a:lnTo>
                      <a:pt x="21922" y="77650"/>
                    </a:lnTo>
                    <a:lnTo>
                      <a:pt x="21395" y="78243"/>
                    </a:lnTo>
                    <a:lnTo>
                      <a:pt x="20480" y="78889"/>
                    </a:lnTo>
                    <a:lnTo>
                      <a:pt x="18804" y="78679"/>
                    </a:lnTo>
                    <a:lnTo>
                      <a:pt x="17228" y="77704"/>
                    </a:lnTo>
                    <a:lnTo>
                      <a:pt x="16405" y="77403"/>
                    </a:lnTo>
                    <a:lnTo>
                      <a:pt x="15934" y="77436"/>
                    </a:lnTo>
                    <a:lnTo>
                      <a:pt x="15809" y="75052"/>
                    </a:lnTo>
                    <a:lnTo>
                      <a:pt x="15129" y="73197"/>
                    </a:lnTo>
                    <a:lnTo>
                      <a:pt x="12630" y="68733"/>
                    </a:lnTo>
                    <a:lnTo>
                      <a:pt x="4509" y="64389"/>
                    </a:lnTo>
                    <a:lnTo>
                      <a:pt x="2598" y="62432"/>
                    </a:lnTo>
                    <a:lnTo>
                      <a:pt x="1758" y="60789"/>
                    </a:lnTo>
                    <a:lnTo>
                      <a:pt x="920" y="59236"/>
                    </a:lnTo>
                    <a:lnTo>
                      <a:pt x="1723" y="59192"/>
                    </a:lnTo>
                    <a:lnTo>
                      <a:pt x="2518" y="59586"/>
                    </a:lnTo>
                    <a:lnTo>
                      <a:pt x="3535" y="60057"/>
                    </a:lnTo>
                    <a:lnTo>
                      <a:pt x="3948" y="59280"/>
                    </a:lnTo>
                    <a:lnTo>
                      <a:pt x="3507" y="57582"/>
                    </a:lnTo>
                    <a:lnTo>
                      <a:pt x="1414" y="53604"/>
                    </a:lnTo>
                    <a:lnTo>
                      <a:pt x="1257" y="52510"/>
                    </a:lnTo>
                    <a:lnTo>
                      <a:pt x="2283" y="49180"/>
                    </a:lnTo>
                    <a:lnTo>
                      <a:pt x="3993" y="45434"/>
                    </a:lnTo>
                    <a:lnTo>
                      <a:pt x="3879" y="40888"/>
                    </a:lnTo>
                    <a:lnTo>
                      <a:pt x="4410" y="37455"/>
                    </a:lnTo>
                    <a:lnTo>
                      <a:pt x="3820" y="35223"/>
                    </a:lnTo>
                    <a:lnTo>
                      <a:pt x="3537" y="32484"/>
                    </a:lnTo>
                    <a:lnTo>
                      <a:pt x="4792" y="28839"/>
                    </a:lnTo>
                    <a:lnTo>
                      <a:pt x="5863" y="27937"/>
                    </a:lnTo>
                    <a:lnTo>
                      <a:pt x="6524" y="26783"/>
                    </a:lnTo>
                    <a:lnTo>
                      <a:pt x="6565" y="22889"/>
                    </a:lnTo>
                    <a:lnTo>
                      <a:pt x="4148" y="21070"/>
                    </a:lnTo>
                    <a:lnTo>
                      <a:pt x="1365" y="20727"/>
                    </a:lnTo>
                    <a:lnTo>
                      <a:pt x="1434" y="19407"/>
                    </a:lnTo>
                    <a:lnTo>
                      <a:pt x="1780" y="17313"/>
                    </a:lnTo>
                    <a:lnTo>
                      <a:pt x="1581" y="16615"/>
                    </a:lnTo>
                    <a:lnTo>
                      <a:pt x="1786" y="15418"/>
                    </a:lnTo>
                    <a:lnTo>
                      <a:pt x="1110" y="13819"/>
                    </a:lnTo>
                    <a:lnTo>
                      <a:pt x="0" y="12669"/>
                    </a:lnTo>
                    <a:lnTo>
                      <a:pt x="1069" y="10628"/>
                    </a:lnTo>
                    <a:lnTo>
                      <a:pt x="2630" y="8162"/>
                    </a:lnTo>
                    <a:lnTo>
                      <a:pt x="4079" y="6205"/>
                    </a:lnTo>
                    <a:lnTo>
                      <a:pt x="5835" y="4163"/>
                    </a:lnTo>
                    <a:lnTo>
                      <a:pt x="7005" y="2203"/>
                    </a:lnTo>
                    <a:lnTo>
                      <a:pt x="8266" y="517"/>
                    </a:lnTo>
                    <a:lnTo>
                      <a:pt x="9348" y="0"/>
                    </a:lnTo>
                    <a:lnTo>
                      <a:pt x="9888" y="358"/>
                    </a:lnTo>
                    <a:lnTo>
                      <a:pt x="10173" y="1095"/>
                    </a:lnTo>
                    <a:lnTo>
                      <a:pt x="10108" y="3278"/>
                    </a:lnTo>
                    <a:lnTo>
                      <a:pt x="10477" y="4030"/>
                    </a:lnTo>
                    <a:lnTo>
                      <a:pt x="11225" y="4584"/>
                    </a:lnTo>
                    <a:lnTo>
                      <a:pt x="12805" y="4313"/>
                    </a:lnTo>
                    <a:lnTo>
                      <a:pt x="14559" y="3770"/>
                    </a:lnTo>
                    <a:lnTo>
                      <a:pt x="16917" y="2617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7" name="ee4p_AD_1_15912">
                <a:extLst>
                  <a:ext uri="{FF2B5EF4-FFF2-40B4-BE49-F238E27FC236}">
                    <a16:creationId xmlns:a16="http://schemas.microsoft.com/office/drawing/2014/main" id="{6A34181D-8C93-779D-9F8B-52C7739B12FC}"/>
                  </a:ext>
                </a:extLst>
              </p:cNvPr>
              <p:cNvSpPr>
                <a:spLocks noChangeAspect="1"/>
              </p:cNvSpPr>
              <p:nvPr>
                <p:custDataLst>
                  <p:tags r:id="rId238"/>
                </p:custDataLst>
              </p:nvPr>
            </p:nvSpPr>
            <p:spPr>
              <a:xfrm>
                <a:off x="3895732" y="5340501"/>
                <a:ext cx="28527" cy="22033"/>
              </a:xfrm>
              <a:custGeom>
                <a:avLst/>
                <a:gdLst/>
                <a:ahLst/>
                <a:cxnLst/>
                <a:rect l="0" t="0" r="0" b="0"/>
                <a:pathLst>
                  <a:path w="7196" h="5558">
                    <a:moveTo>
                      <a:pt x="6440" y="3721"/>
                    </a:moveTo>
                    <a:lnTo>
                      <a:pt x="5830" y="3898"/>
                    </a:lnTo>
                    <a:lnTo>
                      <a:pt x="3794" y="4984"/>
                    </a:lnTo>
                    <a:lnTo>
                      <a:pt x="2637" y="5364"/>
                    </a:lnTo>
                    <a:lnTo>
                      <a:pt x="1579" y="5557"/>
                    </a:lnTo>
                    <a:lnTo>
                      <a:pt x="752" y="5477"/>
                    </a:lnTo>
                    <a:lnTo>
                      <a:pt x="294" y="4841"/>
                    </a:lnTo>
                    <a:lnTo>
                      <a:pt x="342" y="3867"/>
                    </a:lnTo>
                    <a:lnTo>
                      <a:pt x="158" y="2988"/>
                    </a:lnTo>
                    <a:lnTo>
                      <a:pt x="0" y="2519"/>
                    </a:lnTo>
                    <a:lnTo>
                      <a:pt x="298" y="1250"/>
                    </a:lnTo>
                    <a:lnTo>
                      <a:pt x="974" y="562"/>
                    </a:lnTo>
                    <a:lnTo>
                      <a:pt x="1914" y="0"/>
                    </a:lnTo>
                    <a:lnTo>
                      <a:pt x="3391" y="206"/>
                    </a:lnTo>
                    <a:lnTo>
                      <a:pt x="6524" y="1023"/>
                    </a:lnTo>
                    <a:lnTo>
                      <a:pt x="7178" y="1784"/>
                    </a:lnTo>
                    <a:lnTo>
                      <a:pt x="7195" y="2296"/>
                    </a:lnTo>
                    <a:lnTo>
                      <a:pt x="6614" y="3126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8" name="ee4p_AT_1_15912">
                <a:extLst>
                  <a:ext uri="{FF2B5EF4-FFF2-40B4-BE49-F238E27FC236}">
                    <a16:creationId xmlns:a16="http://schemas.microsoft.com/office/drawing/2014/main" id="{B8F75728-E1B2-731D-31CC-060C97D2B8F5}"/>
                  </a:ext>
                </a:extLst>
              </p:cNvPr>
              <p:cNvSpPr>
                <a:spLocks noChangeAspect="1"/>
              </p:cNvSpPr>
              <p:nvPr>
                <p:custDataLst>
                  <p:tags r:id="rId239"/>
                </p:custDataLst>
              </p:nvPr>
            </p:nvSpPr>
            <p:spPr>
              <a:xfrm>
                <a:off x="4606562" y="4645247"/>
                <a:ext cx="668246" cy="290051"/>
              </a:xfrm>
              <a:custGeom>
                <a:avLst/>
                <a:gdLst/>
                <a:ahLst/>
                <a:cxnLst/>
                <a:rect l="0" t="0" r="0" b="0"/>
                <a:pathLst>
                  <a:path w="168569" h="73167">
                    <a:moveTo>
                      <a:pt x="164274" y="11453"/>
                    </a:moveTo>
                    <a:lnTo>
                      <a:pt x="164178" y="11744"/>
                    </a:lnTo>
                    <a:lnTo>
                      <a:pt x="164057" y="12813"/>
                    </a:lnTo>
                    <a:lnTo>
                      <a:pt x="163198" y="14159"/>
                    </a:lnTo>
                    <a:lnTo>
                      <a:pt x="162274" y="15920"/>
                    </a:lnTo>
                    <a:lnTo>
                      <a:pt x="162334" y="17465"/>
                    </a:lnTo>
                    <a:lnTo>
                      <a:pt x="164705" y="22810"/>
                    </a:lnTo>
                    <a:lnTo>
                      <a:pt x="166811" y="26055"/>
                    </a:lnTo>
                    <a:lnTo>
                      <a:pt x="167210" y="27289"/>
                    </a:lnTo>
                    <a:lnTo>
                      <a:pt x="168568" y="28237"/>
                    </a:lnTo>
                    <a:lnTo>
                      <a:pt x="167279" y="29431"/>
                    </a:lnTo>
                    <a:lnTo>
                      <a:pt x="167029" y="31200"/>
                    </a:lnTo>
                    <a:lnTo>
                      <a:pt x="166193" y="31987"/>
                    </a:lnTo>
                    <a:lnTo>
                      <a:pt x="165975" y="32997"/>
                    </a:lnTo>
                    <a:lnTo>
                      <a:pt x="166325" y="33914"/>
                    </a:lnTo>
                    <a:lnTo>
                      <a:pt x="166318" y="35062"/>
                    </a:lnTo>
                    <a:lnTo>
                      <a:pt x="166783" y="36643"/>
                    </a:lnTo>
                    <a:lnTo>
                      <a:pt x="164722" y="36987"/>
                    </a:lnTo>
                    <a:lnTo>
                      <a:pt x="162274" y="36933"/>
                    </a:lnTo>
                    <a:lnTo>
                      <a:pt x="161397" y="37025"/>
                    </a:lnTo>
                    <a:lnTo>
                      <a:pt x="160576" y="37456"/>
                    </a:lnTo>
                    <a:lnTo>
                      <a:pt x="159728" y="37242"/>
                    </a:lnTo>
                    <a:lnTo>
                      <a:pt x="157515" y="35758"/>
                    </a:lnTo>
                    <a:lnTo>
                      <a:pt x="156264" y="35434"/>
                    </a:lnTo>
                    <a:lnTo>
                      <a:pt x="155381" y="35524"/>
                    </a:lnTo>
                    <a:lnTo>
                      <a:pt x="154720" y="36168"/>
                    </a:lnTo>
                    <a:lnTo>
                      <a:pt x="153582" y="36994"/>
                    </a:lnTo>
                    <a:lnTo>
                      <a:pt x="152513" y="37574"/>
                    </a:lnTo>
                    <a:lnTo>
                      <a:pt x="152753" y="38084"/>
                    </a:lnTo>
                    <a:lnTo>
                      <a:pt x="157344" y="39417"/>
                    </a:lnTo>
                    <a:lnTo>
                      <a:pt x="158158" y="41463"/>
                    </a:lnTo>
                    <a:lnTo>
                      <a:pt x="157275" y="43130"/>
                    </a:lnTo>
                    <a:lnTo>
                      <a:pt x="156975" y="43945"/>
                    </a:lnTo>
                    <a:lnTo>
                      <a:pt x="155899" y="44587"/>
                    </a:lnTo>
                    <a:lnTo>
                      <a:pt x="154580" y="45151"/>
                    </a:lnTo>
                    <a:lnTo>
                      <a:pt x="152991" y="45292"/>
                    </a:lnTo>
                    <a:lnTo>
                      <a:pt x="152803" y="46191"/>
                    </a:lnTo>
                    <a:lnTo>
                      <a:pt x="153427" y="48832"/>
                    </a:lnTo>
                    <a:lnTo>
                      <a:pt x="152922" y="49403"/>
                    </a:lnTo>
                    <a:lnTo>
                      <a:pt x="152416" y="50223"/>
                    </a:lnTo>
                    <a:lnTo>
                      <a:pt x="152891" y="52391"/>
                    </a:lnTo>
                    <a:lnTo>
                      <a:pt x="153874" y="52545"/>
                    </a:lnTo>
                    <a:lnTo>
                      <a:pt x="154092" y="53041"/>
                    </a:lnTo>
                    <a:lnTo>
                      <a:pt x="153917" y="53918"/>
                    </a:lnTo>
                    <a:lnTo>
                      <a:pt x="153744" y="54851"/>
                    </a:lnTo>
                    <a:lnTo>
                      <a:pt x="153397" y="55839"/>
                    </a:lnTo>
                    <a:lnTo>
                      <a:pt x="153224" y="56277"/>
                    </a:lnTo>
                    <a:lnTo>
                      <a:pt x="152572" y="56551"/>
                    </a:lnTo>
                    <a:lnTo>
                      <a:pt x="150535" y="56405"/>
                    </a:lnTo>
                    <a:lnTo>
                      <a:pt x="148782" y="57250"/>
                    </a:lnTo>
                    <a:lnTo>
                      <a:pt x="145256" y="60279"/>
                    </a:lnTo>
                    <a:lnTo>
                      <a:pt x="144021" y="60793"/>
                    </a:lnTo>
                    <a:lnTo>
                      <a:pt x="142686" y="62004"/>
                    </a:lnTo>
                    <a:lnTo>
                      <a:pt x="142766" y="64663"/>
                    </a:lnTo>
                    <a:lnTo>
                      <a:pt x="142585" y="64903"/>
                    </a:lnTo>
                    <a:lnTo>
                      <a:pt x="142261" y="65448"/>
                    </a:lnTo>
                    <a:lnTo>
                      <a:pt x="138043" y="64512"/>
                    </a:lnTo>
                    <a:lnTo>
                      <a:pt x="137896" y="64527"/>
                    </a:lnTo>
                    <a:lnTo>
                      <a:pt x="135074" y="64869"/>
                    </a:lnTo>
                    <a:lnTo>
                      <a:pt x="133144" y="66087"/>
                    </a:lnTo>
                    <a:lnTo>
                      <a:pt x="130798" y="66782"/>
                    </a:lnTo>
                    <a:lnTo>
                      <a:pt x="125884" y="66412"/>
                    </a:lnTo>
                    <a:lnTo>
                      <a:pt x="121101" y="66884"/>
                    </a:lnTo>
                    <a:lnTo>
                      <a:pt x="119967" y="67238"/>
                    </a:lnTo>
                    <a:lnTo>
                      <a:pt x="118726" y="67442"/>
                    </a:lnTo>
                    <a:lnTo>
                      <a:pt x="117562" y="68149"/>
                    </a:lnTo>
                    <a:lnTo>
                      <a:pt x="116897" y="69146"/>
                    </a:lnTo>
                    <a:lnTo>
                      <a:pt x="115707" y="70408"/>
                    </a:lnTo>
                    <a:lnTo>
                      <a:pt x="114014" y="71399"/>
                    </a:lnTo>
                    <a:lnTo>
                      <a:pt x="112174" y="72157"/>
                    </a:lnTo>
                    <a:lnTo>
                      <a:pt x="111736" y="72799"/>
                    </a:lnTo>
                    <a:lnTo>
                      <a:pt x="111131" y="73166"/>
                    </a:lnTo>
                    <a:lnTo>
                      <a:pt x="110107" y="72686"/>
                    </a:lnTo>
                    <a:lnTo>
                      <a:pt x="109276" y="72711"/>
                    </a:lnTo>
                    <a:lnTo>
                      <a:pt x="108259" y="72384"/>
                    </a:lnTo>
                    <a:lnTo>
                      <a:pt x="104884" y="72029"/>
                    </a:lnTo>
                    <a:lnTo>
                      <a:pt x="101174" y="71441"/>
                    </a:lnTo>
                    <a:lnTo>
                      <a:pt x="99408" y="70878"/>
                    </a:lnTo>
                    <a:lnTo>
                      <a:pt x="97399" y="70434"/>
                    </a:lnTo>
                    <a:lnTo>
                      <a:pt x="95244" y="70072"/>
                    </a:lnTo>
                    <a:lnTo>
                      <a:pt x="93312" y="69987"/>
                    </a:lnTo>
                    <a:lnTo>
                      <a:pt x="92340" y="69821"/>
                    </a:lnTo>
                    <a:lnTo>
                      <a:pt x="87697" y="68841"/>
                    </a:lnTo>
                    <a:lnTo>
                      <a:pt x="84635" y="68775"/>
                    </a:lnTo>
                    <a:lnTo>
                      <a:pt x="80593" y="68366"/>
                    </a:lnTo>
                    <a:lnTo>
                      <a:pt x="72562" y="66887"/>
                    </a:lnTo>
                    <a:lnTo>
                      <a:pt x="70223" y="66287"/>
                    </a:lnTo>
                    <a:lnTo>
                      <a:pt x="67986" y="66102"/>
                    </a:lnTo>
                    <a:lnTo>
                      <a:pt x="65345" y="65590"/>
                    </a:lnTo>
                    <a:lnTo>
                      <a:pt x="63335" y="64752"/>
                    </a:lnTo>
                    <a:lnTo>
                      <a:pt x="62048" y="63161"/>
                    </a:lnTo>
                    <a:lnTo>
                      <a:pt x="60675" y="61043"/>
                    </a:lnTo>
                    <a:lnTo>
                      <a:pt x="58157" y="58273"/>
                    </a:lnTo>
                    <a:lnTo>
                      <a:pt x="57641" y="56892"/>
                    </a:lnTo>
                    <a:lnTo>
                      <a:pt x="58409" y="55680"/>
                    </a:lnTo>
                    <a:lnTo>
                      <a:pt x="59200" y="54766"/>
                    </a:lnTo>
                    <a:lnTo>
                      <a:pt x="59109" y="54372"/>
                    </a:lnTo>
                    <a:lnTo>
                      <a:pt x="58496" y="54173"/>
                    </a:lnTo>
                    <a:lnTo>
                      <a:pt x="54076" y="55358"/>
                    </a:lnTo>
                    <a:lnTo>
                      <a:pt x="49789" y="56855"/>
                    </a:lnTo>
                    <a:lnTo>
                      <a:pt x="48103" y="56894"/>
                    </a:lnTo>
                    <a:lnTo>
                      <a:pt x="46468" y="56562"/>
                    </a:lnTo>
                    <a:lnTo>
                      <a:pt x="44302" y="56539"/>
                    </a:lnTo>
                    <a:lnTo>
                      <a:pt x="42216" y="56939"/>
                    </a:lnTo>
                    <a:lnTo>
                      <a:pt x="38042" y="57145"/>
                    </a:lnTo>
                    <a:lnTo>
                      <a:pt x="35598" y="58247"/>
                    </a:lnTo>
                    <a:lnTo>
                      <a:pt x="34041" y="60395"/>
                    </a:lnTo>
                    <a:lnTo>
                      <a:pt x="33192" y="62127"/>
                    </a:lnTo>
                    <a:lnTo>
                      <a:pt x="32488" y="62683"/>
                    </a:lnTo>
                    <a:lnTo>
                      <a:pt x="31031" y="62892"/>
                    </a:lnTo>
                    <a:lnTo>
                      <a:pt x="28854" y="62732"/>
                    </a:lnTo>
                    <a:lnTo>
                      <a:pt x="27325" y="62229"/>
                    </a:lnTo>
                    <a:lnTo>
                      <a:pt x="25766" y="60750"/>
                    </a:lnTo>
                    <a:lnTo>
                      <a:pt x="23345" y="60546"/>
                    </a:lnTo>
                    <a:lnTo>
                      <a:pt x="21126" y="60507"/>
                    </a:lnTo>
                    <a:lnTo>
                      <a:pt x="20538" y="60233"/>
                    </a:lnTo>
                    <a:lnTo>
                      <a:pt x="20577" y="59272"/>
                    </a:lnTo>
                    <a:lnTo>
                      <a:pt x="19700" y="57459"/>
                    </a:lnTo>
                    <a:lnTo>
                      <a:pt x="18251" y="56892"/>
                    </a:lnTo>
                    <a:lnTo>
                      <a:pt x="14501" y="60305"/>
                    </a:lnTo>
                    <a:lnTo>
                      <a:pt x="13477" y="60607"/>
                    </a:lnTo>
                    <a:lnTo>
                      <a:pt x="10456" y="59664"/>
                    </a:lnTo>
                    <a:lnTo>
                      <a:pt x="7821" y="58205"/>
                    </a:lnTo>
                    <a:lnTo>
                      <a:pt x="7532" y="57137"/>
                    </a:lnTo>
                    <a:lnTo>
                      <a:pt x="7104" y="56261"/>
                    </a:lnTo>
                    <a:lnTo>
                      <a:pt x="4887" y="55431"/>
                    </a:lnTo>
                    <a:lnTo>
                      <a:pt x="2121" y="54862"/>
                    </a:lnTo>
                    <a:lnTo>
                      <a:pt x="1244" y="54865"/>
                    </a:lnTo>
                    <a:lnTo>
                      <a:pt x="1585" y="54349"/>
                    </a:lnTo>
                    <a:lnTo>
                      <a:pt x="1913" y="53475"/>
                    </a:lnTo>
                    <a:lnTo>
                      <a:pt x="1706" y="52778"/>
                    </a:lnTo>
                    <a:lnTo>
                      <a:pt x="1058" y="52056"/>
                    </a:lnTo>
                    <a:lnTo>
                      <a:pt x="702" y="51284"/>
                    </a:lnTo>
                    <a:lnTo>
                      <a:pt x="598" y="50535"/>
                    </a:lnTo>
                    <a:lnTo>
                      <a:pt x="402" y="49924"/>
                    </a:lnTo>
                    <a:lnTo>
                      <a:pt x="283" y="49350"/>
                    </a:lnTo>
                    <a:lnTo>
                      <a:pt x="78" y="48899"/>
                    </a:lnTo>
                    <a:lnTo>
                      <a:pt x="1881" y="45509"/>
                    </a:lnTo>
                    <a:lnTo>
                      <a:pt x="2252" y="43399"/>
                    </a:lnTo>
                    <a:lnTo>
                      <a:pt x="672" y="42162"/>
                    </a:lnTo>
                    <a:lnTo>
                      <a:pt x="0" y="41794"/>
                    </a:lnTo>
                    <a:lnTo>
                      <a:pt x="551" y="41519"/>
                    </a:lnTo>
                    <a:lnTo>
                      <a:pt x="2799" y="41748"/>
                    </a:lnTo>
                    <a:lnTo>
                      <a:pt x="4226" y="41048"/>
                    </a:lnTo>
                    <a:lnTo>
                      <a:pt x="4973" y="40354"/>
                    </a:lnTo>
                    <a:lnTo>
                      <a:pt x="6968" y="41006"/>
                    </a:lnTo>
                    <a:lnTo>
                      <a:pt x="9897" y="42325"/>
                    </a:lnTo>
                    <a:lnTo>
                      <a:pt x="11279" y="43215"/>
                    </a:lnTo>
                    <a:lnTo>
                      <a:pt x="11849" y="43903"/>
                    </a:lnTo>
                    <a:lnTo>
                      <a:pt x="12166" y="44479"/>
                    </a:lnTo>
                    <a:lnTo>
                      <a:pt x="11991" y="45465"/>
                    </a:lnTo>
                    <a:lnTo>
                      <a:pt x="12658" y="45851"/>
                    </a:lnTo>
                    <a:lnTo>
                      <a:pt x="14036" y="46000"/>
                    </a:lnTo>
                    <a:lnTo>
                      <a:pt x="14954" y="46304"/>
                    </a:lnTo>
                    <a:lnTo>
                      <a:pt x="14632" y="47599"/>
                    </a:lnTo>
                    <a:lnTo>
                      <a:pt x="14572" y="48673"/>
                    </a:lnTo>
                    <a:lnTo>
                      <a:pt x="15846" y="48524"/>
                    </a:lnTo>
                    <a:lnTo>
                      <a:pt x="17441" y="47704"/>
                    </a:lnTo>
                    <a:lnTo>
                      <a:pt x="18687" y="46230"/>
                    </a:lnTo>
                    <a:lnTo>
                      <a:pt x="19456" y="44802"/>
                    </a:lnTo>
                    <a:lnTo>
                      <a:pt x="20042" y="41321"/>
                    </a:lnTo>
                    <a:lnTo>
                      <a:pt x="20242" y="41027"/>
                    </a:lnTo>
                    <a:lnTo>
                      <a:pt x="21201" y="41301"/>
                    </a:lnTo>
                    <a:lnTo>
                      <a:pt x="25090" y="41149"/>
                    </a:lnTo>
                    <a:lnTo>
                      <a:pt x="26923" y="41797"/>
                    </a:lnTo>
                    <a:lnTo>
                      <a:pt x="29830" y="41907"/>
                    </a:lnTo>
                    <a:lnTo>
                      <a:pt x="29776" y="42452"/>
                    </a:lnTo>
                    <a:lnTo>
                      <a:pt x="30292" y="43303"/>
                    </a:lnTo>
                    <a:lnTo>
                      <a:pt x="31579" y="44530"/>
                    </a:lnTo>
                    <a:lnTo>
                      <a:pt x="32214" y="45331"/>
                    </a:lnTo>
                    <a:lnTo>
                      <a:pt x="33566" y="45471"/>
                    </a:lnTo>
                    <a:lnTo>
                      <a:pt x="35645" y="45030"/>
                    </a:lnTo>
                    <a:lnTo>
                      <a:pt x="36865" y="44572"/>
                    </a:lnTo>
                    <a:lnTo>
                      <a:pt x="37323" y="44897"/>
                    </a:lnTo>
                    <a:lnTo>
                      <a:pt x="39225" y="44580"/>
                    </a:lnTo>
                    <a:lnTo>
                      <a:pt x="40910" y="43589"/>
                    </a:lnTo>
                    <a:lnTo>
                      <a:pt x="41326" y="42834"/>
                    </a:lnTo>
                    <a:lnTo>
                      <a:pt x="43028" y="42303"/>
                    </a:lnTo>
                    <a:lnTo>
                      <a:pt x="45328" y="41078"/>
                    </a:lnTo>
                    <a:lnTo>
                      <a:pt x="48487" y="40130"/>
                    </a:lnTo>
                    <a:lnTo>
                      <a:pt x="58854" y="39118"/>
                    </a:lnTo>
                    <a:lnTo>
                      <a:pt x="59256" y="38353"/>
                    </a:lnTo>
                    <a:lnTo>
                      <a:pt x="59102" y="36600"/>
                    </a:lnTo>
                    <a:lnTo>
                      <a:pt x="59377" y="36342"/>
                    </a:lnTo>
                    <a:lnTo>
                      <a:pt x="60683" y="36779"/>
                    </a:lnTo>
                    <a:lnTo>
                      <a:pt x="62780" y="37188"/>
                    </a:lnTo>
                    <a:lnTo>
                      <a:pt x="64385" y="37808"/>
                    </a:lnTo>
                    <a:lnTo>
                      <a:pt x="65428" y="38618"/>
                    </a:lnTo>
                    <a:lnTo>
                      <a:pt x="66393" y="38651"/>
                    </a:lnTo>
                    <a:lnTo>
                      <a:pt x="67889" y="38084"/>
                    </a:lnTo>
                    <a:lnTo>
                      <a:pt x="69915" y="37718"/>
                    </a:lnTo>
                    <a:lnTo>
                      <a:pt x="71806" y="38559"/>
                    </a:lnTo>
                    <a:lnTo>
                      <a:pt x="72355" y="39469"/>
                    </a:lnTo>
                    <a:lnTo>
                      <a:pt x="72022" y="39935"/>
                    </a:lnTo>
                    <a:lnTo>
                      <a:pt x="72059" y="40673"/>
                    </a:lnTo>
                    <a:lnTo>
                      <a:pt x="72646" y="41290"/>
                    </a:lnTo>
                    <a:lnTo>
                      <a:pt x="74184" y="42293"/>
                    </a:lnTo>
                    <a:lnTo>
                      <a:pt x="76155" y="43156"/>
                    </a:lnTo>
                    <a:lnTo>
                      <a:pt x="77179" y="43089"/>
                    </a:lnTo>
                    <a:lnTo>
                      <a:pt x="77559" y="42249"/>
                    </a:lnTo>
                    <a:lnTo>
                      <a:pt x="77922" y="40252"/>
                    </a:lnTo>
                    <a:lnTo>
                      <a:pt x="78058" y="38117"/>
                    </a:lnTo>
                    <a:lnTo>
                      <a:pt x="77604" y="36891"/>
                    </a:lnTo>
                    <a:lnTo>
                      <a:pt x="76542" y="36591"/>
                    </a:lnTo>
                    <a:lnTo>
                      <a:pt x="75272" y="36494"/>
                    </a:lnTo>
                    <a:lnTo>
                      <a:pt x="74598" y="36241"/>
                    </a:lnTo>
                    <a:lnTo>
                      <a:pt x="74834" y="35567"/>
                    </a:lnTo>
                    <a:lnTo>
                      <a:pt x="75849" y="33823"/>
                    </a:lnTo>
                    <a:lnTo>
                      <a:pt x="75834" y="31489"/>
                    </a:lnTo>
                    <a:lnTo>
                      <a:pt x="73542" y="28834"/>
                    </a:lnTo>
                    <a:lnTo>
                      <a:pt x="71556" y="26261"/>
                    </a:lnTo>
                    <a:lnTo>
                      <a:pt x="71562" y="25385"/>
                    </a:lnTo>
                    <a:lnTo>
                      <a:pt x="72754" y="23863"/>
                    </a:lnTo>
                    <a:lnTo>
                      <a:pt x="74594" y="22651"/>
                    </a:lnTo>
                    <a:lnTo>
                      <a:pt x="78678" y="20632"/>
                    </a:lnTo>
                    <a:lnTo>
                      <a:pt x="79967" y="20211"/>
                    </a:lnTo>
                    <a:lnTo>
                      <a:pt x="81621" y="19873"/>
                    </a:lnTo>
                    <a:lnTo>
                      <a:pt x="84000" y="19042"/>
                    </a:lnTo>
                    <a:lnTo>
                      <a:pt x="85145" y="18188"/>
                    </a:lnTo>
                    <a:lnTo>
                      <a:pt x="85914" y="17260"/>
                    </a:lnTo>
                    <a:lnTo>
                      <a:pt x="87030" y="12426"/>
                    </a:lnTo>
                    <a:lnTo>
                      <a:pt x="87291" y="12220"/>
                    </a:lnTo>
                    <a:lnTo>
                      <a:pt x="87622" y="11935"/>
                    </a:lnTo>
                    <a:lnTo>
                      <a:pt x="91792" y="13604"/>
                    </a:lnTo>
                    <a:lnTo>
                      <a:pt x="92167" y="13328"/>
                    </a:lnTo>
                    <a:lnTo>
                      <a:pt x="92869" y="13056"/>
                    </a:lnTo>
                    <a:lnTo>
                      <a:pt x="94227" y="11776"/>
                    </a:lnTo>
                    <a:lnTo>
                      <a:pt x="94525" y="10803"/>
                    </a:lnTo>
                    <a:lnTo>
                      <a:pt x="94495" y="8963"/>
                    </a:lnTo>
                    <a:lnTo>
                      <a:pt x="94616" y="7226"/>
                    </a:lnTo>
                    <a:lnTo>
                      <a:pt x="94877" y="6673"/>
                    </a:lnTo>
                    <a:lnTo>
                      <a:pt x="95506" y="6874"/>
                    </a:lnTo>
                    <a:lnTo>
                      <a:pt x="97300" y="7780"/>
                    </a:lnTo>
                    <a:lnTo>
                      <a:pt x="98725" y="8792"/>
                    </a:lnTo>
                    <a:lnTo>
                      <a:pt x="100060" y="11349"/>
                    </a:lnTo>
                    <a:lnTo>
                      <a:pt x="103171" y="12028"/>
                    </a:lnTo>
                    <a:lnTo>
                      <a:pt x="107101" y="12095"/>
                    </a:lnTo>
                    <a:lnTo>
                      <a:pt x="108505" y="10957"/>
                    </a:lnTo>
                    <a:lnTo>
                      <a:pt x="109779" y="10694"/>
                    </a:lnTo>
                    <a:lnTo>
                      <a:pt x="111222" y="11041"/>
                    </a:lnTo>
                    <a:lnTo>
                      <a:pt x="114260" y="11441"/>
                    </a:lnTo>
                    <a:lnTo>
                      <a:pt x="114599" y="9376"/>
                    </a:lnTo>
                    <a:lnTo>
                      <a:pt x="116352" y="7230"/>
                    </a:lnTo>
                    <a:lnTo>
                      <a:pt x="117147" y="6472"/>
                    </a:lnTo>
                    <a:lnTo>
                      <a:pt x="119373" y="6546"/>
                    </a:lnTo>
                    <a:lnTo>
                      <a:pt x="119922" y="4942"/>
                    </a:lnTo>
                    <a:lnTo>
                      <a:pt x="120470" y="490"/>
                    </a:lnTo>
                    <a:lnTo>
                      <a:pt x="120941" y="0"/>
                    </a:lnTo>
                    <a:lnTo>
                      <a:pt x="122563" y="93"/>
                    </a:lnTo>
                    <a:lnTo>
                      <a:pt x="124176" y="906"/>
                    </a:lnTo>
                    <a:lnTo>
                      <a:pt x="124662" y="1564"/>
                    </a:lnTo>
                    <a:lnTo>
                      <a:pt x="125500" y="1511"/>
                    </a:lnTo>
                    <a:lnTo>
                      <a:pt x="126674" y="1063"/>
                    </a:lnTo>
                    <a:lnTo>
                      <a:pt x="127961" y="773"/>
                    </a:lnTo>
                    <a:lnTo>
                      <a:pt x="129995" y="1248"/>
                    </a:lnTo>
                    <a:lnTo>
                      <a:pt x="134340" y="3272"/>
                    </a:lnTo>
                    <a:lnTo>
                      <a:pt x="136581" y="4010"/>
                    </a:lnTo>
                    <a:lnTo>
                      <a:pt x="138002" y="3869"/>
                    </a:lnTo>
                    <a:lnTo>
                      <a:pt x="139332" y="3896"/>
                    </a:lnTo>
                    <a:lnTo>
                      <a:pt x="144463" y="7019"/>
                    </a:lnTo>
                    <a:lnTo>
                      <a:pt x="148048" y="7456"/>
                    </a:lnTo>
                    <a:lnTo>
                      <a:pt x="151319" y="7469"/>
                    </a:lnTo>
                    <a:lnTo>
                      <a:pt x="152371" y="6527"/>
                    </a:lnTo>
                    <a:lnTo>
                      <a:pt x="153766" y="5729"/>
                    </a:lnTo>
                    <a:lnTo>
                      <a:pt x="155217" y="5839"/>
                    </a:lnTo>
                    <a:lnTo>
                      <a:pt x="156486" y="6248"/>
                    </a:lnTo>
                    <a:lnTo>
                      <a:pt x="158957" y="7604"/>
                    </a:lnTo>
                    <a:lnTo>
                      <a:pt x="160101" y="7951"/>
                    </a:lnTo>
                    <a:lnTo>
                      <a:pt x="161622" y="8170"/>
                    </a:lnTo>
                    <a:lnTo>
                      <a:pt x="162738" y="8472"/>
                    </a:lnTo>
                    <a:lnTo>
                      <a:pt x="163725" y="10826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9" name="ee4p_BE_1_15912">
                <a:extLst>
                  <a:ext uri="{FF2B5EF4-FFF2-40B4-BE49-F238E27FC236}">
                    <a16:creationId xmlns:a16="http://schemas.microsoft.com/office/drawing/2014/main" id="{85505100-D197-AD99-23A8-465F00314529}"/>
                  </a:ext>
                </a:extLst>
              </p:cNvPr>
              <p:cNvSpPr>
                <a:spLocks noChangeAspect="1"/>
              </p:cNvSpPr>
              <p:nvPr>
                <p:custDataLst>
                  <p:tags r:id="rId240"/>
                </p:custDataLst>
              </p:nvPr>
            </p:nvSpPr>
            <p:spPr>
              <a:xfrm>
                <a:off x="3993038" y="4359458"/>
                <a:ext cx="336571" cy="227963"/>
              </a:xfrm>
              <a:custGeom>
                <a:avLst/>
                <a:gdLst/>
                <a:ahLst/>
                <a:cxnLst/>
                <a:rect l="0" t="0" r="0" b="0"/>
                <a:pathLst>
                  <a:path w="84902" h="57505">
                    <a:moveTo>
                      <a:pt x="50661" y="1713"/>
                    </a:moveTo>
                    <a:lnTo>
                      <a:pt x="50765" y="2322"/>
                    </a:lnTo>
                    <a:lnTo>
                      <a:pt x="51370" y="2580"/>
                    </a:lnTo>
                    <a:lnTo>
                      <a:pt x="53490" y="2448"/>
                    </a:lnTo>
                    <a:lnTo>
                      <a:pt x="54566" y="1344"/>
                    </a:lnTo>
                    <a:lnTo>
                      <a:pt x="55414" y="647"/>
                    </a:lnTo>
                    <a:lnTo>
                      <a:pt x="56045" y="1116"/>
                    </a:lnTo>
                    <a:lnTo>
                      <a:pt x="56353" y="2475"/>
                    </a:lnTo>
                    <a:lnTo>
                      <a:pt x="56939" y="4246"/>
                    </a:lnTo>
                    <a:lnTo>
                      <a:pt x="59465" y="6226"/>
                    </a:lnTo>
                    <a:lnTo>
                      <a:pt x="61603" y="6790"/>
                    </a:lnTo>
                    <a:lnTo>
                      <a:pt x="64233" y="6401"/>
                    </a:lnTo>
                    <a:lnTo>
                      <a:pt x="65274" y="6048"/>
                    </a:lnTo>
                    <a:lnTo>
                      <a:pt x="65980" y="6342"/>
                    </a:lnTo>
                    <a:lnTo>
                      <a:pt x="66680" y="7388"/>
                    </a:lnTo>
                    <a:lnTo>
                      <a:pt x="68191" y="8585"/>
                    </a:lnTo>
                    <a:lnTo>
                      <a:pt x="71365" y="9433"/>
                    </a:lnTo>
                    <a:lnTo>
                      <a:pt x="72342" y="9913"/>
                    </a:lnTo>
                    <a:lnTo>
                      <a:pt x="73019" y="10716"/>
                    </a:lnTo>
                    <a:lnTo>
                      <a:pt x="72823" y="11863"/>
                    </a:lnTo>
                    <a:lnTo>
                      <a:pt x="71309" y="14717"/>
                    </a:lnTo>
                    <a:lnTo>
                      <a:pt x="71111" y="15559"/>
                    </a:lnTo>
                    <a:lnTo>
                      <a:pt x="71314" y="15842"/>
                    </a:lnTo>
                    <a:lnTo>
                      <a:pt x="71018" y="16370"/>
                    </a:lnTo>
                    <a:lnTo>
                      <a:pt x="69048" y="18281"/>
                    </a:lnTo>
                    <a:lnTo>
                      <a:pt x="68869" y="18953"/>
                    </a:lnTo>
                    <a:lnTo>
                      <a:pt x="69525" y="20050"/>
                    </a:lnTo>
                    <a:lnTo>
                      <a:pt x="70065" y="20959"/>
                    </a:lnTo>
                    <a:lnTo>
                      <a:pt x="70087" y="20776"/>
                    </a:lnTo>
                    <a:lnTo>
                      <a:pt x="73104" y="19957"/>
                    </a:lnTo>
                    <a:lnTo>
                      <a:pt x="74464" y="21606"/>
                    </a:lnTo>
                    <a:lnTo>
                      <a:pt x="76708" y="21667"/>
                    </a:lnTo>
                    <a:lnTo>
                      <a:pt x="76973" y="22198"/>
                    </a:lnTo>
                    <a:lnTo>
                      <a:pt x="79483" y="23740"/>
                    </a:lnTo>
                    <a:lnTo>
                      <a:pt x="80258" y="24961"/>
                    </a:lnTo>
                    <a:lnTo>
                      <a:pt x="82059" y="26141"/>
                    </a:lnTo>
                    <a:lnTo>
                      <a:pt x="80567" y="27633"/>
                    </a:lnTo>
                    <a:lnTo>
                      <a:pt x="80793" y="28296"/>
                    </a:lnTo>
                    <a:lnTo>
                      <a:pt x="81331" y="28975"/>
                    </a:lnTo>
                    <a:lnTo>
                      <a:pt x="83363" y="29371"/>
                    </a:lnTo>
                    <a:lnTo>
                      <a:pt x="84380" y="30350"/>
                    </a:lnTo>
                    <a:lnTo>
                      <a:pt x="84440" y="31845"/>
                    </a:lnTo>
                    <a:lnTo>
                      <a:pt x="84901" y="34282"/>
                    </a:lnTo>
                    <a:lnTo>
                      <a:pt x="80714" y="36700"/>
                    </a:lnTo>
                    <a:lnTo>
                      <a:pt x="79524" y="39399"/>
                    </a:lnTo>
                    <a:lnTo>
                      <a:pt x="79418" y="39930"/>
                    </a:lnTo>
                    <a:lnTo>
                      <a:pt x="79275" y="39850"/>
                    </a:lnTo>
                    <a:lnTo>
                      <a:pt x="78811" y="38959"/>
                    </a:lnTo>
                    <a:lnTo>
                      <a:pt x="78053" y="38967"/>
                    </a:lnTo>
                    <a:lnTo>
                      <a:pt x="76317" y="38595"/>
                    </a:lnTo>
                    <a:lnTo>
                      <a:pt x="73898" y="41034"/>
                    </a:lnTo>
                    <a:lnTo>
                      <a:pt x="72804" y="43059"/>
                    </a:lnTo>
                    <a:lnTo>
                      <a:pt x="72156" y="44544"/>
                    </a:lnTo>
                    <a:lnTo>
                      <a:pt x="71182" y="45744"/>
                    </a:lnTo>
                    <a:lnTo>
                      <a:pt x="70987" y="47012"/>
                    </a:lnTo>
                    <a:lnTo>
                      <a:pt x="71111" y="47544"/>
                    </a:lnTo>
                    <a:lnTo>
                      <a:pt x="70778" y="48231"/>
                    </a:lnTo>
                    <a:lnTo>
                      <a:pt x="70761" y="48953"/>
                    </a:lnTo>
                    <a:lnTo>
                      <a:pt x="72154" y="50375"/>
                    </a:lnTo>
                    <a:lnTo>
                      <a:pt x="72501" y="51144"/>
                    </a:lnTo>
                    <a:lnTo>
                      <a:pt x="74197" y="53658"/>
                    </a:lnTo>
                    <a:lnTo>
                      <a:pt x="73669" y="54575"/>
                    </a:lnTo>
                    <a:lnTo>
                      <a:pt x="73250" y="55567"/>
                    </a:lnTo>
                    <a:lnTo>
                      <a:pt x="72761" y="56271"/>
                    </a:lnTo>
                    <a:lnTo>
                      <a:pt x="72192" y="56717"/>
                    </a:lnTo>
                    <a:lnTo>
                      <a:pt x="70439" y="56690"/>
                    </a:lnTo>
                    <a:lnTo>
                      <a:pt x="68219" y="57006"/>
                    </a:lnTo>
                    <a:lnTo>
                      <a:pt x="66723" y="57499"/>
                    </a:lnTo>
                    <a:lnTo>
                      <a:pt x="65947" y="57504"/>
                    </a:lnTo>
                    <a:lnTo>
                      <a:pt x="64341" y="56252"/>
                    </a:lnTo>
                    <a:lnTo>
                      <a:pt x="62546" y="54375"/>
                    </a:lnTo>
                    <a:lnTo>
                      <a:pt x="61406" y="53479"/>
                    </a:lnTo>
                    <a:lnTo>
                      <a:pt x="60895" y="52705"/>
                    </a:lnTo>
                    <a:lnTo>
                      <a:pt x="59485" y="52379"/>
                    </a:lnTo>
                    <a:lnTo>
                      <a:pt x="57474" y="51452"/>
                    </a:lnTo>
                    <a:lnTo>
                      <a:pt x="56079" y="50443"/>
                    </a:lnTo>
                    <a:lnTo>
                      <a:pt x="54883" y="49815"/>
                    </a:lnTo>
                    <a:lnTo>
                      <a:pt x="53194" y="49501"/>
                    </a:lnTo>
                    <a:lnTo>
                      <a:pt x="51801" y="49533"/>
                    </a:lnTo>
                    <a:lnTo>
                      <a:pt x="51393" y="47834"/>
                    </a:lnTo>
                    <a:lnTo>
                      <a:pt x="51225" y="45892"/>
                    </a:lnTo>
                    <a:lnTo>
                      <a:pt x="50087" y="44592"/>
                    </a:lnTo>
                    <a:lnTo>
                      <a:pt x="51646" y="39500"/>
                    </a:lnTo>
                    <a:lnTo>
                      <a:pt x="50720" y="39000"/>
                    </a:lnTo>
                    <a:lnTo>
                      <a:pt x="49707" y="39408"/>
                    </a:lnTo>
                    <a:lnTo>
                      <a:pt x="48243" y="40622"/>
                    </a:lnTo>
                    <a:lnTo>
                      <a:pt x="47545" y="42072"/>
                    </a:lnTo>
                    <a:lnTo>
                      <a:pt x="47126" y="43355"/>
                    </a:lnTo>
                    <a:lnTo>
                      <a:pt x="44669" y="44572"/>
                    </a:lnTo>
                    <a:lnTo>
                      <a:pt x="40771" y="45013"/>
                    </a:lnTo>
                    <a:lnTo>
                      <a:pt x="36511" y="44572"/>
                    </a:lnTo>
                    <a:lnTo>
                      <a:pt x="35919" y="44245"/>
                    </a:lnTo>
                    <a:lnTo>
                      <a:pt x="35647" y="43873"/>
                    </a:lnTo>
                    <a:lnTo>
                      <a:pt x="35643" y="43425"/>
                    </a:lnTo>
                    <a:lnTo>
                      <a:pt x="35941" y="42736"/>
                    </a:lnTo>
                    <a:lnTo>
                      <a:pt x="36684" y="41900"/>
                    </a:lnTo>
                    <a:lnTo>
                      <a:pt x="36867" y="40706"/>
                    </a:lnTo>
                    <a:lnTo>
                      <a:pt x="36105" y="39673"/>
                    </a:lnTo>
                    <a:lnTo>
                      <a:pt x="35608" y="39271"/>
                    </a:lnTo>
                    <a:lnTo>
                      <a:pt x="35805" y="38270"/>
                    </a:lnTo>
                    <a:lnTo>
                      <a:pt x="36368" y="37015"/>
                    </a:lnTo>
                    <a:lnTo>
                      <a:pt x="36478" y="36300"/>
                    </a:lnTo>
                    <a:lnTo>
                      <a:pt x="33594" y="34132"/>
                    </a:lnTo>
                    <a:lnTo>
                      <a:pt x="31505" y="33709"/>
                    </a:lnTo>
                    <a:lnTo>
                      <a:pt x="29480" y="33633"/>
                    </a:lnTo>
                    <a:lnTo>
                      <a:pt x="27942" y="33389"/>
                    </a:lnTo>
                    <a:lnTo>
                      <a:pt x="27046" y="33490"/>
                    </a:lnTo>
                    <a:lnTo>
                      <a:pt x="26401" y="34122"/>
                    </a:lnTo>
                    <a:lnTo>
                      <a:pt x="25748" y="34575"/>
                    </a:lnTo>
                    <a:lnTo>
                      <a:pt x="25260" y="34032"/>
                    </a:lnTo>
                    <a:lnTo>
                      <a:pt x="24364" y="30189"/>
                    </a:lnTo>
                    <a:lnTo>
                      <a:pt x="23671" y="29608"/>
                    </a:lnTo>
                    <a:lnTo>
                      <a:pt x="21052" y="28966"/>
                    </a:lnTo>
                    <a:lnTo>
                      <a:pt x="17497" y="28736"/>
                    </a:lnTo>
                    <a:lnTo>
                      <a:pt x="16549" y="28034"/>
                    </a:lnTo>
                    <a:lnTo>
                      <a:pt x="16029" y="26302"/>
                    </a:lnTo>
                    <a:lnTo>
                      <a:pt x="15701" y="24214"/>
                    </a:lnTo>
                    <a:lnTo>
                      <a:pt x="14530" y="22213"/>
                    </a:lnTo>
                    <a:lnTo>
                      <a:pt x="13930" y="21712"/>
                    </a:lnTo>
                    <a:lnTo>
                      <a:pt x="12868" y="20823"/>
                    </a:lnTo>
                    <a:lnTo>
                      <a:pt x="11010" y="21188"/>
                    </a:lnTo>
                    <a:lnTo>
                      <a:pt x="8780" y="22348"/>
                    </a:lnTo>
                    <a:lnTo>
                      <a:pt x="7463" y="22670"/>
                    </a:lnTo>
                    <a:lnTo>
                      <a:pt x="6962" y="22793"/>
                    </a:lnTo>
                    <a:lnTo>
                      <a:pt x="5184" y="21662"/>
                    </a:lnTo>
                    <a:lnTo>
                      <a:pt x="3189" y="19891"/>
                    </a:lnTo>
                    <a:lnTo>
                      <a:pt x="1589" y="18010"/>
                    </a:lnTo>
                    <a:lnTo>
                      <a:pt x="1203" y="16965"/>
                    </a:lnTo>
                    <a:lnTo>
                      <a:pt x="1693" y="15695"/>
                    </a:lnTo>
                    <a:lnTo>
                      <a:pt x="1103" y="14722"/>
                    </a:lnTo>
                    <a:lnTo>
                      <a:pt x="246" y="12942"/>
                    </a:lnTo>
                    <a:lnTo>
                      <a:pt x="0" y="11550"/>
                    </a:lnTo>
                    <a:lnTo>
                      <a:pt x="9624" y="6623"/>
                    </a:lnTo>
                    <a:lnTo>
                      <a:pt x="15485" y="4096"/>
                    </a:lnTo>
                    <a:lnTo>
                      <a:pt x="18247" y="3331"/>
                    </a:lnTo>
                    <a:lnTo>
                      <a:pt x="18910" y="5870"/>
                    </a:lnTo>
                    <a:lnTo>
                      <a:pt x="19413" y="6676"/>
                    </a:lnTo>
                    <a:lnTo>
                      <a:pt x="20069" y="7199"/>
                    </a:lnTo>
                    <a:lnTo>
                      <a:pt x="20942" y="7302"/>
                    </a:lnTo>
                    <a:lnTo>
                      <a:pt x="21939" y="6676"/>
                    </a:lnTo>
                    <a:lnTo>
                      <a:pt x="23336" y="6015"/>
                    </a:lnTo>
                    <a:lnTo>
                      <a:pt x="25582" y="6322"/>
                    </a:lnTo>
                    <a:lnTo>
                      <a:pt x="27215" y="6933"/>
                    </a:lnTo>
                    <a:lnTo>
                      <a:pt x="27795" y="7567"/>
                    </a:lnTo>
                    <a:lnTo>
                      <a:pt x="28875" y="8171"/>
                    </a:lnTo>
                    <a:lnTo>
                      <a:pt x="30452" y="8315"/>
                    </a:lnTo>
                    <a:lnTo>
                      <a:pt x="33503" y="7161"/>
                    </a:lnTo>
                    <a:lnTo>
                      <a:pt x="36433" y="5402"/>
                    </a:lnTo>
                    <a:lnTo>
                      <a:pt x="37293" y="4180"/>
                    </a:lnTo>
                    <a:lnTo>
                      <a:pt x="37619" y="3073"/>
                    </a:lnTo>
                    <a:lnTo>
                      <a:pt x="39351" y="3805"/>
                    </a:lnTo>
                    <a:lnTo>
                      <a:pt x="40881" y="3967"/>
                    </a:lnTo>
                    <a:lnTo>
                      <a:pt x="41551" y="3642"/>
                    </a:lnTo>
                    <a:lnTo>
                      <a:pt x="41125" y="1866"/>
                    </a:lnTo>
                    <a:lnTo>
                      <a:pt x="42367" y="920"/>
                    </a:lnTo>
                    <a:lnTo>
                      <a:pt x="43749" y="482"/>
                    </a:lnTo>
                    <a:lnTo>
                      <a:pt x="44373" y="1250"/>
                    </a:lnTo>
                    <a:lnTo>
                      <a:pt x="45636" y="2033"/>
                    </a:lnTo>
                    <a:lnTo>
                      <a:pt x="46636" y="2038"/>
                    </a:lnTo>
                    <a:lnTo>
                      <a:pt x="49327" y="0"/>
                    </a:lnTo>
                    <a:lnTo>
                      <a:pt x="49957" y="403"/>
                    </a:lnTo>
                    <a:lnTo>
                      <a:pt x="50540" y="1128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0" name="ee4p_BG_1_15912">
                <a:extLst>
                  <a:ext uri="{FF2B5EF4-FFF2-40B4-BE49-F238E27FC236}">
                    <a16:creationId xmlns:a16="http://schemas.microsoft.com/office/drawing/2014/main" id="{4BF4DEFD-F7D7-FEE2-A993-F817879BBE46}"/>
                  </a:ext>
                </a:extLst>
              </p:cNvPr>
              <p:cNvSpPr>
                <a:spLocks noChangeAspect="1"/>
              </p:cNvSpPr>
              <p:nvPr>
                <p:custDataLst>
                  <p:tags r:id="rId241"/>
                </p:custDataLst>
              </p:nvPr>
            </p:nvSpPr>
            <p:spPr>
              <a:xfrm>
                <a:off x="5730334" y="5170321"/>
                <a:ext cx="547103" cy="317364"/>
              </a:xfrm>
              <a:custGeom>
                <a:avLst/>
                <a:gdLst/>
                <a:ahLst/>
                <a:cxnLst/>
                <a:rect l="0" t="0" r="0" b="0"/>
                <a:pathLst>
                  <a:path w="138010" h="80057">
                    <a:moveTo>
                      <a:pt x="138009" y="13408"/>
                    </a:moveTo>
                    <a:lnTo>
                      <a:pt x="137488" y="19904"/>
                    </a:lnTo>
                    <a:lnTo>
                      <a:pt x="135357" y="22918"/>
                    </a:lnTo>
                    <a:lnTo>
                      <a:pt x="132133" y="21908"/>
                    </a:lnTo>
                    <a:lnTo>
                      <a:pt x="128021" y="22749"/>
                    </a:lnTo>
                    <a:lnTo>
                      <a:pt x="125843" y="26172"/>
                    </a:lnTo>
                    <a:lnTo>
                      <a:pt x="124607" y="27186"/>
                    </a:lnTo>
                    <a:lnTo>
                      <a:pt x="123493" y="28378"/>
                    </a:lnTo>
                    <a:lnTo>
                      <a:pt x="122776" y="32816"/>
                    </a:lnTo>
                    <a:lnTo>
                      <a:pt x="122608" y="40070"/>
                    </a:lnTo>
                    <a:lnTo>
                      <a:pt x="121049" y="40954"/>
                    </a:lnTo>
                    <a:lnTo>
                      <a:pt x="119619" y="41224"/>
                    </a:lnTo>
                    <a:lnTo>
                      <a:pt x="113672" y="47590"/>
                    </a:lnTo>
                    <a:lnTo>
                      <a:pt x="117095" y="49378"/>
                    </a:lnTo>
                    <a:lnTo>
                      <a:pt x="118613" y="50738"/>
                    </a:lnTo>
                    <a:lnTo>
                      <a:pt x="121115" y="54516"/>
                    </a:lnTo>
                    <a:lnTo>
                      <a:pt x="124683" y="58784"/>
                    </a:lnTo>
                    <a:lnTo>
                      <a:pt x="125385" y="60865"/>
                    </a:lnTo>
                    <a:lnTo>
                      <a:pt x="122394" y="60399"/>
                    </a:lnTo>
                    <a:lnTo>
                      <a:pt x="121349" y="60540"/>
                    </a:lnTo>
                    <a:lnTo>
                      <a:pt x="120679" y="61197"/>
                    </a:lnTo>
                    <a:lnTo>
                      <a:pt x="119291" y="61064"/>
                    </a:lnTo>
                    <a:lnTo>
                      <a:pt x="117572" y="61070"/>
                    </a:lnTo>
                    <a:lnTo>
                      <a:pt x="115775" y="61824"/>
                    </a:lnTo>
                    <a:lnTo>
                      <a:pt x="114780" y="62145"/>
                    </a:lnTo>
                    <a:lnTo>
                      <a:pt x="113452" y="61453"/>
                    </a:lnTo>
                    <a:lnTo>
                      <a:pt x="110977" y="59378"/>
                    </a:lnTo>
                    <a:lnTo>
                      <a:pt x="109474" y="57931"/>
                    </a:lnTo>
                    <a:lnTo>
                      <a:pt x="108356" y="57566"/>
                    </a:lnTo>
                    <a:lnTo>
                      <a:pt x="107229" y="57996"/>
                    </a:lnTo>
                    <a:lnTo>
                      <a:pt x="103212" y="58486"/>
                    </a:lnTo>
                    <a:lnTo>
                      <a:pt x="102262" y="59330"/>
                    </a:lnTo>
                    <a:lnTo>
                      <a:pt x="100407" y="60260"/>
                    </a:lnTo>
                    <a:lnTo>
                      <a:pt x="98539" y="60703"/>
                    </a:lnTo>
                    <a:lnTo>
                      <a:pt x="95860" y="61017"/>
                    </a:lnTo>
                    <a:lnTo>
                      <a:pt x="94447" y="60975"/>
                    </a:lnTo>
                    <a:lnTo>
                      <a:pt x="93659" y="61425"/>
                    </a:lnTo>
                    <a:lnTo>
                      <a:pt x="92996" y="62784"/>
                    </a:lnTo>
                    <a:lnTo>
                      <a:pt x="92545" y="64111"/>
                    </a:lnTo>
                    <a:lnTo>
                      <a:pt x="92150" y="64649"/>
                    </a:lnTo>
                    <a:lnTo>
                      <a:pt x="88809" y="65306"/>
                    </a:lnTo>
                    <a:lnTo>
                      <a:pt x="88077" y="66068"/>
                    </a:lnTo>
                    <a:lnTo>
                      <a:pt x="87872" y="66813"/>
                    </a:lnTo>
                    <a:lnTo>
                      <a:pt x="87936" y="67558"/>
                    </a:lnTo>
                    <a:lnTo>
                      <a:pt x="85276" y="66837"/>
                    </a:lnTo>
                    <a:lnTo>
                      <a:pt x="83216" y="67316"/>
                    </a:lnTo>
                    <a:lnTo>
                      <a:pt x="82732" y="67887"/>
                    </a:lnTo>
                    <a:lnTo>
                      <a:pt x="82301" y="68705"/>
                    </a:lnTo>
                    <a:lnTo>
                      <a:pt x="82543" y="69580"/>
                    </a:lnTo>
                    <a:lnTo>
                      <a:pt x="83300" y="70426"/>
                    </a:lnTo>
                    <a:lnTo>
                      <a:pt x="84015" y="72718"/>
                    </a:lnTo>
                    <a:lnTo>
                      <a:pt x="84272" y="75007"/>
                    </a:lnTo>
                    <a:lnTo>
                      <a:pt x="83834" y="76304"/>
                    </a:lnTo>
                    <a:lnTo>
                      <a:pt x="82309" y="77230"/>
                    </a:lnTo>
                    <a:lnTo>
                      <a:pt x="79146" y="78253"/>
                    </a:lnTo>
                    <a:lnTo>
                      <a:pt x="76086" y="77764"/>
                    </a:lnTo>
                    <a:lnTo>
                      <a:pt x="74736" y="78170"/>
                    </a:lnTo>
                    <a:lnTo>
                      <a:pt x="72471" y="78300"/>
                    </a:lnTo>
                    <a:lnTo>
                      <a:pt x="70383" y="78572"/>
                    </a:lnTo>
                    <a:lnTo>
                      <a:pt x="67174" y="79507"/>
                    </a:lnTo>
                    <a:lnTo>
                      <a:pt x="64283" y="80056"/>
                    </a:lnTo>
                    <a:lnTo>
                      <a:pt x="61678" y="78151"/>
                    </a:lnTo>
                    <a:lnTo>
                      <a:pt x="58586" y="76852"/>
                    </a:lnTo>
                    <a:lnTo>
                      <a:pt x="55343" y="76080"/>
                    </a:lnTo>
                    <a:lnTo>
                      <a:pt x="54214" y="76643"/>
                    </a:lnTo>
                    <a:lnTo>
                      <a:pt x="53725" y="77087"/>
                    </a:lnTo>
                    <a:lnTo>
                      <a:pt x="51013" y="75401"/>
                    </a:lnTo>
                    <a:lnTo>
                      <a:pt x="49795" y="74800"/>
                    </a:lnTo>
                    <a:lnTo>
                      <a:pt x="49206" y="74148"/>
                    </a:lnTo>
                    <a:lnTo>
                      <a:pt x="48076" y="71898"/>
                    </a:lnTo>
                    <a:lnTo>
                      <a:pt x="47405" y="71827"/>
                    </a:lnTo>
                    <a:lnTo>
                      <a:pt x="45168" y="72665"/>
                    </a:lnTo>
                    <a:lnTo>
                      <a:pt x="43017" y="72625"/>
                    </a:lnTo>
                    <a:lnTo>
                      <a:pt x="41711" y="72472"/>
                    </a:lnTo>
                    <a:lnTo>
                      <a:pt x="37856" y="72566"/>
                    </a:lnTo>
                    <a:lnTo>
                      <a:pt x="37345" y="74103"/>
                    </a:lnTo>
                    <a:lnTo>
                      <a:pt x="36867" y="74342"/>
                    </a:lnTo>
                    <a:lnTo>
                      <a:pt x="36031" y="74547"/>
                    </a:lnTo>
                    <a:lnTo>
                      <a:pt x="33982" y="74450"/>
                    </a:lnTo>
                    <a:lnTo>
                      <a:pt x="31361" y="75585"/>
                    </a:lnTo>
                    <a:lnTo>
                      <a:pt x="28549" y="76277"/>
                    </a:lnTo>
                    <a:lnTo>
                      <a:pt x="26353" y="76296"/>
                    </a:lnTo>
                    <a:lnTo>
                      <a:pt x="24088" y="75961"/>
                    </a:lnTo>
                    <a:lnTo>
                      <a:pt x="22732" y="76201"/>
                    </a:lnTo>
                    <a:lnTo>
                      <a:pt x="19808" y="76325"/>
                    </a:lnTo>
                    <a:lnTo>
                      <a:pt x="17953" y="77985"/>
                    </a:lnTo>
                    <a:lnTo>
                      <a:pt x="15070" y="77891"/>
                    </a:lnTo>
                    <a:lnTo>
                      <a:pt x="12648" y="77610"/>
                    </a:lnTo>
                    <a:lnTo>
                      <a:pt x="12950" y="77087"/>
                    </a:lnTo>
                    <a:lnTo>
                      <a:pt x="13431" y="70494"/>
                    </a:lnTo>
                    <a:lnTo>
                      <a:pt x="14630" y="67548"/>
                    </a:lnTo>
                    <a:lnTo>
                      <a:pt x="14584" y="66942"/>
                    </a:lnTo>
                    <a:lnTo>
                      <a:pt x="14327" y="66482"/>
                    </a:lnTo>
                    <a:lnTo>
                      <a:pt x="13265" y="66008"/>
                    </a:lnTo>
                    <a:lnTo>
                      <a:pt x="12496" y="64415"/>
                    </a:lnTo>
                    <a:lnTo>
                      <a:pt x="10896" y="60213"/>
                    </a:lnTo>
                    <a:lnTo>
                      <a:pt x="9996" y="59361"/>
                    </a:lnTo>
                    <a:lnTo>
                      <a:pt x="7480" y="58473"/>
                    </a:lnTo>
                    <a:lnTo>
                      <a:pt x="5277" y="57259"/>
                    </a:lnTo>
                    <a:lnTo>
                      <a:pt x="3410" y="55657"/>
                    </a:lnTo>
                    <a:lnTo>
                      <a:pt x="0" y="51696"/>
                    </a:lnTo>
                    <a:lnTo>
                      <a:pt x="1725" y="51300"/>
                    </a:lnTo>
                    <a:lnTo>
                      <a:pt x="2248" y="50493"/>
                    </a:lnTo>
                    <a:lnTo>
                      <a:pt x="3969" y="48313"/>
                    </a:lnTo>
                    <a:lnTo>
                      <a:pt x="4166" y="47240"/>
                    </a:lnTo>
                    <a:lnTo>
                      <a:pt x="3984" y="46634"/>
                    </a:lnTo>
                    <a:lnTo>
                      <a:pt x="2831" y="45583"/>
                    </a:lnTo>
                    <a:lnTo>
                      <a:pt x="2039" y="43293"/>
                    </a:lnTo>
                    <a:lnTo>
                      <a:pt x="2637" y="41146"/>
                    </a:lnTo>
                    <a:lnTo>
                      <a:pt x="2688" y="40042"/>
                    </a:lnTo>
                    <a:lnTo>
                      <a:pt x="2105" y="38949"/>
                    </a:lnTo>
                    <a:lnTo>
                      <a:pt x="2714" y="37589"/>
                    </a:lnTo>
                    <a:lnTo>
                      <a:pt x="3952" y="36844"/>
                    </a:lnTo>
                    <a:lnTo>
                      <a:pt x="4733" y="36626"/>
                    </a:lnTo>
                    <a:lnTo>
                      <a:pt x="8007" y="36480"/>
                    </a:lnTo>
                    <a:lnTo>
                      <a:pt x="10080" y="33753"/>
                    </a:lnTo>
                    <a:lnTo>
                      <a:pt x="11339" y="32881"/>
                    </a:lnTo>
                    <a:lnTo>
                      <a:pt x="12630" y="31334"/>
                    </a:lnTo>
                    <a:lnTo>
                      <a:pt x="13229" y="30768"/>
                    </a:lnTo>
                    <a:lnTo>
                      <a:pt x="13796" y="29562"/>
                    </a:lnTo>
                    <a:lnTo>
                      <a:pt x="13993" y="28328"/>
                    </a:lnTo>
                    <a:lnTo>
                      <a:pt x="11399" y="26600"/>
                    </a:lnTo>
                    <a:lnTo>
                      <a:pt x="10518" y="25300"/>
                    </a:lnTo>
                    <a:lnTo>
                      <a:pt x="9365" y="23864"/>
                    </a:lnTo>
                    <a:lnTo>
                      <a:pt x="7804" y="22871"/>
                    </a:lnTo>
                    <a:lnTo>
                      <a:pt x="4655" y="21165"/>
                    </a:lnTo>
                    <a:lnTo>
                      <a:pt x="3429" y="19432"/>
                    </a:lnTo>
                    <a:lnTo>
                      <a:pt x="2876" y="17185"/>
                    </a:lnTo>
                    <a:lnTo>
                      <a:pt x="2040" y="15480"/>
                    </a:lnTo>
                    <a:lnTo>
                      <a:pt x="1123" y="14369"/>
                    </a:lnTo>
                    <a:lnTo>
                      <a:pt x="948" y="13465"/>
                    </a:lnTo>
                    <a:lnTo>
                      <a:pt x="566" y="12354"/>
                    </a:lnTo>
                    <a:lnTo>
                      <a:pt x="473" y="10171"/>
                    </a:lnTo>
                    <a:lnTo>
                      <a:pt x="1216" y="7267"/>
                    </a:lnTo>
                    <a:lnTo>
                      <a:pt x="1697" y="6241"/>
                    </a:lnTo>
                    <a:lnTo>
                      <a:pt x="2764" y="5955"/>
                    </a:lnTo>
                    <a:lnTo>
                      <a:pt x="5603" y="4404"/>
                    </a:lnTo>
                    <a:lnTo>
                      <a:pt x="5735" y="2418"/>
                    </a:lnTo>
                    <a:lnTo>
                      <a:pt x="6247" y="1185"/>
                    </a:lnTo>
                    <a:lnTo>
                      <a:pt x="7152" y="477"/>
                    </a:lnTo>
                    <a:lnTo>
                      <a:pt x="7983" y="0"/>
                    </a:lnTo>
                    <a:lnTo>
                      <a:pt x="9534" y="1155"/>
                    </a:lnTo>
                    <a:lnTo>
                      <a:pt x="13298" y="2996"/>
                    </a:lnTo>
                    <a:lnTo>
                      <a:pt x="15135" y="4331"/>
                    </a:lnTo>
                    <a:lnTo>
                      <a:pt x="15044" y="5164"/>
                    </a:lnTo>
                    <a:lnTo>
                      <a:pt x="14181" y="5983"/>
                    </a:lnTo>
                    <a:lnTo>
                      <a:pt x="12544" y="6788"/>
                    </a:lnTo>
                    <a:lnTo>
                      <a:pt x="11591" y="7852"/>
                    </a:lnTo>
                    <a:lnTo>
                      <a:pt x="11330" y="9173"/>
                    </a:lnTo>
                    <a:lnTo>
                      <a:pt x="11579" y="10105"/>
                    </a:lnTo>
                    <a:lnTo>
                      <a:pt x="12714" y="10918"/>
                    </a:lnTo>
                    <a:lnTo>
                      <a:pt x="19471" y="9853"/>
                    </a:lnTo>
                    <a:lnTo>
                      <a:pt x="26325" y="10402"/>
                    </a:lnTo>
                    <a:lnTo>
                      <a:pt x="35528" y="12209"/>
                    </a:lnTo>
                    <a:lnTo>
                      <a:pt x="41631" y="12835"/>
                    </a:lnTo>
                    <a:lnTo>
                      <a:pt x="46137" y="12000"/>
                    </a:lnTo>
                    <a:lnTo>
                      <a:pt x="54488" y="13512"/>
                    </a:lnTo>
                    <a:lnTo>
                      <a:pt x="62259" y="14917"/>
                    </a:lnTo>
                    <a:lnTo>
                      <a:pt x="69720" y="15336"/>
                    </a:lnTo>
                    <a:lnTo>
                      <a:pt x="73900" y="14231"/>
                    </a:lnTo>
                    <a:lnTo>
                      <a:pt x="76835" y="12744"/>
                    </a:lnTo>
                    <a:lnTo>
                      <a:pt x="79368" y="9943"/>
                    </a:lnTo>
                    <a:lnTo>
                      <a:pt x="85613" y="6245"/>
                    </a:lnTo>
                    <a:lnTo>
                      <a:pt x="91659" y="4169"/>
                    </a:lnTo>
                    <a:lnTo>
                      <a:pt x="99586" y="2484"/>
                    </a:lnTo>
                    <a:lnTo>
                      <a:pt x="104875" y="1909"/>
                    </a:lnTo>
                    <a:lnTo>
                      <a:pt x="105622" y="2485"/>
                    </a:lnTo>
                    <a:lnTo>
                      <a:pt x="112359" y="5887"/>
                    </a:lnTo>
                    <a:lnTo>
                      <a:pt x="115359" y="5899"/>
                    </a:lnTo>
                    <a:lnTo>
                      <a:pt x="117788" y="6502"/>
                    </a:lnTo>
                    <a:lnTo>
                      <a:pt x="118669" y="7400"/>
                    </a:lnTo>
                    <a:lnTo>
                      <a:pt x="119284" y="7625"/>
                    </a:lnTo>
                    <a:lnTo>
                      <a:pt x="122506" y="6784"/>
                    </a:lnTo>
                    <a:lnTo>
                      <a:pt x="123936" y="8644"/>
                    </a:lnTo>
                    <a:lnTo>
                      <a:pt x="126170" y="11243"/>
                    </a:lnTo>
                    <a:lnTo>
                      <a:pt x="129973" y="12582"/>
                    </a:lnTo>
                    <a:lnTo>
                      <a:pt x="133362" y="13340"/>
                    </a:lnTo>
                    <a:lnTo>
                      <a:pt x="134428" y="13456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1" name="ee4p_BA_1_15912">
                <a:extLst>
                  <a:ext uri="{FF2B5EF4-FFF2-40B4-BE49-F238E27FC236}">
                    <a16:creationId xmlns:a16="http://schemas.microsoft.com/office/drawing/2014/main" id="{F6AFB912-85D4-EF37-7812-3182C8ED08CD}"/>
                  </a:ext>
                </a:extLst>
              </p:cNvPr>
              <p:cNvSpPr>
                <a:spLocks noChangeAspect="1"/>
              </p:cNvSpPr>
              <p:nvPr>
                <p:custDataLst>
                  <p:tags r:id="rId242"/>
                </p:custDataLst>
              </p:nvPr>
            </p:nvSpPr>
            <p:spPr>
              <a:xfrm>
                <a:off x="5151144" y="5058042"/>
                <a:ext cx="337237" cy="291248"/>
              </a:xfrm>
              <a:custGeom>
                <a:avLst/>
                <a:gdLst/>
                <a:ahLst/>
                <a:cxnLst/>
                <a:rect l="0" t="0" r="0" b="0"/>
                <a:pathLst>
                  <a:path w="85070" h="73469">
                    <a:moveTo>
                      <a:pt x="26137" y="0"/>
                    </a:moveTo>
                    <a:lnTo>
                      <a:pt x="30709" y="2871"/>
                    </a:lnTo>
                    <a:lnTo>
                      <a:pt x="32594" y="3301"/>
                    </a:lnTo>
                    <a:lnTo>
                      <a:pt x="33656" y="2904"/>
                    </a:lnTo>
                    <a:lnTo>
                      <a:pt x="35103" y="3085"/>
                    </a:lnTo>
                    <a:lnTo>
                      <a:pt x="38310" y="3924"/>
                    </a:lnTo>
                    <a:lnTo>
                      <a:pt x="39050" y="4278"/>
                    </a:lnTo>
                    <a:lnTo>
                      <a:pt x="40015" y="4218"/>
                    </a:lnTo>
                    <a:lnTo>
                      <a:pt x="42387" y="3098"/>
                    </a:lnTo>
                    <a:lnTo>
                      <a:pt x="43196" y="3237"/>
                    </a:lnTo>
                    <a:lnTo>
                      <a:pt x="45908" y="5434"/>
                    </a:lnTo>
                    <a:lnTo>
                      <a:pt x="47271" y="5458"/>
                    </a:lnTo>
                    <a:lnTo>
                      <a:pt x="48912" y="4510"/>
                    </a:lnTo>
                    <a:lnTo>
                      <a:pt x="49966" y="3692"/>
                    </a:lnTo>
                    <a:lnTo>
                      <a:pt x="53082" y="4305"/>
                    </a:lnTo>
                    <a:lnTo>
                      <a:pt x="54868" y="3935"/>
                    </a:lnTo>
                    <a:lnTo>
                      <a:pt x="56349" y="3897"/>
                    </a:lnTo>
                    <a:lnTo>
                      <a:pt x="57956" y="4273"/>
                    </a:lnTo>
                    <a:lnTo>
                      <a:pt x="59422" y="4781"/>
                    </a:lnTo>
                    <a:lnTo>
                      <a:pt x="60845" y="5223"/>
                    </a:lnTo>
                    <a:lnTo>
                      <a:pt x="64700" y="5453"/>
                    </a:lnTo>
                    <a:lnTo>
                      <a:pt x="66546" y="6845"/>
                    </a:lnTo>
                    <a:lnTo>
                      <a:pt x="67282" y="8192"/>
                    </a:lnTo>
                    <a:lnTo>
                      <a:pt x="67299" y="9012"/>
                    </a:lnTo>
                    <a:lnTo>
                      <a:pt x="67481" y="9895"/>
                    </a:lnTo>
                    <a:lnTo>
                      <a:pt x="68543" y="10759"/>
                    </a:lnTo>
                    <a:lnTo>
                      <a:pt x="70862" y="11252"/>
                    </a:lnTo>
                    <a:lnTo>
                      <a:pt x="72318" y="11143"/>
                    </a:lnTo>
                    <a:lnTo>
                      <a:pt x="73091" y="11084"/>
                    </a:lnTo>
                    <a:lnTo>
                      <a:pt x="75069" y="10312"/>
                    </a:lnTo>
                    <a:lnTo>
                      <a:pt x="77396" y="9912"/>
                    </a:lnTo>
                    <a:lnTo>
                      <a:pt x="79074" y="10371"/>
                    </a:lnTo>
                    <a:lnTo>
                      <a:pt x="79869" y="10823"/>
                    </a:lnTo>
                    <a:lnTo>
                      <a:pt x="80051" y="11433"/>
                    </a:lnTo>
                    <a:lnTo>
                      <a:pt x="79556" y="13558"/>
                    </a:lnTo>
                    <a:lnTo>
                      <a:pt x="78615" y="15845"/>
                    </a:lnTo>
                    <a:lnTo>
                      <a:pt x="77094" y="18220"/>
                    </a:lnTo>
                    <a:lnTo>
                      <a:pt x="75507" y="20458"/>
                    </a:lnTo>
                    <a:lnTo>
                      <a:pt x="75088" y="21642"/>
                    </a:lnTo>
                    <a:lnTo>
                      <a:pt x="74976" y="23524"/>
                    </a:lnTo>
                    <a:lnTo>
                      <a:pt x="74780" y="25007"/>
                    </a:lnTo>
                    <a:lnTo>
                      <a:pt x="74997" y="25813"/>
                    </a:lnTo>
                    <a:lnTo>
                      <a:pt x="75518" y="26566"/>
                    </a:lnTo>
                    <a:lnTo>
                      <a:pt x="77280" y="27163"/>
                    </a:lnTo>
                    <a:lnTo>
                      <a:pt x="79653" y="28647"/>
                    </a:lnTo>
                    <a:lnTo>
                      <a:pt x="81672" y="30581"/>
                    </a:lnTo>
                    <a:lnTo>
                      <a:pt x="84259" y="32776"/>
                    </a:lnTo>
                    <a:lnTo>
                      <a:pt x="85069" y="33589"/>
                    </a:lnTo>
                    <a:lnTo>
                      <a:pt x="85067" y="34465"/>
                    </a:lnTo>
                    <a:lnTo>
                      <a:pt x="84311" y="35114"/>
                    </a:lnTo>
                    <a:lnTo>
                      <a:pt x="82098" y="35360"/>
                    </a:lnTo>
                    <a:lnTo>
                      <a:pt x="79794" y="35168"/>
                    </a:lnTo>
                    <a:lnTo>
                      <a:pt x="78910" y="34945"/>
                    </a:lnTo>
                    <a:lnTo>
                      <a:pt x="78088" y="35213"/>
                    </a:lnTo>
                    <a:lnTo>
                      <a:pt x="77578" y="35711"/>
                    </a:lnTo>
                    <a:lnTo>
                      <a:pt x="77848" y="36299"/>
                    </a:lnTo>
                    <a:lnTo>
                      <a:pt x="80210" y="38962"/>
                    </a:lnTo>
                    <a:lnTo>
                      <a:pt x="82955" y="42775"/>
                    </a:lnTo>
                    <a:lnTo>
                      <a:pt x="83108" y="44412"/>
                    </a:lnTo>
                    <a:lnTo>
                      <a:pt x="82774" y="45698"/>
                    </a:lnTo>
                    <a:lnTo>
                      <a:pt x="82138" y="46590"/>
                    </a:lnTo>
                    <a:lnTo>
                      <a:pt x="80996" y="46442"/>
                    </a:lnTo>
                    <a:lnTo>
                      <a:pt x="80128" y="45744"/>
                    </a:lnTo>
                    <a:lnTo>
                      <a:pt x="78811" y="45789"/>
                    </a:lnTo>
                    <a:lnTo>
                      <a:pt x="77788" y="45989"/>
                    </a:lnTo>
                    <a:lnTo>
                      <a:pt x="76457" y="47365"/>
                    </a:lnTo>
                    <a:lnTo>
                      <a:pt x="75794" y="47307"/>
                    </a:lnTo>
                    <a:lnTo>
                      <a:pt x="74654" y="47515"/>
                    </a:lnTo>
                    <a:lnTo>
                      <a:pt x="73931" y="47785"/>
                    </a:lnTo>
                    <a:lnTo>
                      <a:pt x="72786" y="47386"/>
                    </a:lnTo>
                    <a:lnTo>
                      <a:pt x="71590" y="47122"/>
                    </a:lnTo>
                    <a:lnTo>
                      <a:pt x="71070" y="47544"/>
                    </a:lnTo>
                    <a:lnTo>
                      <a:pt x="70839" y="48350"/>
                    </a:lnTo>
                    <a:lnTo>
                      <a:pt x="71581" y="49813"/>
                    </a:lnTo>
                    <a:lnTo>
                      <a:pt x="72972" y="52102"/>
                    </a:lnTo>
                    <a:lnTo>
                      <a:pt x="72749" y="53846"/>
                    </a:lnTo>
                    <a:lnTo>
                      <a:pt x="71689" y="54035"/>
                    </a:lnTo>
                    <a:lnTo>
                      <a:pt x="70715" y="52582"/>
                    </a:lnTo>
                    <a:lnTo>
                      <a:pt x="69852" y="52347"/>
                    </a:lnTo>
                    <a:lnTo>
                      <a:pt x="68867" y="52397"/>
                    </a:lnTo>
                    <a:lnTo>
                      <a:pt x="66615" y="54085"/>
                    </a:lnTo>
                    <a:lnTo>
                      <a:pt x="64957" y="55502"/>
                    </a:lnTo>
                    <a:lnTo>
                      <a:pt x="64572" y="56491"/>
                    </a:lnTo>
                    <a:lnTo>
                      <a:pt x="63978" y="57573"/>
                    </a:lnTo>
                    <a:lnTo>
                      <a:pt x="63799" y="58353"/>
                    </a:lnTo>
                    <a:lnTo>
                      <a:pt x="63838" y="60952"/>
                    </a:lnTo>
                    <a:lnTo>
                      <a:pt x="60849" y="61368"/>
                    </a:lnTo>
                    <a:lnTo>
                      <a:pt x="60223" y="61750"/>
                    </a:lnTo>
                    <a:lnTo>
                      <a:pt x="59862" y="62539"/>
                    </a:lnTo>
                    <a:lnTo>
                      <a:pt x="60111" y="65869"/>
                    </a:lnTo>
                    <a:lnTo>
                      <a:pt x="60353" y="67657"/>
                    </a:lnTo>
                    <a:lnTo>
                      <a:pt x="62061" y="70412"/>
                    </a:lnTo>
                    <a:lnTo>
                      <a:pt x="62119" y="71282"/>
                    </a:lnTo>
                    <a:lnTo>
                      <a:pt x="61877" y="71856"/>
                    </a:lnTo>
                    <a:lnTo>
                      <a:pt x="60663" y="72948"/>
                    </a:lnTo>
                    <a:lnTo>
                      <a:pt x="60085" y="73340"/>
                    </a:lnTo>
                    <a:lnTo>
                      <a:pt x="59696" y="73468"/>
                    </a:lnTo>
                    <a:lnTo>
                      <a:pt x="57712" y="72749"/>
                    </a:lnTo>
                    <a:lnTo>
                      <a:pt x="56770" y="72409"/>
                    </a:lnTo>
                    <a:lnTo>
                      <a:pt x="52788" y="69974"/>
                    </a:lnTo>
                    <a:lnTo>
                      <a:pt x="51033" y="68619"/>
                    </a:lnTo>
                    <a:lnTo>
                      <a:pt x="48254" y="66850"/>
                    </a:lnTo>
                    <a:lnTo>
                      <a:pt x="46539" y="65843"/>
                    </a:lnTo>
                    <a:lnTo>
                      <a:pt x="45669" y="64312"/>
                    </a:lnTo>
                    <a:lnTo>
                      <a:pt x="44304" y="63958"/>
                    </a:lnTo>
                    <a:lnTo>
                      <a:pt x="42697" y="64450"/>
                    </a:lnTo>
                    <a:lnTo>
                      <a:pt x="40875" y="63345"/>
                    </a:lnTo>
                    <a:lnTo>
                      <a:pt x="42164" y="62772"/>
                    </a:lnTo>
                    <a:lnTo>
                      <a:pt x="42482" y="62227"/>
                    </a:lnTo>
                    <a:lnTo>
                      <a:pt x="42320" y="61517"/>
                    </a:lnTo>
                    <a:lnTo>
                      <a:pt x="41752" y="60547"/>
                    </a:lnTo>
                    <a:lnTo>
                      <a:pt x="36830" y="56358"/>
                    </a:lnTo>
                    <a:lnTo>
                      <a:pt x="34416" y="53492"/>
                    </a:lnTo>
                    <a:lnTo>
                      <a:pt x="34023" y="52464"/>
                    </a:lnTo>
                    <a:lnTo>
                      <a:pt x="33991" y="49723"/>
                    </a:lnTo>
                    <a:lnTo>
                      <a:pt x="33421" y="49064"/>
                    </a:lnTo>
                    <a:lnTo>
                      <a:pt x="29806" y="47816"/>
                    </a:lnTo>
                    <a:lnTo>
                      <a:pt x="25766" y="44246"/>
                    </a:lnTo>
                    <a:lnTo>
                      <a:pt x="21600" y="40744"/>
                    </a:lnTo>
                    <a:lnTo>
                      <a:pt x="21030" y="39766"/>
                    </a:lnTo>
                    <a:lnTo>
                      <a:pt x="18881" y="37114"/>
                    </a:lnTo>
                    <a:lnTo>
                      <a:pt x="16262" y="34695"/>
                    </a:lnTo>
                    <a:lnTo>
                      <a:pt x="14172" y="33151"/>
                    </a:lnTo>
                    <a:lnTo>
                      <a:pt x="12460" y="31394"/>
                    </a:lnTo>
                    <a:lnTo>
                      <a:pt x="10561" y="28937"/>
                    </a:lnTo>
                    <a:lnTo>
                      <a:pt x="9579" y="25223"/>
                    </a:lnTo>
                    <a:lnTo>
                      <a:pt x="8705" y="21916"/>
                    </a:lnTo>
                    <a:lnTo>
                      <a:pt x="8111" y="20630"/>
                    </a:lnTo>
                    <a:lnTo>
                      <a:pt x="6908" y="20179"/>
                    </a:lnTo>
                    <a:lnTo>
                      <a:pt x="3172" y="16249"/>
                    </a:lnTo>
                    <a:lnTo>
                      <a:pt x="0" y="13963"/>
                    </a:lnTo>
                    <a:lnTo>
                      <a:pt x="30" y="11492"/>
                    </a:lnTo>
                    <a:lnTo>
                      <a:pt x="550" y="7365"/>
                    </a:lnTo>
                    <a:lnTo>
                      <a:pt x="1138" y="2674"/>
                    </a:lnTo>
                    <a:lnTo>
                      <a:pt x="1907" y="2022"/>
                    </a:lnTo>
                    <a:lnTo>
                      <a:pt x="3353" y="1667"/>
                    </a:lnTo>
                    <a:lnTo>
                      <a:pt x="5010" y="1803"/>
                    </a:lnTo>
                    <a:lnTo>
                      <a:pt x="6450" y="2383"/>
                    </a:lnTo>
                    <a:lnTo>
                      <a:pt x="9303" y="5595"/>
                    </a:lnTo>
                    <a:lnTo>
                      <a:pt x="10933" y="6843"/>
                    </a:lnTo>
                    <a:lnTo>
                      <a:pt x="12311" y="7329"/>
                    </a:lnTo>
                    <a:lnTo>
                      <a:pt x="13896" y="5975"/>
                    </a:lnTo>
                    <a:lnTo>
                      <a:pt x="15852" y="3138"/>
                    </a:lnTo>
                    <a:lnTo>
                      <a:pt x="17558" y="1640"/>
                    </a:lnTo>
                    <a:lnTo>
                      <a:pt x="23311" y="2183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2" name="ee4p_CH_1_15912">
                <a:extLst>
                  <a:ext uri="{FF2B5EF4-FFF2-40B4-BE49-F238E27FC236}">
                    <a16:creationId xmlns:a16="http://schemas.microsoft.com/office/drawing/2014/main" id="{02AD0213-3858-5FAE-9143-C9361E85018A}"/>
                  </a:ext>
                </a:extLst>
              </p:cNvPr>
              <p:cNvSpPr>
                <a:spLocks noChangeAspect="1"/>
              </p:cNvSpPr>
              <p:nvPr>
                <p:custDataLst>
                  <p:tags r:id="rId243"/>
                </p:custDataLst>
              </p:nvPr>
            </p:nvSpPr>
            <p:spPr>
              <a:xfrm>
                <a:off x="4295029" y="4782917"/>
                <a:ext cx="393109" cy="214822"/>
              </a:xfrm>
              <a:custGeom>
                <a:avLst/>
                <a:gdLst/>
                <a:ahLst/>
                <a:cxnLst/>
                <a:rect l="0" t="0" r="0" b="0"/>
                <a:pathLst>
                  <a:path w="99164" h="54190">
                    <a:moveTo>
                      <a:pt x="78586" y="7066"/>
                    </a:moveTo>
                    <a:lnTo>
                      <a:pt x="79258" y="7434"/>
                    </a:lnTo>
                    <a:lnTo>
                      <a:pt x="80838" y="8671"/>
                    </a:lnTo>
                    <a:lnTo>
                      <a:pt x="80467" y="10781"/>
                    </a:lnTo>
                    <a:lnTo>
                      <a:pt x="78664" y="14171"/>
                    </a:lnTo>
                    <a:lnTo>
                      <a:pt x="77707" y="16915"/>
                    </a:lnTo>
                    <a:lnTo>
                      <a:pt x="77601" y="19015"/>
                    </a:lnTo>
                    <a:lnTo>
                      <a:pt x="77783" y="20000"/>
                    </a:lnTo>
                    <a:lnTo>
                      <a:pt x="78107" y="19987"/>
                    </a:lnTo>
                    <a:lnTo>
                      <a:pt x="79830" y="20137"/>
                    </a:lnTo>
                    <a:lnTo>
                      <a:pt x="80707" y="20134"/>
                    </a:lnTo>
                    <a:lnTo>
                      <a:pt x="83473" y="20703"/>
                    </a:lnTo>
                    <a:lnTo>
                      <a:pt x="85690" y="21533"/>
                    </a:lnTo>
                    <a:lnTo>
                      <a:pt x="86118" y="22409"/>
                    </a:lnTo>
                    <a:lnTo>
                      <a:pt x="86407" y="23477"/>
                    </a:lnTo>
                    <a:lnTo>
                      <a:pt x="89042" y="24936"/>
                    </a:lnTo>
                    <a:lnTo>
                      <a:pt x="92063" y="25879"/>
                    </a:lnTo>
                    <a:lnTo>
                      <a:pt x="93087" y="25577"/>
                    </a:lnTo>
                    <a:lnTo>
                      <a:pt x="96837" y="22164"/>
                    </a:lnTo>
                    <a:lnTo>
                      <a:pt x="98286" y="22731"/>
                    </a:lnTo>
                    <a:lnTo>
                      <a:pt x="99163" y="24544"/>
                    </a:lnTo>
                    <a:lnTo>
                      <a:pt x="99124" y="25505"/>
                    </a:lnTo>
                    <a:lnTo>
                      <a:pt x="98090" y="29128"/>
                    </a:lnTo>
                    <a:lnTo>
                      <a:pt x="97911" y="31070"/>
                    </a:lnTo>
                    <a:lnTo>
                      <a:pt x="98802" y="32354"/>
                    </a:lnTo>
                    <a:lnTo>
                      <a:pt x="98895" y="33354"/>
                    </a:lnTo>
                    <a:lnTo>
                      <a:pt x="98634" y="34266"/>
                    </a:lnTo>
                    <a:lnTo>
                      <a:pt x="97140" y="34349"/>
                    </a:lnTo>
                    <a:lnTo>
                      <a:pt x="95131" y="33855"/>
                    </a:lnTo>
                    <a:lnTo>
                      <a:pt x="93434" y="32292"/>
                    </a:lnTo>
                    <a:lnTo>
                      <a:pt x="92152" y="32479"/>
                    </a:lnTo>
                    <a:lnTo>
                      <a:pt x="91035" y="32881"/>
                    </a:lnTo>
                    <a:lnTo>
                      <a:pt x="90465" y="34357"/>
                    </a:lnTo>
                    <a:lnTo>
                      <a:pt x="89958" y="36122"/>
                    </a:lnTo>
                    <a:lnTo>
                      <a:pt x="90120" y="37102"/>
                    </a:lnTo>
                    <a:lnTo>
                      <a:pt x="90923" y="37855"/>
                    </a:lnTo>
                    <a:lnTo>
                      <a:pt x="91536" y="39460"/>
                    </a:lnTo>
                    <a:lnTo>
                      <a:pt x="91983" y="41535"/>
                    </a:lnTo>
                    <a:lnTo>
                      <a:pt x="92322" y="42489"/>
                    </a:lnTo>
                    <a:lnTo>
                      <a:pt x="91949" y="42912"/>
                    </a:lnTo>
                    <a:lnTo>
                      <a:pt x="90892" y="43196"/>
                    </a:lnTo>
                    <a:lnTo>
                      <a:pt x="90018" y="42916"/>
                    </a:lnTo>
                    <a:lnTo>
                      <a:pt x="88485" y="40435"/>
                    </a:lnTo>
                    <a:lnTo>
                      <a:pt x="87768" y="39489"/>
                    </a:lnTo>
                    <a:lnTo>
                      <a:pt x="86557" y="39324"/>
                    </a:lnTo>
                    <a:lnTo>
                      <a:pt x="84419" y="39926"/>
                    </a:lnTo>
                    <a:lnTo>
                      <a:pt x="81139" y="41316"/>
                    </a:lnTo>
                    <a:lnTo>
                      <a:pt x="79815" y="41310"/>
                    </a:lnTo>
                    <a:lnTo>
                      <a:pt x="78690" y="41030"/>
                    </a:lnTo>
                    <a:lnTo>
                      <a:pt x="77636" y="39850"/>
                    </a:lnTo>
                    <a:lnTo>
                      <a:pt x="76742" y="37576"/>
                    </a:lnTo>
                    <a:lnTo>
                      <a:pt x="76455" y="36146"/>
                    </a:lnTo>
                    <a:lnTo>
                      <a:pt x="75829" y="36192"/>
                    </a:lnTo>
                    <a:lnTo>
                      <a:pt x="73730" y="35779"/>
                    </a:lnTo>
                    <a:lnTo>
                      <a:pt x="72752" y="36344"/>
                    </a:lnTo>
                    <a:lnTo>
                      <a:pt x="72743" y="38673"/>
                    </a:lnTo>
                    <a:lnTo>
                      <a:pt x="72551" y="41568"/>
                    </a:lnTo>
                    <a:lnTo>
                      <a:pt x="71497" y="43438"/>
                    </a:lnTo>
                    <a:lnTo>
                      <a:pt x="68569" y="46669"/>
                    </a:lnTo>
                    <a:lnTo>
                      <a:pt x="67494" y="48078"/>
                    </a:lnTo>
                    <a:lnTo>
                      <a:pt x="67066" y="49088"/>
                    </a:lnTo>
                    <a:lnTo>
                      <a:pt x="66975" y="49966"/>
                    </a:lnTo>
                    <a:lnTo>
                      <a:pt x="67422" y="51484"/>
                    </a:lnTo>
                    <a:lnTo>
                      <a:pt x="68031" y="52933"/>
                    </a:lnTo>
                    <a:lnTo>
                      <a:pt x="67524" y="53757"/>
                    </a:lnTo>
                    <a:lnTo>
                      <a:pt x="65975" y="54189"/>
                    </a:lnTo>
                    <a:lnTo>
                      <a:pt x="64883" y="53309"/>
                    </a:lnTo>
                    <a:lnTo>
                      <a:pt x="64460" y="51744"/>
                    </a:lnTo>
                    <a:lnTo>
                      <a:pt x="62091" y="49605"/>
                    </a:lnTo>
                    <a:lnTo>
                      <a:pt x="63168" y="47813"/>
                    </a:lnTo>
                    <a:lnTo>
                      <a:pt x="62987" y="47368"/>
                    </a:lnTo>
                    <a:lnTo>
                      <a:pt x="59076" y="46438"/>
                    </a:lnTo>
                    <a:lnTo>
                      <a:pt x="57390" y="45082"/>
                    </a:lnTo>
                    <a:lnTo>
                      <a:pt x="55023" y="42700"/>
                    </a:lnTo>
                    <a:lnTo>
                      <a:pt x="54583" y="41677"/>
                    </a:lnTo>
                    <a:lnTo>
                      <a:pt x="54682" y="38353"/>
                    </a:lnTo>
                    <a:lnTo>
                      <a:pt x="54546" y="37546"/>
                    </a:lnTo>
                    <a:lnTo>
                      <a:pt x="54230" y="37153"/>
                    </a:lnTo>
                    <a:lnTo>
                      <a:pt x="53084" y="37179"/>
                    </a:lnTo>
                    <a:lnTo>
                      <a:pt x="51488" y="38335"/>
                    </a:lnTo>
                    <a:lnTo>
                      <a:pt x="50016" y="40060"/>
                    </a:lnTo>
                    <a:lnTo>
                      <a:pt x="47003" y="42004"/>
                    </a:lnTo>
                    <a:lnTo>
                      <a:pt x="46690" y="42420"/>
                    </a:lnTo>
                    <a:lnTo>
                      <a:pt x="47701" y="44314"/>
                    </a:lnTo>
                    <a:lnTo>
                      <a:pt x="47655" y="45051"/>
                    </a:lnTo>
                    <a:lnTo>
                      <a:pt x="45202" y="48066"/>
                    </a:lnTo>
                    <a:lnTo>
                      <a:pt x="44736" y="49060"/>
                    </a:lnTo>
                    <a:lnTo>
                      <a:pt x="41622" y="50950"/>
                    </a:lnTo>
                    <a:lnTo>
                      <a:pt x="40197" y="51657"/>
                    </a:lnTo>
                    <a:lnTo>
                      <a:pt x="35878" y="50267"/>
                    </a:lnTo>
                    <a:lnTo>
                      <a:pt x="34684" y="50102"/>
                    </a:lnTo>
                    <a:lnTo>
                      <a:pt x="32760" y="51033"/>
                    </a:lnTo>
                    <a:lnTo>
                      <a:pt x="30026" y="51918"/>
                    </a:lnTo>
                    <a:lnTo>
                      <a:pt x="25627" y="52799"/>
                    </a:lnTo>
                    <a:lnTo>
                      <a:pt x="24008" y="52155"/>
                    </a:lnTo>
                    <a:lnTo>
                      <a:pt x="23241" y="51548"/>
                    </a:lnTo>
                    <a:lnTo>
                      <a:pt x="22861" y="50636"/>
                    </a:lnTo>
                    <a:lnTo>
                      <a:pt x="21751" y="49026"/>
                    </a:lnTo>
                    <a:lnTo>
                      <a:pt x="20503" y="48070"/>
                    </a:lnTo>
                    <a:lnTo>
                      <a:pt x="19635" y="47029"/>
                    </a:lnTo>
                    <a:lnTo>
                      <a:pt x="18478" y="45889"/>
                    </a:lnTo>
                    <a:lnTo>
                      <a:pt x="17735" y="44935"/>
                    </a:lnTo>
                    <a:lnTo>
                      <a:pt x="18724" y="41889"/>
                    </a:lnTo>
                    <a:lnTo>
                      <a:pt x="18002" y="40815"/>
                    </a:lnTo>
                    <a:lnTo>
                      <a:pt x="17631" y="39284"/>
                    </a:lnTo>
                    <a:lnTo>
                      <a:pt x="17823" y="38246"/>
                    </a:lnTo>
                    <a:lnTo>
                      <a:pt x="17426" y="37993"/>
                    </a:lnTo>
                    <a:lnTo>
                      <a:pt x="13448" y="37394"/>
                    </a:lnTo>
                    <a:lnTo>
                      <a:pt x="10147" y="37584"/>
                    </a:lnTo>
                    <a:lnTo>
                      <a:pt x="7780" y="38605"/>
                    </a:lnTo>
                    <a:lnTo>
                      <a:pt x="5852" y="40298"/>
                    </a:lnTo>
                    <a:lnTo>
                      <a:pt x="5621" y="40663"/>
                    </a:lnTo>
                    <a:lnTo>
                      <a:pt x="5740" y="40968"/>
                    </a:lnTo>
                    <a:lnTo>
                      <a:pt x="6698" y="42524"/>
                    </a:lnTo>
                    <a:lnTo>
                      <a:pt x="5072" y="44162"/>
                    </a:lnTo>
                    <a:lnTo>
                      <a:pt x="2578" y="45436"/>
                    </a:lnTo>
                    <a:lnTo>
                      <a:pt x="810" y="45566"/>
                    </a:lnTo>
                    <a:lnTo>
                      <a:pt x="32" y="45320"/>
                    </a:lnTo>
                    <a:lnTo>
                      <a:pt x="0" y="43564"/>
                    </a:lnTo>
                    <a:lnTo>
                      <a:pt x="1461" y="42916"/>
                    </a:lnTo>
                    <a:lnTo>
                      <a:pt x="2783" y="41773"/>
                    </a:lnTo>
                    <a:lnTo>
                      <a:pt x="3226" y="40159"/>
                    </a:lnTo>
                    <a:lnTo>
                      <a:pt x="3388" y="39023"/>
                    </a:lnTo>
                    <a:lnTo>
                      <a:pt x="1995" y="37649"/>
                    </a:lnTo>
                    <a:lnTo>
                      <a:pt x="2166" y="36806"/>
                    </a:lnTo>
                    <a:lnTo>
                      <a:pt x="3029" y="35210"/>
                    </a:lnTo>
                    <a:lnTo>
                      <a:pt x="3530" y="33795"/>
                    </a:lnTo>
                    <a:lnTo>
                      <a:pt x="4217" y="32572"/>
                    </a:lnTo>
                    <a:lnTo>
                      <a:pt x="6968" y="30569"/>
                    </a:lnTo>
                    <a:lnTo>
                      <a:pt x="9732" y="28556"/>
                    </a:lnTo>
                    <a:lnTo>
                      <a:pt x="10149" y="26415"/>
                    </a:lnTo>
                    <a:lnTo>
                      <a:pt x="10361" y="23806"/>
                    </a:lnTo>
                    <a:lnTo>
                      <a:pt x="10751" y="23180"/>
                    </a:lnTo>
                    <a:lnTo>
                      <a:pt x="14479" y="21617"/>
                    </a:lnTo>
                    <a:lnTo>
                      <a:pt x="15409" y="20998"/>
                    </a:lnTo>
                    <a:lnTo>
                      <a:pt x="15878" y="20112"/>
                    </a:lnTo>
                    <a:lnTo>
                      <a:pt x="18810" y="17180"/>
                    </a:lnTo>
                    <a:lnTo>
                      <a:pt x="21715" y="14271"/>
                    </a:lnTo>
                    <a:lnTo>
                      <a:pt x="22300" y="13294"/>
                    </a:lnTo>
                    <a:lnTo>
                      <a:pt x="22788" y="12722"/>
                    </a:lnTo>
                    <a:lnTo>
                      <a:pt x="22788" y="12247"/>
                    </a:lnTo>
                    <a:lnTo>
                      <a:pt x="22423" y="11881"/>
                    </a:lnTo>
                    <a:lnTo>
                      <a:pt x="21039" y="11637"/>
                    </a:lnTo>
                    <a:lnTo>
                      <a:pt x="20572" y="10712"/>
                    </a:lnTo>
                    <a:lnTo>
                      <a:pt x="22075" y="9058"/>
                    </a:lnTo>
                    <a:lnTo>
                      <a:pt x="23956" y="8045"/>
                    </a:lnTo>
                    <a:lnTo>
                      <a:pt x="25783" y="8031"/>
                    </a:lnTo>
                    <a:lnTo>
                      <a:pt x="26517" y="8497"/>
                    </a:lnTo>
                    <a:lnTo>
                      <a:pt x="26478" y="9045"/>
                    </a:lnTo>
                    <a:lnTo>
                      <a:pt x="27266" y="9633"/>
                    </a:lnTo>
                    <a:lnTo>
                      <a:pt x="28651" y="9828"/>
                    </a:lnTo>
                    <a:lnTo>
                      <a:pt x="30363" y="9623"/>
                    </a:lnTo>
                    <a:lnTo>
                      <a:pt x="32062" y="9004"/>
                    </a:lnTo>
                    <a:lnTo>
                      <a:pt x="33110" y="7531"/>
                    </a:lnTo>
                    <a:lnTo>
                      <a:pt x="33718" y="6417"/>
                    </a:lnTo>
                    <a:lnTo>
                      <a:pt x="36388" y="5143"/>
                    </a:lnTo>
                    <a:lnTo>
                      <a:pt x="38210" y="5784"/>
                    </a:lnTo>
                    <a:lnTo>
                      <a:pt x="43274" y="5953"/>
                    </a:lnTo>
                    <a:lnTo>
                      <a:pt x="46960" y="5608"/>
                    </a:lnTo>
                    <a:lnTo>
                      <a:pt x="49271" y="4744"/>
                    </a:lnTo>
                    <a:lnTo>
                      <a:pt x="52136" y="4744"/>
                    </a:lnTo>
                    <a:lnTo>
                      <a:pt x="54058" y="5231"/>
                    </a:lnTo>
                    <a:lnTo>
                      <a:pt x="54397" y="5159"/>
                    </a:lnTo>
                    <a:lnTo>
                      <a:pt x="54926" y="5045"/>
                    </a:lnTo>
                    <a:lnTo>
                      <a:pt x="55449" y="4582"/>
                    </a:lnTo>
                    <a:lnTo>
                      <a:pt x="57258" y="4264"/>
                    </a:lnTo>
                    <a:lnTo>
                      <a:pt x="57502" y="3876"/>
                    </a:lnTo>
                    <a:lnTo>
                      <a:pt x="57426" y="3480"/>
                    </a:lnTo>
                    <a:lnTo>
                      <a:pt x="57100" y="3277"/>
                    </a:lnTo>
                    <a:lnTo>
                      <a:pt x="54876" y="3483"/>
                    </a:lnTo>
                    <a:lnTo>
                      <a:pt x="54025" y="3176"/>
                    </a:lnTo>
                    <a:lnTo>
                      <a:pt x="53807" y="2471"/>
                    </a:lnTo>
                    <a:lnTo>
                      <a:pt x="54522" y="1246"/>
                    </a:lnTo>
                    <a:lnTo>
                      <a:pt x="56161" y="246"/>
                    </a:lnTo>
                    <a:lnTo>
                      <a:pt x="57550" y="0"/>
                    </a:lnTo>
                    <a:lnTo>
                      <a:pt x="58549" y="268"/>
                    </a:lnTo>
                    <a:lnTo>
                      <a:pt x="60992" y="2126"/>
                    </a:lnTo>
                    <a:lnTo>
                      <a:pt x="61577" y="2183"/>
                    </a:lnTo>
                    <a:lnTo>
                      <a:pt x="61916" y="1849"/>
                    </a:lnTo>
                    <a:lnTo>
                      <a:pt x="62423" y="1662"/>
                    </a:lnTo>
                    <a:lnTo>
                      <a:pt x="63265" y="2026"/>
                    </a:lnTo>
                    <a:lnTo>
                      <a:pt x="64213" y="3176"/>
                    </a:lnTo>
                    <a:lnTo>
                      <a:pt x="64371" y="3354"/>
                    </a:lnTo>
                    <a:lnTo>
                      <a:pt x="69819" y="2951"/>
                    </a:lnTo>
                    <a:lnTo>
                      <a:pt x="71041" y="2951"/>
                    </a:lnTo>
                    <a:lnTo>
                      <a:pt x="74738" y="4969"/>
                    </a:lnTo>
                    <a:close/>
                  </a:path>
                </a:pathLst>
              </a:custGeom>
              <a:pattFill prst="dkUpDiag">
                <a:fgClr>
                  <a:srgbClr val="D9D9D9"/>
                </a:fgClr>
                <a:bgClr>
                  <a:srgbClr val="AB5905"/>
                </a:bgClr>
              </a:patt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3" name="ee4p_CZ_1_15912">
                <a:extLst>
                  <a:ext uri="{FF2B5EF4-FFF2-40B4-BE49-F238E27FC236}">
                    <a16:creationId xmlns:a16="http://schemas.microsoft.com/office/drawing/2014/main" id="{64AB07F7-B662-4506-C1BC-C0BB9C41C7F9}"/>
                  </a:ext>
                </a:extLst>
              </p:cNvPr>
              <p:cNvSpPr>
                <a:spLocks noChangeAspect="1"/>
              </p:cNvSpPr>
              <p:nvPr>
                <p:custDataLst>
                  <p:tags r:id="rId244"/>
                </p:custDataLst>
              </p:nvPr>
            </p:nvSpPr>
            <p:spPr>
              <a:xfrm>
                <a:off x="4831469" y="4412119"/>
                <a:ext cx="591031" cy="281080"/>
              </a:xfrm>
              <a:custGeom>
                <a:avLst/>
                <a:gdLst/>
                <a:ahLst/>
                <a:cxnLst/>
                <a:rect l="0" t="0" r="0" b="0"/>
                <a:pathLst>
                  <a:path w="149091" h="70904">
                    <a:moveTo>
                      <a:pt x="60137" y="5220"/>
                    </a:moveTo>
                    <a:lnTo>
                      <a:pt x="62048" y="5150"/>
                    </a:lnTo>
                    <a:lnTo>
                      <a:pt x="63974" y="4416"/>
                    </a:lnTo>
                    <a:lnTo>
                      <a:pt x="64129" y="3229"/>
                    </a:lnTo>
                    <a:lnTo>
                      <a:pt x="64008" y="1005"/>
                    </a:lnTo>
                    <a:lnTo>
                      <a:pt x="64214" y="685"/>
                    </a:lnTo>
                    <a:lnTo>
                      <a:pt x="67137" y="1313"/>
                    </a:lnTo>
                    <a:lnTo>
                      <a:pt x="70070" y="2315"/>
                    </a:lnTo>
                    <a:lnTo>
                      <a:pt x="70478" y="4520"/>
                    </a:lnTo>
                    <a:lnTo>
                      <a:pt x="71264" y="5606"/>
                    </a:lnTo>
                    <a:lnTo>
                      <a:pt x="72188" y="6597"/>
                    </a:lnTo>
                    <a:lnTo>
                      <a:pt x="73078" y="7048"/>
                    </a:lnTo>
                    <a:lnTo>
                      <a:pt x="74611" y="7119"/>
                    </a:lnTo>
                    <a:lnTo>
                      <a:pt x="78591" y="8429"/>
                    </a:lnTo>
                    <a:lnTo>
                      <a:pt x="80506" y="8696"/>
                    </a:lnTo>
                    <a:lnTo>
                      <a:pt x="82467" y="9599"/>
                    </a:lnTo>
                    <a:lnTo>
                      <a:pt x="84118" y="10524"/>
                    </a:lnTo>
                    <a:lnTo>
                      <a:pt x="85326" y="10717"/>
                    </a:lnTo>
                    <a:lnTo>
                      <a:pt x="85885" y="11730"/>
                    </a:lnTo>
                    <a:lnTo>
                      <a:pt x="86623" y="12423"/>
                    </a:lnTo>
                    <a:lnTo>
                      <a:pt x="87932" y="11891"/>
                    </a:lnTo>
                    <a:lnTo>
                      <a:pt x="92704" y="11143"/>
                    </a:lnTo>
                    <a:lnTo>
                      <a:pt x="94423" y="12139"/>
                    </a:lnTo>
                    <a:lnTo>
                      <a:pt x="95585" y="13192"/>
                    </a:lnTo>
                    <a:lnTo>
                      <a:pt x="95745" y="13527"/>
                    </a:lnTo>
                    <a:lnTo>
                      <a:pt x="95138" y="14456"/>
                    </a:lnTo>
                    <a:lnTo>
                      <a:pt x="94847" y="15175"/>
                    </a:lnTo>
                    <a:lnTo>
                      <a:pt x="94350" y="15652"/>
                    </a:lnTo>
                    <a:lnTo>
                      <a:pt x="92711" y="16159"/>
                    </a:lnTo>
                    <a:lnTo>
                      <a:pt x="91787" y="16981"/>
                    </a:lnTo>
                    <a:lnTo>
                      <a:pt x="91115" y="17880"/>
                    </a:lnTo>
                    <a:lnTo>
                      <a:pt x="91566" y="18739"/>
                    </a:lnTo>
                    <a:lnTo>
                      <a:pt x="92905" y="19383"/>
                    </a:lnTo>
                    <a:lnTo>
                      <a:pt x="93853" y="19528"/>
                    </a:lnTo>
                    <a:lnTo>
                      <a:pt x="94214" y="20156"/>
                    </a:lnTo>
                    <a:lnTo>
                      <a:pt x="97246" y="22961"/>
                    </a:lnTo>
                    <a:lnTo>
                      <a:pt x="99657" y="26619"/>
                    </a:lnTo>
                    <a:lnTo>
                      <a:pt x="100597" y="27191"/>
                    </a:lnTo>
                    <a:lnTo>
                      <a:pt x="101480" y="27326"/>
                    </a:lnTo>
                    <a:lnTo>
                      <a:pt x="102501" y="26789"/>
                    </a:lnTo>
                    <a:lnTo>
                      <a:pt x="103680" y="25604"/>
                    </a:lnTo>
                    <a:lnTo>
                      <a:pt x="105078" y="24746"/>
                    </a:lnTo>
                    <a:lnTo>
                      <a:pt x="106261" y="24305"/>
                    </a:lnTo>
                    <a:lnTo>
                      <a:pt x="108347" y="23293"/>
                    </a:lnTo>
                    <a:lnTo>
                      <a:pt x="108429" y="22633"/>
                    </a:lnTo>
                    <a:lnTo>
                      <a:pt x="106691" y="20156"/>
                    </a:lnTo>
                    <a:lnTo>
                      <a:pt x="105682" y="18147"/>
                    </a:lnTo>
                    <a:lnTo>
                      <a:pt x="105924" y="17783"/>
                    </a:lnTo>
                    <a:lnTo>
                      <a:pt x="108150" y="18101"/>
                    </a:lnTo>
                    <a:lnTo>
                      <a:pt x="111936" y="19197"/>
                    </a:lnTo>
                    <a:lnTo>
                      <a:pt x="117758" y="22776"/>
                    </a:lnTo>
                    <a:lnTo>
                      <a:pt x="118799" y="22776"/>
                    </a:lnTo>
                    <a:lnTo>
                      <a:pt x="120839" y="22507"/>
                    </a:lnTo>
                    <a:lnTo>
                      <a:pt x="123053" y="21923"/>
                    </a:lnTo>
                    <a:lnTo>
                      <a:pt x="124104" y="21258"/>
                    </a:lnTo>
                    <a:lnTo>
                      <a:pt x="124499" y="21506"/>
                    </a:lnTo>
                    <a:lnTo>
                      <a:pt x="124838" y="23471"/>
                    </a:lnTo>
                    <a:lnTo>
                      <a:pt x="124259" y="24548"/>
                    </a:lnTo>
                    <a:lnTo>
                      <a:pt x="121608" y="25592"/>
                    </a:lnTo>
                    <a:lnTo>
                      <a:pt x="121761" y="26111"/>
                    </a:lnTo>
                    <a:lnTo>
                      <a:pt x="122441" y="26779"/>
                    </a:lnTo>
                    <a:lnTo>
                      <a:pt x="123635" y="27230"/>
                    </a:lnTo>
                    <a:lnTo>
                      <a:pt x="125084" y="28502"/>
                    </a:lnTo>
                    <a:lnTo>
                      <a:pt x="126082" y="29951"/>
                    </a:lnTo>
                    <a:lnTo>
                      <a:pt x="126957" y="30623"/>
                    </a:lnTo>
                    <a:lnTo>
                      <a:pt x="127920" y="30942"/>
                    </a:lnTo>
                    <a:lnTo>
                      <a:pt x="130330" y="30168"/>
                    </a:lnTo>
                    <a:lnTo>
                      <a:pt x="131012" y="29556"/>
                    </a:lnTo>
                    <a:lnTo>
                      <a:pt x="131314" y="29123"/>
                    </a:lnTo>
                    <a:lnTo>
                      <a:pt x="131783" y="29219"/>
                    </a:lnTo>
                    <a:lnTo>
                      <a:pt x="132627" y="29931"/>
                    </a:lnTo>
                    <a:lnTo>
                      <a:pt x="132882" y="30350"/>
                    </a:lnTo>
                    <a:lnTo>
                      <a:pt x="135227" y="31159"/>
                    </a:lnTo>
                    <a:lnTo>
                      <a:pt x="136577" y="32153"/>
                    </a:lnTo>
                    <a:lnTo>
                      <a:pt x="137438" y="32621"/>
                    </a:lnTo>
                    <a:lnTo>
                      <a:pt x="138393" y="32166"/>
                    </a:lnTo>
                    <a:lnTo>
                      <a:pt x="142103" y="32957"/>
                    </a:lnTo>
                    <a:lnTo>
                      <a:pt x="143124" y="33621"/>
                    </a:lnTo>
                    <a:lnTo>
                      <a:pt x="143450" y="34723"/>
                    </a:lnTo>
                    <a:lnTo>
                      <a:pt x="143266" y="35391"/>
                    </a:lnTo>
                    <a:lnTo>
                      <a:pt x="143837" y="37122"/>
                    </a:lnTo>
                    <a:lnTo>
                      <a:pt x="148531" y="41266"/>
                    </a:lnTo>
                    <a:lnTo>
                      <a:pt x="149025" y="43380"/>
                    </a:lnTo>
                    <a:lnTo>
                      <a:pt x="149090" y="44222"/>
                    </a:lnTo>
                    <a:lnTo>
                      <a:pt x="148533" y="44267"/>
                    </a:lnTo>
                    <a:lnTo>
                      <a:pt x="147265" y="44704"/>
                    </a:lnTo>
                    <a:lnTo>
                      <a:pt x="145640" y="44863"/>
                    </a:lnTo>
                    <a:lnTo>
                      <a:pt x="143878" y="44777"/>
                    </a:lnTo>
                    <a:lnTo>
                      <a:pt x="142508" y="45545"/>
                    </a:lnTo>
                    <a:lnTo>
                      <a:pt x="141215" y="46795"/>
                    </a:lnTo>
                    <a:lnTo>
                      <a:pt x="139883" y="47660"/>
                    </a:lnTo>
                    <a:lnTo>
                      <a:pt x="139159" y="48434"/>
                    </a:lnTo>
                    <a:lnTo>
                      <a:pt x="138755" y="49227"/>
                    </a:lnTo>
                    <a:lnTo>
                      <a:pt x="134247" y="51485"/>
                    </a:lnTo>
                    <a:lnTo>
                      <a:pt x="133621" y="52424"/>
                    </a:lnTo>
                    <a:lnTo>
                      <a:pt x="133119" y="53704"/>
                    </a:lnTo>
                    <a:lnTo>
                      <a:pt x="132908" y="55432"/>
                    </a:lnTo>
                    <a:lnTo>
                      <a:pt x="132588" y="56980"/>
                    </a:lnTo>
                    <a:lnTo>
                      <a:pt x="131813" y="57797"/>
                    </a:lnTo>
                    <a:lnTo>
                      <a:pt x="129377" y="58498"/>
                    </a:lnTo>
                    <a:lnTo>
                      <a:pt x="128770" y="58876"/>
                    </a:lnTo>
                    <a:lnTo>
                      <a:pt x="128315" y="59663"/>
                    </a:lnTo>
                    <a:lnTo>
                      <a:pt x="126948" y="60876"/>
                    </a:lnTo>
                    <a:lnTo>
                      <a:pt x="125348" y="62030"/>
                    </a:lnTo>
                    <a:lnTo>
                      <a:pt x="122405" y="63348"/>
                    </a:lnTo>
                    <a:lnTo>
                      <a:pt x="119248" y="63749"/>
                    </a:lnTo>
                    <a:lnTo>
                      <a:pt x="115140" y="63321"/>
                    </a:lnTo>
                    <a:lnTo>
                      <a:pt x="112743" y="62804"/>
                    </a:lnTo>
                    <a:lnTo>
                      <a:pt x="111575" y="63371"/>
                    </a:lnTo>
                    <a:lnTo>
                      <a:pt x="109975" y="65088"/>
                    </a:lnTo>
                    <a:lnTo>
                      <a:pt x="108250" y="68042"/>
                    </a:lnTo>
                    <a:lnTo>
                      <a:pt x="107540" y="70261"/>
                    </a:lnTo>
                    <a:lnTo>
                      <a:pt x="106991" y="69634"/>
                    </a:lnTo>
                    <a:lnTo>
                      <a:pt x="106004" y="67280"/>
                    </a:lnTo>
                    <a:lnTo>
                      <a:pt x="104888" y="66978"/>
                    </a:lnTo>
                    <a:lnTo>
                      <a:pt x="103367" y="66759"/>
                    </a:lnTo>
                    <a:lnTo>
                      <a:pt x="102223" y="66412"/>
                    </a:lnTo>
                    <a:lnTo>
                      <a:pt x="99752" y="65056"/>
                    </a:lnTo>
                    <a:lnTo>
                      <a:pt x="98483" y="64647"/>
                    </a:lnTo>
                    <a:lnTo>
                      <a:pt x="97032" y="64537"/>
                    </a:lnTo>
                    <a:lnTo>
                      <a:pt x="95637" y="65335"/>
                    </a:lnTo>
                    <a:lnTo>
                      <a:pt x="94585" y="66277"/>
                    </a:lnTo>
                    <a:lnTo>
                      <a:pt x="91314" y="66264"/>
                    </a:lnTo>
                    <a:lnTo>
                      <a:pt x="87729" y="65827"/>
                    </a:lnTo>
                    <a:lnTo>
                      <a:pt x="82598" y="62704"/>
                    </a:lnTo>
                    <a:lnTo>
                      <a:pt x="81268" y="62677"/>
                    </a:lnTo>
                    <a:lnTo>
                      <a:pt x="79847" y="62818"/>
                    </a:lnTo>
                    <a:lnTo>
                      <a:pt x="77606" y="62080"/>
                    </a:lnTo>
                    <a:lnTo>
                      <a:pt x="73261" y="60056"/>
                    </a:lnTo>
                    <a:lnTo>
                      <a:pt x="71227" y="59581"/>
                    </a:lnTo>
                    <a:lnTo>
                      <a:pt x="69940" y="59871"/>
                    </a:lnTo>
                    <a:lnTo>
                      <a:pt x="68766" y="60319"/>
                    </a:lnTo>
                    <a:lnTo>
                      <a:pt x="67928" y="60372"/>
                    </a:lnTo>
                    <a:lnTo>
                      <a:pt x="67442" y="59714"/>
                    </a:lnTo>
                    <a:lnTo>
                      <a:pt x="65829" y="58901"/>
                    </a:lnTo>
                    <a:lnTo>
                      <a:pt x="64207" y="58808"/>
                    </a:lnTo>
                    <a:lnTo>
                      <a:pt x="63736" y="59298"/>
                    </a:lnTo>
                    <a:lnTo>
                      <a:pt x="63188" y="63750"/>
                    </a:lnTo>
                    <a:lnTo>
                      <a:pt x="62639" y="65354"/>
                    </a:lnTo>
                    <a:lnTo>
                      <a:pt x="60413" y="65280"/>
                    </a:lnTo>
                    <a:lnTo>
                      <a:pt x="59618" y="66038"/>
                    </a:lnTo>
                    <a:lnTo>
                      <a:pt x="57865" y="68184"/>
                    </a:lnTo>
                    <a:lnTo>
                      <a:pt x="57526" y="70249"/>
                    </a:lnTo>
                    <a:lnTo>
                      <a:pt x="54488" y="69849"/>
                    </a:lnTo>
                    <a:lnTo>
                      <a:pt x="53045" y="69502"/>
                    </a:lnTo>
                    <a:lnTo>
                      <a:pt x="51771" y="69765"/>
                    </a:lnTo>
                    <a:lnTo>
                      <a:pt x="50367" y="70903"/>
                    </a:lnTo>
                    <a:lnTo>
                      <a:pt x="46437" y="70836"/>
                    </a:lnTo>
                    <a:lnTo>
                      <a:pt x="43326" y="70157"/>
                    </a:lnTo>
                    <a:lnTo>
                      <a:pt x="41991" y="67600"/>
                    </a:lnTo>
                    <a:lnTo>
                      <a:pt x="40566" y="66588"/>
                    </a:lnTo>
                    <a:lnTo>
                      <a:pt x="38772" y="65682"/>
                    </a:lnTo>
                    <a:lnTo>
                      <a:pt x="38143" y="65481"/>
                    </a:lnTo>
                    <a:lnTo>
                      <a:pt x="37152" y="64085"/>
                    </a:lnTo>
                    <a:lnTo>
                      <a:pt x="35273" y="62355"/>
                    </a:lnTo>
                    <a:lnTo>
                      <a:pt x="32237" y="59990"/>
                    </a:lnTo>
                    <a:lnTo>
                      <a:pt x="29873" y="60107"/>
                    </a:lnTo>
                    <a:lnTo>
                      <a:pt x="28998" y="59479"/>
                    </a:lnTo>
                    <a:lnTo>
                      <a:pt x="28612" y="58609"/>
                    </a:lnTo>
                    <a:lnTo>
                      <a:pt x="27625" y="57104"/>
                    </a:lnTo>
                    <a:lnTo>
                      <a:pt x="26513" y="56057"/>
                    </a:lnTo>
                    <a:lnTo>
                      <a:pt x="25165" y="55651"/>
                    </a:lnTo>
                    <a:lnTo>
                      <a:pt x="23235" y="54317"/>
                    </a:lnTo>
                    <a:lnTo>
                      <a:pt x="20652" y="51407"/>
                    </a:lnTo>
                    <a:lnTo>
                      <a:pt x="18285" y="49393"/>
                    </a:lnTo>
                    <a:lnTo>
                      <a:pt x="16001" y="49425"/>
                    </a:lnTo>
                    <a:lnTo>
                      <a:pt x="14552" y="48369"/>
                    </a:lnTo>
                    <a:lnTo>
                      <a:pt x="13077" y="46985"/>
                    </a:lnTo>
                    <a:lnTo>
                      <a:pt x="11991" y="45644"/>
                    </a:lnTo>
                    <a:lnTo>
                      <a:pt x="10304" y="42383"/>
                    </a:lnTo>
                    <a:lnTo>
                      <a:pt x="9078" y="40520"/>
                    </a:lnTo>
                    <a:lnTo>
                      <a:pt x="8121" y="39367"/>
                    </a:lnTo>
                    <a:lnTo>
                      <a:pt x="7041" y="38406"/>
                    </a:lnTo>
                    <a:lnTo>
                      <a:pt x="6651" y="37645"/>
                    </a:lnTo>
                    <a:lnTo>
                      <a:pt x="7970" y="35903"/>
                    </a:lnTo>
                    <a:lnTo>
                      <a:pt x="8449" y="35041"/>
                    </a:lnTo>
                    <a:lnTo>
                      <a:pt x="9017" y="34379"/>
                    </a:lnTo>
                    <a:lnTo>
                      <a:pt x="9348" y="33676"/>
                    </a:lnTo>
                    <a:lnTo>
                      <a:pt x="9337" y="33147"/>
                    </a:lnTo>
                    <a:lnTo>
                      <a:pt x="8134" y="31425"/>
                    </a:lnTo>
                    <a:lnTo>
                      <a:pt x="6510" y="30182"/>
                    </a:lnTo>
                    <a:lnTo>
                      <a:pt x="4128" y="28919"/>
                    </a:lnTo>
                    <a:lnTo>
                      <a:pt x="2610" y="27325"/>
                    </a:lnTo>
                    <a:lnTo>
                      <a:pt x="2051" y="25864"/>
                    </a:lnTo>
                    <a:lnTo>
                      <a:pt x="1885" y="25061"/>
                    </a:lnTo>
                    <a:lnTo>
                      <a:pt x="842" y="23973"/>
                    </a:lnTo>
                    <a:lnTo>
                      <a:pt x="0" y="22377"/>
                    </a:lnTo>
                    <a:lnTo>
                      <a:pt x="2" y="21416"/>
                    </a:lnTo>
                    <a:lnTo>
                      <a:pt x="209" y="21148"/>
                    </a:lnTo>
                    <a:lnTo>
                      <a:pt x="998" y="21149"/>
                    </a:lnTo>
                    <a:lnTo>
                      <a:pt x="1880" y="21803"/>
                    </a:lnTo>
                    <a:lnTo>
                      <a:pt x="3127" y="23063"/>
                    </a:lnTo>
                    <a:lnTo>
                      <a:pt x="4148" y="24898"/>
                    </a:lnTo>
                    <a:lnTo>
                      <a:pt x="4774" y="24196"/>
                    </a:lnTo>
                    <a:lnTo>
                      <a:pt x="5945" y="22241"/>
                    </a:lnTo>
                    <a:lnTo>
                      <a:pt x="8024" y="20023"/>
                    </a:lnTo>
                    <a:lnTo>
                      <a:pt x="10156" y="18759"/>
                    </a:lnTo>
                    <a:lnTo>
                      <a:pt x="12069" y="18653"/>
                    </a:lnTo>
                    <a:lnTo>
                      <a:pt x="13636" y="18303"/>
                    </a:lnTo>
                    <a:lnTo>
                      <a:pt x="14941" y="17670"/>
                    </a:lnTo>
                    <a:lnTo>
                      <a:pt x="17214" y="17923"/>
                    </a:lnTo>
                    <a:lnTo>
                      <a:pt x="18860" y="18381"/>
                    </a:lnTo>
                    <a:lnTo>
                      <a:pt x="19393" y="18098"/>
                    </a:lnTo>
                    <a:lnTo>
                      <a:pt x="20063" y="16942"/>
                    </a:lnTo>
                    <a:lnTo>
                      <a:pt x="20490" y="15945"/>
                    </a:lnTo>
                    <a:lnTo>
                      <a:pt x="24133" y="15361"/>
                    </a:lnTo>
                    <a:lnTo>
                      <a:pt x="25383" y="13436"/>
                    </a:lnTo>
                    <a:lnTo>
                      <a:pt x="26087" y="13446"/>
                    </a:lnTo>
                    <a:lnTo>
                      <a:pt x="26895" y="13158"/>
                    </a:lnTo>
                    <a:lnTo>
                      <a:pt x="27668" y="12428"/>
                    </a:lnTo>
                    <a:lnTo>
                      <a:pt x="28411" y="12129"/>
                    </a:lnTo>
                    <a:lnTo>
                      <a:pt x="28998" y="12490"/>
                    </a:lnTo>
                    <a:lnTo>
                      <a:pt x="29771" y="12729"/>
                    </a:lnTo>
                    <a:lnTo>
                      <a:pt x="30577" y="12268"/>
                    </a:lnTo>
                    <a:lnTo>
                      <a:pt x="31771" y="10061"/>
                    </a:lnTo>
                    <a:lnTo>
                      <a:pt x="32438" y="9717"/>
                    </a:lnTo>
                    <a:lnTo>
                      <a:pt x="35636" y="9371"/>
                    </a:lnTo>
                    <a:lnTo>
                      <a:pt x="39996" y="8068"/>
                    </a:lnTo>
                    <a:lnTo>
                      <a:pt x="42205" y="6907"/>
                    </a:lnTo>
                    <a:lnTo>
                      <a:pt x="44373" y="6277"/>
                    </a:lnTo>
                    <a:lnTo>
                      <a:pt x="46701" y="5155"/>
                    </a:lnTo>
                    <a:lnTo>
                      <a:pt x="50400" y="4061"/>
                    </a:lnTo>
                    <a:lnTo>
                      <a:pt x="50577" y="3614"/>
                    </a:lnTo>
                    <a:lnTo>
                      <a:pt x="48860" y="2489"/>
                    </a:lnTo>
                    <a:lnTo>
                      <a:pt x="48283" y="1779"/>
                    </a:lnTo>
                    <a:lnTo>
                      <a:pt x="47897" y="1050"/>
                    </a:lnTo>
                    <a:lnTo>
                      <a:pt x="48502" y="243"/>
                    </a:lnTo>
                    <a:lnTo>
                      <a:pt x="49309" y="0"/>
                    </a:lnTo>
                    <a:lnTo>
                      <a:pt x="50361" y="337"/>
                    </a:lnTo>
                    <a:lnTo>
                      <a:pt x="53458" y="816"/>
                    </a:lnTo>
                    <a:lnTo>
                      <a:pt x="54306" y="1281"/>
                    </a:lnTo>
                    <a:lnTo>
                      <a:pt x="54615" y="2421"/>
                    </a:lnTo>
                    <a:lnTo>
                      <a:pt x="55401" y="3481"/>
                    </a:lnTo>
                    <a:lnTo>
                      <a:pt x="56034" y="3594"/>
                    </a:lnTo>
                    <a:lnTo>
                      <a:pt x="55807" y="5320"/>
                    </a:lnTo>
                    <a:lnTo>
                      <a:pt x="56794" y="5989"/>
                    </a:lnTo>
                    <a:lnTo>
                      <a:pt x="58234" y="6511"/>
                    </a:lnTo>
                    <a:lnTo>
                      <a:pt x="59189" y="6406"/>
                    </a:lnTo>
                    <a:lnTo>
                      <a:pt x="59873" y="5706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4" name="ee4p_DE_1_15912">
                <a:extLst>
                  <a:ext uri="{FF2B5EF4-FFF2-40B4-BE49-F238E27FC236}">
                    <a16:creationId xmlns:a16="http://schemas.microsoft.com/office/drawing/2014/main" id="{EBE99E69-D57B-129B-60FF-D703B197372C}"/>
                  </a:ext>
                </a:extLst>
              </p:cNvPr>
              <p:cNvSpPr>
                <a:spLocks noChangeAspect="1"/>
              </p:cNvSpPr>
              <p:nvPr>
                <p:custDataLst>
                  <p:tags r:id="rId245"/>
                </p:custDataLst>
              </p:nvPr>
            </p:nvSpPr>
            <p:spPr>
              <a:xfrm>
                <a:off x="4285170" y="3934358"/>
                <a:ext cx="802864" cy="903840"/>
              </a:xfrm>
              <a:custGeom>
                <a:avLst/>
                <a:gdLst>
                  <a:gd name="connsiteX0" fmla="*/ 176238 w 202527"/>
                  <a:gd name="connsiteY0" fmla="*/ 28478 h 227999"/>
                  <a:gd name="connsiteX1" fmla="*/ 180907 w 202527"/>
                  <a:gd name="connsiteY1" fmla="*/ 31292 h 227999"/>
                  <a:gd name="connsiteX2" fmla="*/ 184723 w 202527"/>
                  <a:gd name="connsiteY2" fmla="*/ 33847 h 227999"/>
                  <a:gd name="connsiteX3" fmla="*/ 184431 w 202527"/>
                  <a:gd name="connsiteY3" fmla="*/ 34795 h 227999"/>
                  <a:gd name="connsiteX4" fmla="*/ 184772 w 202527"/>
                  <a:gd name="connsiteY4" fmla="*/ 36258 h 227999"/>
                  <a:gd name="connsiteX5" fmla="*/ 183854 w 202527"/>
                  <a:gd name="connsiteY5" fmla="*/ 36149 h 227999"/>
                  <a:gd name="connsiteX6" fmla="*/ 181117 w 202527"/>
                  <a:gd name="connsiteY6" fmla="*/ 36490 h 227999"/>
                  <a:gd name="connsiteX7" fmla="*/ 178406 w 202527"/>
                  <a:gd name="connsiteY7" fmla="*/ 36007 h 227999"/>
                  <a:gd name="connsiteX8" fmla="*/ 177884 w 202527"/>
                  <a:gd name="connsiteY8" fmla="*/ 34192 h 227999"/>
                  <a:gd name="connsiteX9" fmla="*/ 178316 w 202527"/>
                  <a:gd name="connsiteY9" fmla="*/ 32443 h 227999"/>
                  <a:gd name="connsiteX10" fmla="*/ 177227 w 202527"/>
                  <a:gd name="connsiteY10" fmla="*/ 31240 h 227999"/>
                  <a:gd name="connsiteX11" fmla="*/ 176225 w 202527"/>
                  <a:gd name="connsiteY11" fmla="*/ 30534 h 227999"/>
                  <a:gd name="connsiteX12" fmla="*/ 176077 w 202527"/>
                  <a:gd name="connsiteY12" fmla="*/ 29524 h 227999"/>
                  <a:gd name="connsiteX13" fmla="*/ 115590 w 202527"/>
                  <a:gd name="connsiteY13" fmla="*/ 16104 h 227999"/>
                  <a:gd name="connsiteX14" fmla="*/ 118877 w 202527"/>
                  <a:gd name="connsiteY14" fmla="*/ 17086 h 227999"/>
                  <a:gd name="connsiteX15" fmla="*/ 119909 w 202527"/>
                  <a:gd name="connsiteY15" fmla="*/ 19005 h 227999"/>
                  <a:gd name="connsiteX16" fmla="*/ 119965 w 202527"/>
                  <a:gd name="connsiteY16" fmla="*/ 19628 h 227999"/>
                  <a:gd name="connsiteX17" fmla="*/ 116570 w 202527"/>
                  <a:gd name="connsiteY17" fmla="*/ 19687 h 227999"/>
                  <a:gd name="connsiteX18" fmla="*/ 115274 w 202527"/>
                  <a:gd name="connsiteY18" fmla="*/ 18467 h 227999"/>
                  <a:gd name="connsiteX19" fmla="*/ 113970 w 202527"/>
                  <a:gd name="connsiteY19" fmla="*/ 18157 h 227999"/>
                  <a:gd name="connsiteX20" fmla="*/ 114672 w 202527"/>
                  <a:gd name="connsiteY20" fmla="*/ 16652 h 227999"/>
                  <a:gd name="connsiteX21" fmla="*/ 167283 w 202527"/>
                  <a:gd name="connsiteY21" fmla="*/ 11030 h 227999"/>
                  <a:gd name="connsiteX22" fmla="*/ 167888 w 202527"/>
                  <a:gd name="connsiteY22" fmla="*/ 12552 h 227999"/>
                  <a:gd name="connsiteX23" fmla="*/ 168797 w 202527"/>
                  <a:gd name="connsiteY23" fmla="*/ 13599 h 227999"/>
                  <a:gd name="connsiteX24" fmla="*/ 171999 w 202527"/>
                  <a:gd name="connsiteY24" fmla="*/ 14772 h 227999"/>
                  <a:gd name="connsiteX25" fmla="*/ 172477 w 202527"/>
                  <a:gd name="connsiteY25" fmla="*/ 15305 h 227999"/>
                  <a:gd name="connsiteX26" fmla="*/ 172766 w 202527"/>
                  <a:gd name="connsiteY26" fmla="*/ 16042 h 227999"/>
                  <a:gd name="connsiteX27" fmla="*/ 171276 w 202527"/>
                  <a:gd name="connsiteY27" fmla="*/ 17485 h 227999"/>
                  <a:gd name="connsiteX28" fmla="*/ 170771 w 202527"/>
                  <a:gd name="connsiteY28" fmla="*/ 18224 h 227999"/>
                  <a:gd name="connsiteX29" fmla="*/ 171244 w 202527"/>
                  <a:gd name="connsiteY29" fmla="*/ 19409 h 227999"/>
                  <a:gd name="connsiteX30" fmla="*/ 173617 w 202527"/>
                  <a:gd name="connsiteY30" fmla="*/ 20703 h 227999"/>
                  <a:gd name="connsiteX31" fmla="*/ 174170 w 202527"/>
                  <a:gd name="connsiteY31" fmla="*/ 22753 h 227999"/>
                  <a:gd name="connsiteX32" fmla="*/ 173576 w 202527"/>
                  <a:gd name="connsiteY32" fmla="*/ 23797 h 227999"/>
                  <a:gd name="connsiteX33" fmla="*/ 171090 w 202527"/>
                  <a:gd name="connsiteY33" fmla="*/ 22060 h 227999"/>
                  <a:gd name="connsiteX34" fmla="*/ 168594 w 202527"/>
                  <a:gd name="connsiteY34" fmla="*/ 22084 h 227999"/>
                  <a:gd name="connsiteX35" fmla="*/ 167102 w 202527"/>
                  <a:gd name="connsiteY35" fmla="*/ 24759 h 227999"/>
                  <a:gd name="connsiteX36" fmla="*/ 165992 w 202527"/>
                  <a:gd name="connsiteY36" fmla="*/ 24872 h 227999"/>
                  <a:gd name="connsiteX37" fmla="*/ 162138 w 202527"/>
                  <a:gd name="connsiteY37" fmla="*/ 22442 h 227999"/>
                  <a:gd name="connsiteX38" fmla="*/ 161520 w 202527"/>
                  <a:gd name="connsiteY38" fmla="*/ 21256 h 227999"/>
                  <a:gd name="connsiteX39" fmla="*/ 161393 w 202527"/>
                  <a:gd name="connsiteY39" fmla="*/ 20270 h 227999"/>
                  <a:gd name="connsiteX40" fmla="*/ 161943 w 202527"/>
                  <a:gd name="connsiteY40" fmla="*/ 16850 h 227999"/>
                  <a:gd name="connsiteX41" fmla="*/ 161842 w 202527"/>
                  <a:gd name="connsiteY41" fmla="*/ 15773 h 227999"/>
                  <a:gd name="connsiteX42" fmla="*/ 163053 w 202527"/>
                  <a:gd name="connsiteY42" fmla="*/ 14596 h 227999"/>
                  <a:gd name="connsiteX43" fmla="*/ 163241 w 202527"/>
                  <a:gd name="connsiteY43" fmla="*/ 12894 h 227999"/>
                  <a:gd name="connsiteX44" fmla="*/ 165383 w 202527"/>
                  <a:gd name="connsiteY44" fmla="*/ 11098 h 227999"/>
                  <a:gd name="connsiteX45" fmla="*/ 58651 w 202527"/>
                  <a:gd name="connsiteY45" fmla="*/ 9162 h 227999"/>
                  <a:gd name="connsiteX46" fmla="*/ 60055 w 202527"/>
                  <a:gd name="connsiteY46" fmla="*/ 9517 h 227999"/>
                  <a:gd name="connsiteX47" fmla="*/ 60374 w 202527"/>
                  <a:gd name="connsiteY47" fmla="*/ 10621 h 227999"/>
                  <a:gd name="connsiteX48" fmla="*/ 59513 w 202527"/>
                  <a:gd name="connsiteY48" fmla="*/ 11371 h 227999"/>
                  <a:gd name="connsiteX49" fmla="*/ 57409 w 202527"/>
                  <a:gd name="connsiteY49" fmla="*/ 11283 h 227999"/>
                  <a:gd name="connsiteX50" fmla="*/ 56228 w 202527"/>
                  <a:gd name="connsiteY50" fmla="*/ 10577 h 227999"/>
                  <a:gd name="connsiteX51" fmla="*/ 56611 w 202527"/>
                  <a:gd name="connsiteY51" fmla="*/ 9825 h 227999"/>
                  <a:gd name="connsiteX52" fmla="*/ 57727 w 202527"/>
                  <a:gd name="connsiteY52" fmla="*/ 9251 h 227999"/>
                  <a:gd name="connsiteX53" fmla="*/ 62197 w 202527"/>
                  <a:gd name="connsiteY53" fmla="*/ 4773 h 227999"/>
                  <a:gd name="connsiteX54" fmla="*/ 62206 w 202527"/>
                  <a:gd name="connsiteY54" fmla="*/ 4776 h 227999"/>
                  <a:gd name="connsiteX55" fmla="*/ 66330 w 202527"/>
                  <a:gd name="connsiteY55" fmla="*/ 4843 h 227999"/>
                  <a:gd name="connsiteX56" fmla="*/ 67341 w 202527"/>
                  <a:gd name="connsiteY56" fmla="*/ 4973 h 227999"/>
                  <a:gd name="connsiteX57" fmla="*/ 73596 w 202527"/>
                  <a:gd name="connsiteY57" fmla="*/ 6576 h 227999"/>
                  <a:gd name="connsiteX58" fmla="*/ 75125 w 202527"/>
                  <a:gd name="connsiteY58" fmla="*/ 7700 h 227999"/>
                  <a:gd name="connsiteX59" fmla="*/ 77049 w 202527"/>
                  <a:gd name="connsiteY59" fmla="*/ 7753 h 227999"/>
                  <a:gd name="connsiteX60" fmla="*/ 80515 w 202527"/>
                  <a:gd name="connsiteY60" fmla="*/ 6706 h 227999"/>
                  <a:gd name="connsiteX61" fmla="*/ 83104 w 202527"/>
                  <a:gd name="connsiteY61" fmla="*/ 6246 h 227999"/>
                  <a:gd name="connsiteX62" fmla="*/ 84108 w 202527"/>
                  <a:gd name="connsiteY62" fmla="*/ 6892 h 227999"/>
                  <a:gd name="connsiteX63" fmla="*/ 85518 w 202527"/>
                  <a:gd name="connsiteY63" fmla="*/ 7163 h 227999"/>
                  <a:gd name="connsiteX64" fmla="*/ 85844 w 202527"/>
                  <a:gd name="connsiteY64" fmla="*/ 7163 h 227999"/>
                  <a:gd name="connsiteX65" fmla="*/ 85981 w 202527"/>
                  <a:gd name="connsiteY65" fmla="*/ 7726 h 227999"/>
                  <a:gd name="connsiteX66" fmla="*/ 89217 w 202527"/>
                  <a:gd name="connsiteY66" fmla="*/ 8540 h 227999"/>
                  <a:gd name="connsiteX67" fmla="*/ 90578 w 202527"/>
                  <a:gd name="connsiteY67" fmla="*/ 9837 h 227999"/>
                  <a:gd name="connsiteX68" fmla="*/ 92089 w 202527"/>
                  <a:gd name="connsiteY68" fmla="*/ 11807 h 227999"/>
                  <a:gd name="connsiteX69" fmla="*/ 92236 w 202527"/>
                  <a:gd name="connsiteY69" fmla="*/ 14641 h 227999"/>
                  <a:gd name="connsiteX70" fmla="*/ 90301 w 202527"/>
                  <a:gd name="connsiteY70" fmla="*/ 16677 h 227999"/>
                  <a:gd name="connsiteX71" fmla="*/ 88695 w 202527"/>
                  <a:gd name="connsiteY71" fmla="*/ 17965 h 227999"/>
                  <a:gd name="connsiteX72" fmla="*/ 94771 w 202527"/>
                  <a:gd name="connsiteY72" fmla="*/ 17478 h 227999"/>
                  <a:gd name="connsiteX73" fmla="*/ 95376 w 202527"/>
                  <a:gd name="connsiteY73" fmla="*/ 18645 h 227999"/>
                  <a:gd name="connsiteX74" fmla="*/ 96296 w 202527"/>
                  <a:gd name="connsiteY74" fmla="*/ 19903 h 227999"/>
                  <a:gd name="connsiteX75" fmla="*/ 99569 w 202527"/>
                  <a:gd name="connsiteY75" fmla="*/ 19007 h 227999"/>
                  <a:gd name="connsiteX76" fmla="*/ 107775 w 202527"/>
                  <a:gd name="connsiteY76" fmla="*/ 22728 h 227999"/>
                  <a:gd name="connsiteX77" fmla="*/ 112737 w 202527"/>
                  <a:gd name="connsiteY77" fmla="*/ 20917 h 227999"/>
                  <a:gd name="connsiteX78" fmla="*/ 114007 w 202527"/>
                  <a:gd name="connsiteY78" fmla="*/ 20811 h 227999"/>
                  <a:gd name="connsiteX79" fmla="*/ 115134 w 202527"/>
                  <a:gd name="connsiteY79" fmla="*/ 23817 h 227999"/>
                  <a:gd name="connsiteX80" fmla="*/ 113901 w 202527"/>
                  <a:gd name="connsiteY80" fmla="*/ 26840 h 227999"/>
                  <a:gd name="connsiteX81" fmla="*/ 109526 w 202527"/>
                  <a:gd name="connsiteY81" fmla="*/ 30061 h 227999"/>
                  <a:gd name="connsiteX82" fmla="*/ 110496 w 202527"/>
                  <a:gd name="connsiteY82" fmla="*/ 32043 h 227999"/>
                  <a:gd name="connsiteX83" fmla="*/ 111893 w 202527"/>
                  <a:gd name="connsiteY83" fmla="*/ 32483 h 227999"/>
                  <a:gd name="connsiteX84" fmla="*/ 116017 w 202527"/>
                  <a:gd name="connsiteY84" fmla="*/ 32063 h 227999"/>
                  <a:gd name="connsiteX85" fmla="*/ 122547 w 202527"/>
                  <a:gd name="connsiteY85" fmla="*/ 34020 h 227999"/>
                  <a:gd name="connsiteX86" fmla="*/ 123908 w 202527"/>
                  <a:gd name="connsiteY86" fmla="*/ 33410 h 227999"/>
                  <a:gd name="connsiteX87" fmla="*/ 129203 w 202527"/>
                  <a:gd name="connsiteY87" fmla="*/ 28895 h 227999"/>
                  <a:gd name="connsiteX88" fmla="*/ 131319 w 202527"/>
                  <a:gd name="connsiteY88" fmla="*/ 27925 h 227999"/>
                  <a:gd name="connsiteX89" fmla="*/ 138285 w 202527"/>
                  <a:gd name="connsiteY89" fmla="*/ 27230 h 227999"/>
                  <a:gd name="connsiteX90" fmla="*/ 139552 w 202527"/>
                  <a:gd name="connsiteY90" fmla="*/ 25479 h 227999"/>
                  <a:gd name="connsiteX91" fmla="*/ 142375 w 202527"/>
                  <a:gd name="connsiteY91" fmla="*/ 23717 h 227999"/>
                  <a:gd name="connsiteX92" fmla="*/ 144193 w 202527"/>
                  <a:gd name="connsiteY92" fmla="*/ 21791 h 227999"/>
                  <a:gd name="connsiteX93" fmla="*/ 148546 w 202527"/>
                  <a:gd name="connsiteY93" fmla="*/ 18120 h 227999"/>
                  <a:gd name="connsiteX94" fmla="*/ 153051 w 202527"/>
                  <a:gd name="connsiteY94" fmla="*/ 18782 h 227999"/>
                  <a:gd name="connsiteX95" fmla="*/ 155681 w 202527"/>
                  <a:gd name="connsiteY95" fmla="*/ 19485 h 227999"/>
                  <a:gd name="connsiteX96" fmla="*/ 158568 w 202527"/>
                  <a:gd name="connsiteY96" fmla="*/ 19839 h 227999"/>
                  <a:gd name="connsiteX97" fmla="*/ 161196 w 202527"/>
                  <a:gd name="connsiteY97" fmla="*/ 23749 h 227999"/>
                  <a:gd name="connsiteX98" fmla="*/ 167843 w 202527"/>
                  <a:gd name="connsiteY98" fmla="*/ 28064 h 227999"/>
                  <a:gd name="connsiteX99" fmla="*/ 173950 w 202527"/>
                  <a:gd name="connsiteY99" fmla="*/ 27689 h 227999"/>
                  <a:gd name="connsiteX100" fmla="*/ 176117 w 202527"/>
                  <a:gd name="connsiteY100" fmla="*/ 31764 h 227999"/>
                  <a:gd name="connsiteX101" fmla="*/ 177074 w 202527"/>
                  <a:gd name="connsiteY101" fmla="*/ 36785 h 227999"/>
                  <a:gd name="connsiteX102" fmla="*/ 178950 w 202527"/>
                  <a:gd name="connsiteY102" fmla="*/ 38358 h 227999"/>
                  <a:gd name="connsiteX103" fmla="*/ 180600 w 202527"/>
                  <a:gd name="connsiteY103" fmla="*/ 39385 h 227999"/>
                  <a:gd name="connsiteX104" fmla="*/ 185576 w 202527"/>
                  <a:gd name="connsiteY104" fmla="*/ 40460 h 227999"/>
                  <a:gd name="connsiteX105" fmla="*/ 185772 w 202527"/>
                  <a:gd name="connsiteY105" fmla="*/ 40528 h 227999"/>
                  <a:gd name="connsiteX106" fmla="*/ 185932 w 202527"/>
                  <a:gd name="connsiteY106" fmla="*/ 41208 h 227999"/>
                  <a:gd name="connsiteX107" fmla="*/ 186236 w 202527"/>
                  <a:gd name="connsiteY107" fmla="*/ 43696 h 227999"/>
                  <a:gd name="connsiteX108" fmla="*/ 186653 w 202527"/>
                  <a:gd name="connsiteY108" fmla="*/ 45757 h 227999"/>
                  <a:gd name="connsiteX109" fmla="*/ 189214 w 202527"/>
                  <a:gd name="connsiteY109" fmla="*/ 53974 h 227999"/>
                  <a:gd name="connsiteX110" fmla="*/ 189165 w 202527"/>
                  <a:gd name="connsiteY110" fmla="*/ 55979 h 227999"/>
                  <a:gd name="connsiteX111" fmla="*/ 189134 w 202527"/>
                  <a:gd name="connsiteY111" fmla="*/ 56511 h 227999"/>
                  <a:gd name="connsiteX112" fmla="*/ 188197 w 202527"/>
                  <a:gd name="connsiteY112" fmla="*/ 59315 h 227999"/>
                  <a:gd name="connsiteX113" fmla="*/ 186530 w 202527"/>
                  <a:gd name="connsiteY113" fmla="*/ 61677 h 227999"/>
                  <a:gd name="connsiteX114" fmla="*/ 184330 w 202527"/>
                  <a:gd name="connsiteY114" fmla="*/ 63008 h 227999"/>
                  <a:gd name="connsiteX115" fmla="*/ 183118 w 202527"/>
                  <a:gd name="connsiteY115" fmla="*/ 64488 h 227999"/>
                  <a:gd name="connsiteX116" fmla="*/ 182891 w 202527"/>
                  <a:gd name="connsiteY116" fmla="*/ 66122 h 227999"/>
                  <a:gd name="connsiteX117" fmla="*/ 185658 w 202527"/>
                  <a:gd name="connsiteY117" fmla="*/ 68981 h 227999"/>
                  <a:gd name="connsiteX118" fmla="*/ 191414 w 202527"/>
                  <a:gd name="connsiteY118" fmla="*/ 73066 h 227999"/>
                  <a:gd name="connsiteX119" fmla="*/ 193744 w 202527"/>
                  <a:gd name="connsiteY119" fmla="*/ 76554 h 227999"/>
                  <a:gd name="connsiteX120" fmla="*/ 192645 w 202527"/>
                  <a:gd name="connsiteY120" fmla="*/ 79452 h 227999"/>
                  <a:gd name="connsiteX121" fmla="*/ 192311 w 202527"/>
                  <a:gd name="connsiteY121" fmla="*/ 81575 h 227999"/>
                  <a:gd name="connsiteX122" fmla="*/ 192738 w 202527"/>
                  <a:gd name="connsiteY122" fmla="*/ 82926 h 227999"/>
                  <a:gd name="connsiteX123" fmla="*/ 193660 w 202527"/>
                  <a:gd name="connsiteY123" fmla="*/ 84010 h 227999"/>
                  <a:gd name="connsiteX124" fmla="*/ 195081 w 202527"/>
                  <a:gd name="connsiteY124" fmla="*/ 84830 h 227999"/>
                  <a:gd name="connsiteX125" fmla="*/ 195645 w 202527"/>
                  <a:gd name="connsiteY125" fmla="*/ 86091 h 227999"/>
                  <a:gd name="connsiteX126" fmla="*/ 195358 w 202527"/>
                  <a:gd name="connsiteY126" fmla="*/ 87793 h 227999"/>
                  <a:gd name="connsiteX127" fmla="*/ 195627 w 202527"/>
                  <a:gd name="connsiteY127" fmla="*/ 88973 h 227999"/>
                  <a:gd name="connsiteX128" fmla="*/ 196688 w 202527"/>
                  <a:gd name="connsiteY128" fmla="*/ 89813 h 227999"/>
                  <a:gd name="connsiteX129" fmla="*/ 196590 w 202527"/>
                  <a:gd name="connsiteY129" fmla="*/ 90139 h 227999"/>
                  <a:gd name="connsiteX130" fmla="*/ 196075 w 202527"/>
                  <a:gd name="connsiteY130" fmla="*/ 91321 h 227999"/>
                  <a:gd name="connsiteX131" fmla="*/ 195370 w 202527"/>
                  <a:gd name="connsiteY131" fmla="*/ 93475 h 227999"/>
                  <a:gd name="connsiteX132" fmla="*/ 194971 w 202527"/>
                  <a:gd name="connsiteY132" fmla="*/ 95046 h 227999"/>
                  <a:gd name="connsiteX133" fmla="*/ 193351 w 202527"/>
                  <a:gd name="connsiteY133" fmla="*/ 97185 h 227999"/>
                  <a:gd name="connsiteX134" fmla="*/ 193844 w 202527"/>
                  <a:gd name="connsiteY134" fmla="*/ 99001 h 227999"/>
                  <a:gd name="connsiteX135" fmla="*/ 195113 w 202527"/>
                  <a:gd name="connsiteY135" fmla="*/ 101141 h 227999"/>
                  <a:gd name="connsiteX136" fmla="*/ 196077 w 202527"/>
                  <a:gd name="connsiteY136" fmla="*/ 102216 h 227999"/>
                  <a:gd name="connsiteX137" fmla="*/ 196381 w 202527"/>
                  <a:gd name="connsiteY137" fmla="*/ 103234 h 227999"/>
                  <a:gd name="connsiteX138" fmla="*/ 195768 w 202527"/>
                  <a:gd name="connsiteY138" fmla="*/ 105653 h 227999"/>
                  <a:gd name="connsiteX139" fmla="*/ 196072 w 202527"/>
                  <a:gd name="connsiteY139" fmla="*/ 106271 h 227999"/>
                  <a:gd name="connsiteX140" fmla="*/ 200080 w 202527"/>
                  <a:gd name="connsiteY140" fmla="*/ 108051 h 227999"/>
                  <a:gd name="connsiteX141" fmla="*/ 200734 w 202527"/>
                  <a:gd name="connsiteY141" fmla="*/ 108872 h 227999"/>
                  <a:gd name="connsiteX142" fmla="*/ 201123 w 202527"/>
                  <a:gd name="connsiteY142" fmla="*/ 110581 h 227999"/>
                  <a:gd name="connsiteX143" fmla="*/ 202527 w 202527"/>
                  <a:gd name="connsiteY143" fmla="*/ 114229 h 227999"/>
                  <a:gd name="connsiteX144" fmla="*/ 201361 w 202527"/>
                  <a:gd name="connsiteY144" fmla="*/ 118843 h 227999"/>
                  <a:gd name="connsiteX145" fmla="*/ 200335 w 202527"/>
                  <a:gd name="connsiteY145" fmla="*/ 121367 h 227999"/>
                  <a:gd name="connsiteX146" fmla="*/ 198052 w 202527"/>
                  <a:gd name="connsiteY146" fmla="*/ 125369 h 227999"/>
                  <a:gd name="connsiteX147" fmla="*/ 197945 w 202527"/>
                  <a:gd name="connsiteY147" fmla="*/ 125738 h 227999"/>
                  <a:gd name="connsiteX148" fmla="*/ 197681 w 202527"/>
                  <a:gd name="connsiteY148" fmla="*/ 126224 h 227999"/>
                  <a:gd name="connsiteX149" fmla="*/ 196997 w 202527"/>
                  <a:gd name="connsiteY149" fmla="*/ 126924 h 227999"/>
                  <a:gd name="connsiteX150" fmla="*/ 196042 w 202527"/>
                  <a:gd name="connsiteY150" fmla="*/ 127029 h 227999"/>
                  <a:gd name="connsiteX151" fmla="*/ 194602 w 202527"/>
                  <a:gd name="connsiteY151" fmla="*/ 126507 h 227999"/>
                  <a:gd name="connsiteX152" fmla="*/ 193615 w 202527"/>
                  <a:gd name="connsiteY152" fmla="*/ 125838 h 227999"/>
                  <a:gd name="connsiteX153" fmla="*/ 193842 w 202527"/>
                  <a:gd name="connsiteY153" fmla="*/ 124112 h 227999"/>
                  <a:gd name="connsiteX154" fmla="*/ 193209 w 202527"/>
                  <a:gd name="connsiteY154" fmla="*/ 123999 h 227999"/>
                  <a:gd name="connsiteX155" fmla="*/ 192423 w 202527"/>
                  <a:gd name="connsiteY155" fmla="*/ 122939 h 227999"/>
                  <a:gd name="connsiteX156" fmla="*/ 192114 w 202527"/>
                  <a:gd name="connsiteY156" fmla="*/ 121799 h 227999"/>
                  <a:gd name="connsiteX157" fmla="*/ 191266 w 202527"/>
                  <a:gd name="connsiteY157" fmla="*/ 121334 h 227999"/>
                  <a:gd name="connsiteX158" fmla="*/ 188169 w 202527"/>
                  <a:gd name="connsiteY158" fmla="*/ 120855 h 227999"/>
                  <a:gd name="connsiteX159" fmla="*/ 187117 w 202527"/>
                  <a:gd name="connsiteY159" fmla="*/ 120518 h 227999"/>
                  <a:gd name="connsiteX160" fmla="*/ 186310 w 202527"/>
                  <a:gd name="connsiteY160" fmla="*/ 120761 h 227999"/>
                  <a:gd name="connsiteX161" fmla="*/ 185705 w 202527"/>
                  <a:gd name="connsiteY161" fmla="*/ 121568 h 227999"/>
                  <a:gd name="connsiteX162" fmla="*/ 186091 w 202527"/>
                  <a:gd name="connsiteY162" fmla="*/ 122297 h 227999"/>
                  <a:gd name="connsiteX163" fmla="*/ 186668 w 202527"/>
                  <a:gd name="connsiteY163" fmla="*/ 123007 h 227999"/>
                  <a:gd name="connsiteX164" fmla="*/ 188385 w 202527"/>
                  <a:gd name="connsiteY164" fmla="*/ 124132 h 227999"/>
                  <a:gd name="connsiteX165" fmla="*/ 188208 w 202527"/>
                  <a:gd name="connsiteY165" fmla="*/ 124579 h 227999"/>
                  <a:gd name="connsiteX166" fmla="*/ 184509 w 202527"/>
                  <a:gd name="connsiteY166" fmla="*/ 125673 h 227999"/>
                  <a:gd name="connsiteX167" fmla="*/ 182181 w 202527"/>
                  <a:gd name="connsiteY167" fmla="*/ 126795 h 227999"/>
                  <a:gd name="connsiteX168" fmla="*/ 180013 w 202527"/>
                  <a:gd name="connsiteY168" fmla="*/ 127425 h 227999"/>
                  <a:gd name="connsiteX169" fmla="*/ 177804 w 202527"/>
                  <a:gd name="connsiteY169" fmla="*/ 128586 h 227999"/>
                  <a:gd name="connsiteX170" fmla="*/ 173444 w 202527"/>
                  <a:gd name="connsiteY170" fmla="*/ 129889 h 227999"/>
                  <a:gd name="connsiteX171" fmla="*/ 170246 w 202527"/>
                  <a:gd name="connsiteY171" fmla="*/ 130235 h 227999"/>
                  <a:gd name="connsiteX172" fmla="*/ 169579 w 202527"/>
                  <a:gd name="connsiteY172" fmla="*/ 130579 h 227999"/>
                  <a:gd name="connsiteX173" fmla="*/ 168385 w 202527"/>
                  <a:gd name="connsiteY173" fmla="*/ 132786 h 227999"/>
                  <a:gd name="connsiteX174" fmla="*/ 167579 w 202527"/>
                  <a:gd name="connsiteY174" fmla="*/ 133247 h 227999"/>
                  <a:gd name="connsiteX175" fmla="*/ 166806 w 202527"/>
                  <a:gd name="connsiteY175" fmla="*/ 133008 h 227999"/>
                  <a:gd name="connsiteX176" fmla="*/ 166219 w 202527"/>
                  <a:gd name="connsiteY176" fmla="*/ 132647 h 227999"/>
                  <a:gd name="connsiteX177" fmla="*/ 165476 w 202527"/>
                  <a:gd name="connsiteY177" fmla="*/ 132946 h 227999"/>
                  <a:gd name="connsiteX178" fmla="*/ 164703 w 202527"/>
                  <a:gd name="connsiteY178" fmla="*/ 133676 h 227999"/>
                  <a:gd name="connsiteX179" fmla="*/ 163895 w 202527"/>
                  <a:gd name="connsiteY179" fmla="*/ 133964 h 227999"/>
                  <a:gd name="connsiteX180" fmla="*/ 163191 w 202527"/>
                  <a:gd name="connsiteY180" fmla="*/ 133954 h 227999"/>
                  <a:gd name="connsiteX181" fmla="*/ 161941 w 202527"/>
                  <a:gd name="connsiteY181" fmla="*/ 135879 h 227999"/>
                  <a:gd name="connsiteX182" fmla="*/ 158298 w 202527"/>
                  <a:gd name="connsiteY182" fmla="*/ 136463 h 227999"/>
                  <a:gd name="connsiteX183" fmla="*/ 157871 w 202527"/>
                  <a:gd name="connsiteY183" fmla="*/ 137460 h 227999"/>
                  <a:gd name="connsiteX184" fmla="*/ 157201 w 202527"/>
                  <a:gd name="connsiteY184" fmla="*/ 138616 h 227999"/>
                  <a:gd name="connsiteX185" fmla="*/ 156668 w 202527"/>
                  <a:gd name="connsiteY185" fmla="*/ 138899 h 227999"/>
                  <a:gd name="connsiteX186" fmla="*/ 155022 w 202527"/>
                  <a:gd name="connsiteY186" fmla="*/ 138441 h 227999"/>
                  <a:gd name="connsiteX187" fmla="*/ 152749 w 202527"/>
                  <a:gd name="connsiteY187" fmla="*/ 138188 h 227999"/>
                  <a:gd name="connsiteX188" fmla="*/ 151444 w 202527"/>
                  <a:gd name="connsiteY188" fmla="*/ 138821 h 227999"/>
                  <a:gd name="connsiteX189" fmla="*/ 149877 w 202527"/>
                  <a:gd name="connsiteY189" fmla="*/ 139171 h 227999"/>
                  <a:gd name="connsiteX190" fmla="*/ 147964 w 202527"/>
                  <a:gd name="connsiteY190" fmla="*/ 139277 h 227999"/>
                  <a:gd name="connsiteX191" fmla="*/ 145832 w 202527"/>
                  <a:gd name="connsiteY191" fmla="*/ 140541 h 227999"/>
                  <a:gd name="connsiteX192" fmla="*/ 143753 w 202527"/>
                  <a:gd name="connsiteY192" fmla="*/ 142759 h 227999"/>
                  <a:gd name="connsiteX193" fmla="*/ 142582 w 202527"/>
                  <a:gd name="connsiteY193" fmla="*/ 144714 h 227999"/>
                  <a:gd name="connsiteX194" fmla="*/ 141956 w 202527"/>
                  <a:gd name="connsiteY194" fmla="*/ 145416 h 227999"/>
                  <a:gd name="connsiteX195" fmla="*/ 140935 w 202527"/>
                  <a:gd name="connsiteY195" fmla="*/ 143581 h 227999"/>
                  <a:gd name="connsiteX196" fmla="*/ 139688 w 202527"/>
                  <a:gd name="connsiteY196" fmla="*/ 142321 h 227999"/>
                  <a:gd name="connsiteX197" fmla="*/ 138806 w 202527"/>
                  <a:gd name="connsiteY197" fmla="*/ 141667 h 227999"/>
                  <a:gd name="connsiteX198" fmla="*/ 138017 w 202527"/>
                  <a:gd name="connsiteY198" fmla="*/ 141666 h 227999"/>
                  <a:gd name="connsiteX199" fmla="*/ 137810 w 202527"/>
                  <a:gd name="connsiteY199" fmla="*/ 141934 h 227999"/>
                  <a:gd name="connsiteX200" fmla="*/ 137808 w 202527"/>
                  <a:gd name="connsiteY200" fmla="*/ 142895 h 227999"/>
                  <a:gd name="connsiteX201" fmla="*/ 138650 w 202527"/>
                  <a:gd name="connsiteY201" fmla="*/ 144491 h 227999"/>
                  <a:gd name="connsiteX202" fmla="*/ 139693 w 202527"/>
                  <a:gd name="connsiteY202" fmla="*/ 145579 h 227999"/>
                  <a:gd name="connsiteX203" fmla="*/ 139859 w 202527"/>
                  <a:gd name="connsiteY203" fmla="*/ 146382 h 227999"/>
                  <a:gd name="connsiteX204" fmla="*/ 140418 w 202527"/>
                  <a:gd name="connsiteY204" fmla="*/ 147843 h 227999"/>
                  <a:gd name="connsiteX205" fmla="*/ 141936 w 202527"/>
                  <a:gd name="connsiteY205" fmla="*/ 149437 h 227999"/>
                  <a:gd name="connsiteX206" fmla="*/ 144318 w 202527"/>
                  <a:gd name="connsiteY206" fmla="*/ 150700 h 227999"/>
                  <a:gd name="connsiteX207" fmla="*/ 145942 w 202527"/>
                  <a:gd name="connsiteY207" fmla="*/ 151943 h 227999"/>
                  <a:gd name="connsiteX208" fmla="*/ 147145 w 202527"/>
                  <a:gd name="connsiteY208" fmla="*/ 153665 h 227999"/>
                  <a:gd name="connsiteX209" fmla="*/ 147156 w 202527"/>
                  <a:gd name="connsiteY209" fmla="*/ 154194 h 227999"/>
                  <a:gd name="connsiteX210" fmla="*/ 146825 w 202527"/>
                  <a:gd name="connsiteY210" fmla="*/ 154897 h 227999"/>
                  <a:gd name="connsiteX211" fmla="*/ 146257 w 202527"/>
                  <a:gd name="connsiteY211" fmla="*/ 155559 h 227999"/>
                  <a:gd name="connsiteX212" fmla="*/ 145778 w 202527"/>
                  <a:gd name="connsiteY212" fmla="*/ 156421 h 227999"/>
                  <a:gd name="connsiteX213" fmla="*/ 144459 w 202527"/>
                  <a:gd name="connsiteY213" fmla="*/ 158163 h 227999"/>
                  <a:gd name="connsiteX214" fmla="*/ 144849 w 202527"/>
                  <a:gd name="connsiteY214" fmla="*/ 158924 h 227999"/>
                  <a:gd name="connsiteX215" fmla="*/ 145929 w 202527"/>
                  <a:gd name="connsiteY215" fmla="*/ 159885 h 227999"/>
                  <a:gd name="connsiteX216" fmla="*/ 146886 w 202527"/>
                  <a:gd name="connsiteY216" fmla="*/ 161038 h 227999"/>
                  <a:gd name="connsiteX217" fmla="*/ 148112 w 202527"/>
                  <a:gd name="connsiteY217" fmla="*/ 162901 h 227999"/>
                  <a:gd name="connsiteX218" fmla="*/ 149799 w 202527"/>
                  <a:gd name="connsiteY218" fmla="*/ 166162 h 227999"/>
                  <a:gd name="connsiteX219" fmla="*/ 150885 w 202527"/>
                  <a:gd name="connsiteY219" fmla="*/ 167503 h 227999"/>
                  <a:gd name="connsiteX220" fmla="*/ 152360 w 202527"/>
                  <a:gd name="connsiteY220" fmla="*/ 168887 h 227999"/>
                  <a:gd name="connsiteX221" fmla="*/ 153809 w 202527"/>
                  <a:gd name="connsiteY221" fmla="*/ 169943 h 227999"/>
                  <a:gd name="connsiteX222" fmla="*/ 156093 w 202527"/>
                  <a:gd name="connsiteY222" fmla="*/ 169911 h 227999"/>
                  <a:gd name="connsiteX223" fmla="*/ 158460 w 202527"/>
                  <a:gd name="connsiteY223" fmla="*/ 171925 h 227999"/>
                  <a:gd name="connsiteX224" fmla="*/ 161043 w 202527"/>
                  <a:gd name="connsiteY224" fmla="*/ 174835 h 227999"/>
                  <a:gd name="connsiteX225" fmla="*/ 162973 w 202527"/>
                  <a:gd name="connsiteY225" fmla="*/ 176169 h 227999"/>
                  <a:gd name="connsiteX226" fmla="*/ 164321 w 202527"/>
                  <a:gd name="connsiteY226" fmla="*/ 176575 h 227999"/>
                  <a:gd name="connsiteX227" fmla="*/ 165433 w 202527"/>
                  <a:gd name="connsiteY227" fmla="*/ 177622 h 227999"/>
                  <a:gd name="connsiteX228" fmla="*/ 166420 w 202527"/>
                  <a:gd name="connsiteY228" fmla="*/ 179127 h 227999"/>
                  <a:gd name="connsiteX229" fmla="*/ 166806 w 202527"/>
                  <a:gd name="connsiteY229" fmla="*/ 179997 h 227999"/>
                  <a:gd name="connsiteX230" fmla="*/ 167681 w 202527"/>
                  <a:gd name="connsiteY230" fmla="*/ 180625 h 227999"/>
                  <a:gd name="connsiteX231" fmla="*/ 170045 w 202527"/>
                  <a:gd name="connsiteY231" fmla="*/ 180508 h 227999"/>
                  <a:gd name="connsiteX232" fmla="*/ 173081 w 202527"/>
                  <a:gd name="connsiteY232" fmla="*/ 182873 h 227999"/>
                  <a:gd name="connsiteX233" fmla="*/ 174960 w 202527"/>
                  <a:gd name="connsiteY233" fmla="*/ 184603 h 227999"/>
                  <a:gd name="connsiteX234" fmla="*/ 175951 w 202527"/>
                  <a:gd name="connsiteY234" fmla="*/ 185999 h 227999"/>
                  <a:gd name="connsiteX235" fmla="*/ 175690 w 202527"/>
                  <a:gd name="connsiteY235" fmla="*/ 186552 h 227999"/>
                  <a:gd name="connsiteX236" fmla="*/ 175569 w 202527"/>
                  <a:gd name="connsiteY236" fmla="*/ 188289 h 227999"/>
                  <a:gd name="connsiteX237" fmla="*/ 175599 w 202527"/>
                  <a:gd name="connsiteY237" fmla="*/ 190129 h 227999"/>
                  <a:gd name="connsiteX238" fmla="*/ 175301 w 202527"/>
                  <a:gd name="connsiteY238" fmla="*/ 191102 h 227999"/>
                  <a:gd name="connsiteX239" fmla="*/ 173943 w 202527"/>
                  <a:gd name="connsiteY239" fmla="*/ 192382 h 227999"/>
                  <a:gd name="connsiteX240" fmla="*/ 173241 w 202527"/>
                  <a:gd name="connsiteY240" fmla="*/ 192654 h 227999"/>
                  <a:gd name="connsiteX241" fmla="*/ 172866 w 202527"/>
                  <a:gd name="connsiteY241" fmla="*/ 192930 h 227999"/>
                  <a:gd name="connsiteX242" fmla="*/ 168696 w 202527"/>
                  <a:gd name="connsiteY242" fmla="*/ 191261 h 227999"/>
                  <a:gd name="connsiteX243" fmla="*/ 168365 w 202527"/>
                  <a:gd name="connsiteY243" fmla="*/ 191546 h 227999"/>
                  <a:gd name="connsiteX244" fmla="*/ 168104 w 202527"/>
                  <a:gd name="connsiteY244" fmla="*/ 191752 h 227999"/>
                  <a:gd name="connsiteX245" fmla="*/ 166988 w 202527"/>
                  <a:gd name="connsiteY245" fmla="*/ 196586 h 227999"/>
                  <a:gd name="connsiteX246" fmla="*/ 166219 w 202527"/>
                  <a:gd name="connsiteY246" fmla="*/ 197514 h 227999"/>
                  <a:gd name="connsiteX247" fmla="*/ 165074 w 202527"/>
                  <a:gd name="connsiteY247" fmla="*/ 198368 h 227999"/>
                  <a:gd name="connsiteX248" fmla="*/ 162695 w 202527"/>
                  <a:gd name="connsiteY248" fmla="*/ 199199 h 227999"/>
                  <a:gd name="connsiteX249" fmla="*/ 161041 w 202527"/>
                  <a:gd name="connsiteY249" fmla="*/ 199537 h 227999"/>
                  <a:gd name="connsiteX250" fmla="*/ 159752 w 202527"/>
                  <a:gd name="connsiteY250" fmla="*/ 199958 h 227999"/>
                  <a:gd name="connsiteX251" fmla="*/ 155668 w 202527"/>
                  <a:gd name="connsiteY251" fmla="*/ 201977 h 227999"/>
                  <a:gd name="connsiteX252" fmla="*/ 153828 w 202527"/>
                  <a:gd name="connsiteY252" fmla="*/ 203189 h 227999"/>
                  <a:gd name="connsiteX253" fmla="*/ 152636 w 202527"/>
                  <a:gd name="connsiteY253" fmla="*/ 204711 h 227999"/>
                  <a:gd name="connsiteX254" fmla="*/ 152630 w 202527"/>
                  <a:gd name="connsiteY254" fmla="*/ 205587 h 227999"/>
                  <a:gd name="connsiteX255" fmla="*/ 154616 w 202527"/>
                  <a:gd name="connsiteY255" fmla="*/ 208160 h 227999"/>
                  <a:gd name="connsiteX256" fmla="*/ 156908 w 202527"/>
                  <a:gd name="connsiteY256" fmla="*/ 210815 h 227999"/>
                  <a:gd name="connsiteX257" fmla="*/ 156923 w 202527"/>
                  <a:gd name="connsiteY257" fmla="*/ 213149 h 227999"/>
                  <a:gd name="connsiteX258" fmla="*/ 155908 w 202527"/>
                  <a:gd name="connsiteY258" fmla="*/ 214893 h 227999"/>
                  <a:gd name="connsiteX259" fmla="*/ 155672 w 202527"/>
                  <a:gd name="connsiteY259" fmla="*/ 215567 h 227999"/>
                  <a:gd name="connsiteX260" fmla="*/ 156346 w 202527"/>
                  <a:gd name="connsiteY260" fmla="*/ 215820 h 227999"/>
                  <a:gd name="connsiteX261" fmla="*/ 157616 w 202527"/>
                  <a:gd name="connsiteY261" fmla="*/ 215917 h 227999"/>
                  <a:gd name="connsiteX262" fmla="*/ 158678 w 202527"/>
                  <a:gd name="connsiteY262" fmla="*/ 216217 h 227999"/>
                  <a:gd name="connsiteX263" fmla="*/ 159132 w 202527"/>
                  <a:gd name="connsiteY263" fmla="*/ 217443 h 227999"/>
                  <a:gd name="connsiteX264" fmla="*/ 158996 w 202527"/>
                  <a:gd name="connsiteY264" fmla="*/ 219578 h 227999"/>
                  <a:gd name="connsiteX265" fmla="*/ 158633 w 202527"/>
                  <a:gd name="connsiteY265" fmla="*/ 221575 h 227999"/>
                  <a:gd name="connsiteX266" fmla="*/ 158253 w 202527"/>
                  <a:gd name="connsiteY266" fmla="*/ 222415 h 227999"/>
                  <a:gd name="connsiteX267" fmla="*/ 157229 w 202527"/>
                  <a:gd name="connsiteY267" fmla="*/ 222482 h 227999"/>
                  <a:gd name="connsiteX268" fmla="*/ 155258 w 202527"/>
                  <a:gd name="connsiteY268" fmla="*/ 221619 h 227999"/>
                  <a:gd name="connsiteX269" fmla="*/ 153720 w 202527"/>
                  <a:gd name="connsiteY269" fmla="*/ 220616 h 227999"/>
                  <a:gd name="connsiteX270" fmla="*/ 153133 w 202527"/>
                  <a:gd name="connsiteY270" fmla="*/ 219999 h 227999"/>
                  <a:gd name="connsiteX271" fmla="*/ 153096 w 202527"/>
                  <a:gd name="connsiteY271" fmla="*/ 219261 h 227999"/>
                  <a:gd name="connsiteX272" fmla="*/ 153429 w 202527"/>
                  <a:gd name="connsiteY272" fmla="*/ 218795 h 227999"/>
                  <a:gd name="connsiteX273" fmla="*/ 152880 w 202527"/>
                  <a:gd name="connsiteY273" fmla="*/ 217885 h 227999"/>
                  <a:gd name="connsiteX274" fmla="*/ 150989 w 202527"/>
                  <a:gd name="connsiteY274" fmla="*/ 217044 h 227999"/>
                  <a:gd name="connsiteX275" fmla="*/ 148963 w 202527"/>
                  <a:gd name="connsiteY275" fmla="*/ 217410 h 227999"/>
                  <a:gd name="connsiteX276" fmla="*/ 147467 w 202527"/>
                  <a:gd name="connsiteY276" fmla="*/ 217977 h 227999"/>
                  <a:gd name="connsiteX277" fmla="*/ 146502 w 202527"/>
                  <a:gd name="connsiteY277" fmla="*/ 217944 h 227999"/>
                  <a:gd name="connsiteX278" fmla="*/ 145459 w 202527"/>
                  <a:gd name="connsiteY278" fmla="*/ 217134 h 227999"/>
                  <a:gd name="connsiteX279" fmla="*/ 143854 w 202527"/>
                  <a:gd name="connsiteY279" fmla="*/ 216514 h 227999"/>
                  <a:gd name="connsiteX280" fmla="*/ 141757 w 202527"/>
                  <a:gd name="connsiteY280" fmla="*/ 216105 h 227999"/>
                  <a:gd name="connsiteX281" fmla="*/ 140451 w 202527"/>
                  <a:gd name="connsiteY281" fmla="*/ 215668 h 227999"/>
                  <a:gd name="connsiteX282" fmla="*/ 140176 w 202527"/>
                  <a:gd name="connsiteY282" fmla="*/ 215926 h 227999"/>
                  <a:gd name="connsiteX283" fmla="*/ 140330 w 202527"/>
                  <a:gd name="connsiteY283" fmla="*/ 217679 h 227999"/>
                  <a:gd name="connsiteX284" fmla="*/ 139928 w 202527"/>
                  <a:gd name="connsiteY284" fmla="*/ 218444 h 227999"/>
                  <a:gd name="connsiteX285" fmla="*/ 129561 w 202527"/>
                  <a:gd name="connsiteY285" fmla="*/ 219456 h 227999"/>
                  <a:gd name="connsiteX286" fmla="*/ 126402 w 202527"/>
                  <a:gd name="connsiteY286" fmla="*/ 220404 h 227999"/>
                  <a:gd name="connsiteX287" fmla="*/ 124102 w 202527"/>
                  <a:gd name="connsiteY287" fmla="*/ 221629 h 227999"/>
                  <a:gd name="connsiteX288" fmla="*/ 122400 w 202527"/>
                  <a:gd name="connsiteY288" fmla="*/ 222160 h 227999"/>
                  <a:gd name="connsiteX289" fmla="*/ 121984 w 202527"/>
                  <a:gd name="connsiteY289" fmla="*/ 222915 h 227999"/>
                  <a:gd name="connsiteX290" fmla="*/ 120299 w 202527"/>
                  <a:gd name="connsiteY290" fmla="*/ 223906 h 227999"/>
                  <a:gd name="connsiteX291" fmla="*/ 118397 w 202527"/>
                  <a:gd name="connsiteY291" fmla="*/ 224223 h 227999"/>
                  <a:gd name="connsiteX292" fmla="*/ 117939 w 202527"/>
                  <a:gd name="connsiteY292" fmla="*/ 223898 h 227999"/>
                  <a:gd name="connsiteX293" fmla="*/ 116719 w 202527"/>
                  <a:gd name="connsiteY293" fmla="*/ 224356 h 227999"/>
                  <a:gd name="connsiteX294" fmla="*/ 114640 w 202527"/>
                  <a:gd name="connsiteY294" fmla="*/ 224797 h 227999"/>
                  <a:gd name="connsiteX295" fmla="*/ 113288 w 202527"/>
                  <a:gd name="connsiteY295" fmla="*/ 224657 h 227999"/>
                  <a:gd name="connsiteX296" fmla="*/ 112653 w 202527"/>
                  <a:gd name="connsiteY296" fmla="*/ 223856 h 227999"/>
                  <a:gd name="connsiteX297" fmla="*/ 111366 w 202527"/>
                  <a:gd name="connsiteY297" fmla="*/ 222629 h 227999"/>
                  <a:gd name="connsiteX298" fmla="*/ 110850 w 202527"/>
                  <a:gd name="connsiteY298" fmla="*/ 221778 h 227999"/>
                  <a:gd name="connsiteX299" fmla="*/ 110904 w 202527"/>
                  <a:gd name="connsiteY299" fmla="*/ 221233 h 227999"/>
                  <a:gd name="connsiteX300" fmla="*/ 107997 w 202527"/>
                  <a:gd name="connsiteY300" fmla="*/ 221123 h 227999"/>
                  <a:gd name="connsiteX301" fmla="*/ 106164 w 202527"/>
                  <a:gd name="connsiteY301" fmla="*/ 220475 h 227999"/>
                  <a:gd name="connsiteX302" fmla="*/ 102275 w 202527"/>
                  <a:gd name="connsiteY302" fmla="*/ 220627 h 227999"/>
                  <a:gd name="connsiteX303" fmla="*/ 101316 w 202527"/>
                  <a:gd name="connsiteY303" fmla="*/ 220353 h 227999"/>
                  <a:gd name="connsiteX304" fmla="*/ 101116 w 202527"/>
                  <a:gd name="connsiteY304" fmla="*/ 220647 h 227999"/>
                  <a:gd name="connsiteX305" fmla="*/ 100530 w 202527"/>
                  <a:gd name="connsiteY305" fmla="*/ 224128 h 227999"/>
                  <a:gd name="connsiteX306" fmla="*/ 99761 w 202527"/>
                  <a:gd name="connsiteY306" fmla="*/ 225556 h 227999"/>
                  <a:gd name="connsiteX307" fmla="*/ 98515 w 202527"/>
                  <a:gd name="connsiteY307" fmla="*/ 227030 h 227999"/>
                  <a:gd name="connsiteX308" fmla="*/ 96920 w 202527"/>
                  <a:gd name="connsiteY308" fmla="*/ 227850 h 227999"/>
                  <a:gd name="connsiteX309" fmla="*/ 95646 w 202527"/>
                  <a:gd name="connsiteY309" fmla="*/ 227999 h 227999"/>
                  <a:gd name="connsiteX310" fmla="*/ 95706 w 202527"/>
                  <a:gd name="connsiteY310" fmla="*/ 226925 h 227999"/>
                  <a:gd name="connsiteX311" fmla="*/ 96028 w 202527"/>
                  <a:gd name="connsiteY311" fmla="*/ 225630 h 227999"/>
                  <a:gd name="connsiteX312" fmla="*/ 95110 w 202527"/>
                  <a:gd name="connsiteY312" fmla="*/ 225326 h 227999"/>
                  <a:gd name="connsiteX313" fmla="*/ 93732 w 202527"/>
                  <a:gd name="connsiteY313" fmla="*/ 225177 h 227999"/>
                  <a:gd name="connsiteX314" fmla="*/ 93065 w 202527"/>
                  <a:gd name="connsiteY314" fmla="*/ 224791 h 227999"/>
                  <a:gd name="connsiteX315" fmla="*/ 93240 w 202527"/>
                  <a:gd name="connsiteY315" fmla="*/ 223805 h 227999"/>
                  <a:gd name="connsiteX316" fmla="*/ 92923 w 202527"/>
                  <a:gd name="connsiteY316" fmla="*/ 223229 h 227999"/>
                  <a:gd name="connsiteX317" fmla="*/ 92353 w 202527"/>
                  <a:gd name="connsiteY317" fmla="*/ 222541 h 227999"/>
                  <a:gd name="connsiteX318" fmla="*/ 90971 w 202527"/>
                  <a:gd name="connsiteY318" fmla="*/ 221651 h 227999"/>
                  <a:gd name="connsiteX319" fmla="*/ 88042 w 202527"/>
                  <a:gd name="connsiteY319" fmla="*/ 220332 h 227999"/>
                  <a:gd name="connsiteX320" fmla="*/ 86047 w 202527"/>
                  <a:gd name="connsiteY320" fmla="*/ 219680 h 227999"/>
                  <a:gd name="connsiteX321" fmla="*/ 85300 w 202527"/>
                  <a:gd name="connsiteY321" fmla="*/ 220374 h 227999"/>
                  <a:gd name="connsiteX322" fmla="*/ 83873 w 202527"/>
                  <a:gd name="connsiteY322" fmla="*/ 221074 h 227999"/>
                  <a:gd name="connsiteX323" fmla="*/ 81625 w 202527"/>
                  <a:gd name="connsiteY323" fmla="*/ 220845 h 227999"/>
                  <a:gd name="connsiteX324" fmla="*/ 81074 w 202527"/>
                  <a:gd name="connsiteY324" fmla="*/ 221120 h 227999"/>
                  <a:gd name="connsiteX325" fmla="*/ 77226 w 202527"/>
                  <a:gd name="connsiteY325" fmla="*/ 219023 h 227999"/>
                  <a:gd name="connsiteX326" fmla="*/ 73529 w 202527"/>
                  <a:gd name="connsiteY326" fmla="*/ 217005 h 227999"/>
                  <a:gd name="connsiteX327" fmla="*/ 72307 w 202527"/>
                  <a:gd name="connsiteY327" fmla="*/ 217005 h 227999"/>
                  <a:gd name="connsiteX328" fmla="*/ 66859 w 202527"/>
                  <a:gd name="connsiteY328" fmla="*/ 217408 h 227999"/>
                  <a:gd name="connsiteX329" fmla="*/ 66701 w 202527"/>
                  <a:gd name="connsiteY329" fmla="*/ 217230 h 227999"/>
                  <a:gd name="connsiteX330" fmla="*/ 65753 w 202527"/>
                  <a:gd name="connsiteY330" fmla="*/ 216080 h 227999"/>
                  <a:gd name="connsiteX331" fmla="*/ 64911 w 202527"/>
                  <a:gd name="connsiteY331" fmla="*/ 215716 h 227999"/>
                  <a:gd name="connsiteX332" fmla="*/ 64404 w 202527"/>
                  <a:gd name="connsiteY332" fmla="*/ 215903 h 227999"/>
                  <a:gd name="connsiteX333" fmla="*/ 64065 w 202527"/>
                  <a:gd name="connsiteY333" fmla="*/ 216237 h 227999"/>
                  <a:gd name="connsiteX334" fmla="*/ 63480 w 202527"/>
                  <a:gd name="connsiteY334" fmla="*/ 216180 h 227999"/>
                  <a:gd name="connsiteX335" fmla="*/ 61037 w 202527"/>
                  <a:gd name="connsiteY335" fmla="*/ 214322 h 227999"/>
                  <a:gd name="connsiteX336" fmla="*/ 60038 w 202527"/>
                  <a:gd name="connsiteY336" fmla="*/ 214054 h 227999"/>
                  <a:gd name="connsiteX337" fmla="*/ 58649 w 202527"/>
                  <a:gd name="connsiteY337" fmla="*/ 214300 h 227999"/>
                  <a:gd name="connsiteX338" fmla="*/ 57010 w 202527"/>
                  <a:gd name="connsiteY338" fmla="*/ 215300 h 227999"/>
                  <a:gd name="connsiteX339" fmla="*/ 56295 w 202527"/>
                  <a:gd name="connsiteY339" fmla="*/ 216525 h 227999"/>
                  <a:gd name="connsiteX340" fmla="*/ 56513 w 202527"/>
                  <a:gd name="connsiteY340" fmla="*/ 217230 h 227999"/>
                  <a:gd name="connsiteX341" fmla="*/ 57364 w 202527"/>
                  <a:gd name="connsiteY341" fmla="*/ 217537 h 227999"/>
                  <a:gd name="connsiteX342" fmla="*/ 59588 w 202527"/>
                  <a:gd name="connsiteY342" fmla="*/ 217331 h 227999"/>
                  <a:gd name="connsiteX343" fmla="*/ 59914 w 202527"/>
                  <a:gd name="connsiteY343" fmla="*/ 217534 h 227999"/>
                  <a:gd name="connsiteX344" fmla="*/ 59990 w 202527"/>
                  <a:gd name="connsiteY344" fmla="*/ 217930 h 227999"/>
                  <a:gd name="connsiteX345" fmla="*/ 59746 w 202527"/>
                  <a:gd name="connsiteY345" fmla="*/ 218318 h 227999"/>
                  <a:gd name="connsiteX346" fmla="*/ 57937 w 202527"/>
                  <a:gd name="connsiteY346" fmla="*/ 218636 h 227999"/>
                  <a:gd name="connsiteX347" fmla="*/ 57414 w 202527"/>
                  <a:gd name="connsiteY347" fmla="*/ 219099 h 227999"/>
                  <a:gd name="connsiteX348" fmla="*/ 56885 w 202527"/>
                  <a:gd name="connsiteY348" fmla="*/ 219213 h 227999"/>
                  <a:gd name="connsiteX349" fmla="*/ 56546 w 202527"/>
                  <a:gd name="connsiteY349" fmla="*/ 219285 h 227999"/>
                  <a:gd name="connsiteX350" fmla="*/ 54624 w 202527"/>
                  <a:gd name="connsiteY350" fmla="*/ 218798 h 227999"/>
                  <a:gd name="connsiteX351" fmla="*/ 51759 w 202527"/>
                  <a:gd name="connsiteY351" fmla="*/ 218798 h 227999"/>
                  <a:gd name="connsiteX352" fmla="*/ 49448 w 202527"/>
                  <a:gd name="connsiteY352" fmla="*/ 219662 h 227999"/>
                  <a:gd name="connsiteX353" fmla="*/ 45762 w 202527"/>
                  <a:gd name="connsiteY353" fmla="*/ 220007 h 227999"/>
                  <a:gd name="connsiteX354" fmla="*/ 40698 w 202527"/>
                  <a:gd name="connsiteY354" fmla="*/ 219838 h 227999"/>
                  <a:gd name="connsiteX355" fmla="*/ 38876 w 202527"/>
                  <a:gd name="connsiteY355" fmla="*/ 219197 h 227999"/>
                  <a:gd name="connsiteX356" fmla="*/ 37766 w 202527"/>
                  <a:gd name="connsiteY356" fmla="*/ 218809 h 227999"/>
                  <a:gd name="connsiteX357" fmla="*/ 36969 w 202527"/>
                  <a:gd name="connsiteY357" fmla="*/ 216916 h 227999"/>
                  <a:gd name="connsiteX358" fmla="*/ 37172 w 202527"/>
                  <a:gd name="connsiteY358" fmla="*/ 214110 h 227999"/>
                  <a:gd name="connsiteX359" fmla="*/ 38381 w 202527"/>
                  <a:gd name="connsiteY359" fmla="*/ 210391 h 227999"/>
                  <a:gd name="connsiteX360" fmla="*/ 38718 w 202527"/>
                  <a:gd name="connsiteY360" fmla="*/ 207658 h 227999"/>
                  <a:gd name="connsiteX361" fmla="*/ 38180 w 202527"/>
                  <a:gd name="connsiteY361" fmla="*/ 205916 h 227999"/>
                  <a:gd name="connsiteX362" fmla="*/ 38897 w 202527"/>
                  <a:gd name="connsiteY362" fmla="*/ 203303 h 227999"/>
                  <a:gd name="connsiteX363" fmla="*/ 40867 w 202527"/>
                  <a:gd name="connsiteY363" fmla="*/ 199818 h 227999"/>
                  <a:gd name="connsiteX364" fmla="*/ 42182 w 202527"/>
                  <a:gd name="connsiteY364" fmla="*/ 196136 h 227999"/>
                  <a:gd name="connsiteX365" fmla="*/ 42838 w 202527"/>
                  <a:gd name="connsiteY365" fmla="*/ 192255 h 227999"/>
                  <a:gd name="connsiteX366" fmla="*/ 43792 w 202527"/>
                  <a:gd name="connsiteY366" fmla="*/ 189722 h 227999"/>
                  <a:gd name="connsiteX367" fmla="*/ 45667 w 202527"/>
                  <a:gd name="connsiteY367" fmla="*/ 187945 h 227999"/>
                  <a:gd name="connsiteX368" fmla="*/ 50117 w 202527"/>
                  <a:gd name="connsiteY368" fmla="*/ 182971 h 227999"/>
                  <a:gd name="connsiteX369" fmla="*/ 50478 w 202527"/>
                  <a:gd name="connsiteY369" fmla="*/ 182596 h 227999"/>
                  <a:gd name="connsiteX370" fmla="*/ 50357 w 202527"/>
                  <a:gd name="connsiteY370" fmla="*/ 180111 h 227999"/>
                  <a:gd name="connsiteX371" fmla="*/ 49158 w 202527"/>
                  <a:gd name="connsiteY371" fmla="*/ 179760 h 227999"/>
                  <a:gd name="connsiteX372" fmla="*/ 47403 w 202527"/>
                  <a:gd name="connsiteY372" fmla="*/ 179046 h 227999"/>
                  <a:gd name="connsiteX373" fmla="*/ 42935 w 202527"/>
                  <a:gd name="connsiteY373" fmla="*/ 178162 h 227999"/>
                  <a:gd name="connsiteX374" fmla="*/ 38772 w 202527"/>
                  <a:gd name="connsiteY374" fmla="*/ 177595 h 227999"/>
                  <a:gd name="connsiteX375" fmla="*/ 36882 w 202527"/>
                  <a:gd name="connsiteY375" fmla="*/ 176892 h 227999"/>
                  <a:gd name="connsiteX376" fmla="*/ 35226 w 202527"/>
                  <a:gd name="connsiteY376" fmla="*/ 175011 h 227999"/>
                  <a:gd name="connsiteX377" fmla="*/ 34200 w 202527"/>
                  <a:gd name="connsiteY377" fmla="*/ 174986 h 227999"/>
                  <a:gd name="connsiteX378" fmla="*/ 32192 w 202527"/>
                  <a:gd name="connsiteY378" fmla="*/ 175659 h 227999"/>
                  <a:gd name="connsiteX379" fmla="*/ 29683 w 202527"/>
                  <a:gd name="connsiteY379" fmla="*/ 176114 h 227999"/>
                  <a:gd name="connsiteX380" fmla="*/ 27859 w 202527"/>
                  <a:gd name="connsiteY380" fmla="*/ 175716 h 227999"/>
                  <a:gd name="connsiteX381" fmla="*/ 26716 w 202527"/>
                  <a:gd name="connsiteY381" fmla="*/ 175793 h 227999"/>
                  <a:gd name="connsiteX382" fmla="*/ 26075 w 202527"/>
                  <a:gd name="connsiteY382" fmla="*/ 176140 h 227999"/>
                  <a:gd name="connsiteX383" fmla="*/ 25753 w 202527"/>
                  <a:gd name="connsiteY383" fmla="*/ 175833 h 227999"/>
                  <a:gd name="connsiteX384" fmla="*/ 25295 w 202527"/>
                  <a:gd name="connsiteY384" fmla="*/ 174220 h 227999"/>
                  <a:gd name="connsiteX385" fmla="*/ 24341 w 202527"/>
                  <a:gd name="connsiteY385" fmla="*/ 173798 h 227999"/>
                  <a:gd name="connsiteX386" fmla="*/ 22857 w 202527"/>
                  <a:gd name="connsiteY386" fmla="*/ 173429 h 227999"/>
                  <a:gd name="connsiteX387" fmla="*/ 21935 w 202527"/>
                  <a:gd name="connsiteY387" fmla="*/ 173589 h 227999"/>
                  <a:gd name="connsiteX388" fmla="*/ 21298 w 202527"/>
                  <a:gd name="connsiteY388" fmla="*/ 174390 h 227999"/>
                  <a:gd name="connsiteX389" fmla="*/ 20316 w 202527"/>
                  <a:gd name="connsiteY389" fmla="*/ 174955 h 227999"/>
                  <a:gd name="connsiteX390" fmla="*/ 19413 w 202527"/>
                  <a:gd name="connsiteY390" fmla="*/ 174771 h 227999"/>
                  <a:gd name="connsiteX391" fmla="*/ 16586 w 202527"/>
                  <a:gd name="connsiteY391" fmla="*/ 171044 h 227999"/>
                  <a:gd name="connsiteX392" fmla="*/ 15858 w 202527"/>
                  <a:gd name="connsiteY392" fmla="*/ 170219 h 227999"/>
                  <a:gd name="connsiteX393" fmla="*/ 15673 w 202527"/>
                  <a:gd name="connsiteY393" fmla="*/ 169460 h 227999"/>
                  <a:gd name="connsiteX394" fmla="*/ 14965 w 202527"/>
                  <a:gd name="connsiteY394" fmla="*/ 168071 h 227999"/>
                  <a:gd name="connsiteX395" fmla="*/ 13280 w 202527"/>
                  <a:gd name="connsiteY395" fmla="*/ 166689 h 227999"/>
                  <a:gd name="connsiteX396" fmla="*/ 11603 w 202527"/>
                  <a:gd name="connsiteY396" fmla="*/ 166251 h 227999"/>
                  <a:gd name="connsiteX397" fmla="*/ 10765 w 202527"/>
                  <a:gd name="connsiteY397" fmla="*/ 166406 h 227999"/>
                  <a:gd name="connsiteX398" fmla="*/ 10855 w 202527"/>
                  <a:gd name="connsiteY398" fmla="*/ 164686 h 227999"/>
                  <a:gd name="connsiteX399" fmla="*/ 11516 w 202527"/>
                  <a:gd name="connsiteY399" fmla="*/ 162190 h 227999"/>
                  <a:gd name="connsiteX400" fmla="*/ 12144 w 202527"/>
                  <a:gd name="connsiteY400" fmla="*/ 160886 h 227999"/>
                  <a:gd name="connsiteX401" fmla="*/ 12982 w 202527"/>
                  <a:gd name="connsiteY401" fmla="*/ 159820 h 227999"/>
                  <a:gd name="connsiteX402" fmla="*/ 13870 w 202527"/>
                  <a:gd name="connsiteY402" fmla="*/ 159079 h 227999"/>
                  <a:gd name="connsiteX403" fmla="*/ 14069 w 202527"/>
                  <a:gd name="connsiteY403" fmla="*/ 157738 h 227999"/>
                  <a:gd name="connsiteX404" fmla="*/ 13926 w 202527"/>
                  <a:gd name="connsiteY404" fmla="*/ 156469 h 227999"/>
                  <a:gd name="connsiteX405" fmla="*/ 12900 w 202527"/>
                  <a:gd name="connsiteY405" fmla="*/ 156272 h 227999"/>
                  <a:gd name="connsiteX406" fmla="*/ 10329 w 202527"/>
                  <a:gd name="connsiteY406" fmla="*/ 155334 h 227999"/>
                  <a:gd name="connsiteX407" fmla="*/ 8813 w 202527"/>
                  <a:gd name="connsiteY407" fmla="*/ 154346 h 227999"/>
                  <a:gd name="connsiteX408" fmla="*/ 7681 w 202527"/>
                  <a:gd name="connsiteY408" fmla="*/ 153108 h 227999"/>
                  <a:gd name="connsiteX409" fmla="*/ 6206 w 202527"/>
                  <a:gd name="connsiteY409" fmla="*/ 151401 h 227999"/>
                  <a:gd name="connsiteX410" fmla="*/ 5578 w 202527"/>
                  <a:gd name="connsiteY410" fmla="*/ 149667 h 227999"/>
                  <a:gd name="connsiteX411" fmla="*/ 5546 w 202527"/>
                  <a:gd name="connsiteY411" fmla="*/ 147938 h 227999"/>
                  <a:gd name="connsiteX412" fmla="*/ 5727 w 202527"/>
                  <a:gd name="connsiteY412" fmla="*/ 147164 h 227999"/>
                  <a:gd name="connsiteX413" fmla="*/ 5833 w 202527"/>
                  <a:gd name="connsiteY413" fmla="*/ 146633 h 227999"/>
                  <a:gd name="connsiteX414" fmla="*/ 7023 w 202527"/>
                  <a:gd name="connsiteY414" fmla="*/ 143934 h 227999"/>
                  <a:gd name="connsiteX415" fmla="*/ 11210 w 202527"/>
                  <a:gd name="connsiteY415" fmla="*/ 141516 h 227999"/>
                  <a:gd name="connsiteX416" fmla="*/ 10749 w 202527"/>
                  <a:gd name="connsiteY416" fmla="*/ 139079 h 227999"/>
                  <a:gd name="connsiteX417" fmla="*/ 10689 w 202527"/>
                  <a:gd name="connsiteY417" fmla="*/ 137584 h 227999"/>
                  <a:gd name="connsiteX418" fmla="*/ 9672 w 202527"/>
                  <a:gd name="connsiteY418" fmla="*/ 136605 h 227999"/>
                  <a:gd name="connsiteX419" fmla="*/ 7640 w 202527"/>
                  <a:gd name="connsiteY419" fmla="*/ 136209 h 227999"/>
                  <a:gd name="connsiteX420" fmla="*/ 7102 w 202527"/>
                  <a:gd name="connsiteY420" fmla="*/ 135530 h 227999"/>
                  <a:gd name="connsiteX421" fmla="*/ 6876 w 202527"/>
                  <a:gd name="connsiteY421" fmla="*/ 134867 h 227999"/>
                  <a:gd name="connsiteX422" fmla="*/ 8368 w 202527"/>
                  <a:gd name="connsiteY422" fmla="*/ 133375 h 227999"/>
                  <a:gd name="connsiteX423" fmla="*/ 6567 w 202527"/>
                  <a:gd name="connsiteY423" fmla="*/ 132195 h 227999"/>
                  <a:gd name="connsiteX424" fmla="*/ 5792 w 202527"/>
                  <a:gd name="connsiteY424" fmla="*/ 130974 h 227999"/>
                  <a:gd name="connsiteX425" fmla="*/ 3282 w 202527"/>
                  <a:gd name="connsiteY425" fmla="*/ 129432 h 227999"/>
                  <a:gd name="connsiteX426" fmla="*/ 3017 w 202527"/>
                  <a:gd name="connsiteY426" fmla="*/ 128901 h 227999"/>
                  <a:gd name="connsiteX427" fmla="*/ 4222 w 202527"/>
                  <a:gd name="connsiteY427" fmla="*/ 124399 h 227999"/>
                  <a:gd name="connsiteX428" fmla="*/ 3302 w 202527"/>
                  <a:gd name="connsiteY428" fmla="*/ 123084 h 227999"/>
                  <a:gd name="connsiteX429" fmla="*/ 2157 w 202527"/>
                  <a:gd name="connsiteY429" fmla="*/ 122413 h 227999"/>
                  <a:gd name="connsiteX430" fmla="*/ 823 w 202527"/>
                  <a:gd name="connsiteY430" fmla="*/ 122083 h 227999"/>
                  <a:gd name="connsiteX431" fmla="*/ 214 w 202527"/>
                  <a:gd name="connsiteY431" fmla="*/ 121457 h 227999"/>
                  <a:gd name="connsiteX432" fmla="*/ 0 w 202527"/>
                  <a:gd name="connsiteY432" fmla="*/ 120742 h 227999"/>
                  <a:gd name="connsiteX433" fmla="*/ 240 w 202527"/>
                  <a:gd name="connsiteY433" fmla="*/ 120299 h 227999"/>
                  <a:gd name="connsiteX434" fmla="*/ 1807 w 202527"/>
                  <a:gd name="connsiteY434" fmla="*/ 120430 h 227999"/>
                  <a:gd name="connsiteX435" fmla="*/ 2289 w 202527"/>
                  <a:gd name="connsiteY435" fmla="*/ 119966 h 227999"/>
                  <a:gd name="connsiteX436" fmla="*/ 6025 w 202527"/>
                  <a:gd name="connsiteY436" fmla="*/ 117313 h 227999"/>
                  <a:gd name="connsiteX437" fmla="*/ 6178 w 202527"/>
                  <a:gd name="connsiteY437" fmla="*/ 116803 h 227999"/>
                  <a:gd name="connsiteX438" fmla="*/ 5658 w 202527"/>
                  <a:gd name="connsiteY438" fmla="*/ 116514 h 227999"/>
                  <a:gd name="connsiteX439" fmla="*/ 4973 w 202527"/>
                  <a:gd name="connsiteY439" fmla="*/ 116360 h 227999"/>
                  <a:gd name="connsiteX440" fmla="*/ 4805 w 202527"/>
                  <a:gd name="connsiteY440" fmla="*/ 115802 h 227999"/>
                  <a:gd name="connsiteX441" fmla="*/ 4829 w 202527"/>
                  <a:gd name="connsiteY441" fmla="*/ 115067 h 227999"/>
                  <a:gd name="connsiteX442" fmla="*/ 6826 w 202527"/>
                  <a:gd name="connsiteY442" fmla="*/ 111235 h 227999"/>
                  <a:gd name="connsiteX443" fmla="*/ 7416 w 202527"/>
                  <a:gd name="connsiteY443" fmla="*/ 109599 h 227999"/>
                  <a:gd name="connsiteX444" fmla="*/ 7547 w 202527"/>
                  <a:gd name="connsiteY444" fmla="*/ 108442 h 227999"/>
                  <a:gd name="connsiteX445" fmla="*/ 7424 w 202527"/>
                  <a:gd name="connsiteY445" fmla="*/ 107299 h 227999"/>
                  <a:gd name="connsiteX446" fmla="*/ 6282 w 202527"/>
                  <a:gd name="connsiteY446" fmla="*/ 105500 h 227999"/>
                  <a:gd name="connsiteX447" fmla="*/ 5165 w 202527"/>
                  <a:gd name="connsiteY447" fmla="*/ 104064 h 227999"/>
                  <a:gd name="connsiteX448" fmla="*/ 5127 w 202527"/>
                  <a:gd name="connsiteY448" fmla="*/ 102920 h 227999"/>
                  <a:gd name="connsiteX449" fmla="*/ 4317 w 202527"/>
                  <a:gd name="connsiteY449" fmla="*/ 102318 h 227999"/>
                  <a:gd name="connsiteX450" fmla="*/ 2013 w 202527"/>
                  <a:gd name="connsiteY450" fmla="*/ 99249 h 227999"/>
                  <a:gd name="connsiteX451" fmla="*/ 2017 w 202527"/>
                  <a:gd name="connsiteY451" fmla="*/ 98061 h 227999"/>
                  <a:gd name="connsiteX452" fmla="*/ 3319 w 202527"/>
                  <a:gd name="connsiteY452" fmla="*/ 97138 h 227999"/>
                  <a:gd name="connsiteX453" fmla="*/ 5137 w 202527"/>
                  <a:gd name="connsiteY453" fmla="*/ 96549 h 227999"/>
                  <a:gd name="connsiteX454" fmla="*/ 5742 w 202527"/>
                  <a:gd name="connsiteY454" fmla="*/ 96063 h 227999"/>
                  <a:gd name="connsiteX455" fmla="*/ 6832 w 202527"/>
                  <a:gd name="connsiteY455" fmla="*/ 95757 h 227999"/>
                  <a:gd name="connsiteX456" fmla="*/ 9720 w 202527"/>
                  <a:gd name="connsiteY456" fmla="*/ 96644 h 227999"/>
                  <a:gd name="connsiteX457" fmla="*/ 11015 w 202527"/>
                  <a:gd name="connsiteY457" fmla="*/ 97413 h 227999"/>
                  <a:gd name="connsiteX458" fmla="*/ 11380 w 202527"/>
                  <a:gd name="connsiteY458" fmla="*/ 97254 h 227999"/>
                  <a:gd name="connsiteX459" fmla="*/ 12548 w 202527"/>
                  <a:gd name="connsiteY459" fmla="*/ 96417 h 227999"/>
                  <a:gd name="connsiteX460" fmla="*/ 14595 w 202527"/>
                  <a:gd name="connsiteY460" fmla="*/ 96549 h 227999"/>
                  <a:gd name="connsiteX461" fmla="*/ 19553 w 202527"/>
                  <a:gd name="connsiteY461" fmla="*/ 94867 h 227999"/>
                  <a:gd name="connsiteX462" fmla="*/ 20292 w 202527"/>
                  <a:gd name="connsiteY462" fmla="*/ 94058 h 227999"/>
                  <a:gd name="connsiteX463" fmla="*/ 20849 w 202527"/>
                  <a:gd name="connsiteY463" fmla="*/ 93198 h 227999"/>
                  <a:gd name="connsiteX464" fmla="*/ 20894 w 202527"/>
                  <a:gd name="connsiteY464" fmla="*/ 92820 h 227999"/>
                  <a:gd name="connsiteX465" fmla="*/ 18975 w 202527"/>
                  <a:gd name="connsiteY465" fmla="*/ 91164 h 227999"/>
                  <a:gd name="connsiteX466" fmla="*/ 18916 w 202527"/>
                  <a:gd name="connsiteY466" fmla="*/ 90551 h 227999"/>
                  <a:gd name="connsiteX467" fmla="*/ 19171 w 202527"/>
                  <a:gd name="connsiteY467" fmla="*/ 89860 h 227999"/>
                  <a:gd name="connsiteX468" fmla="*/ 19713 w 202527"/>
                  <a:gd name="connsiteY468" fmla="*/ 89314 h 227999"/>
                  <a:gd name="connsiteX469" fmla="*/ 20849 w 202527"/>
                  <a:gd name="connsiteY469" fmla="*/ 88943 h 227999"/>
                  <a:gd name="connsiteX470" fmla="*/ 22058 w 202527"/>
                  <a:gd name="connsiteY470" fmla="*/ 88215 h 227999"/>
                  <a:gd name="connsiteX471" fmla="*/ 24759 w 202527"/>
                  <a:gd name="connsiteY471" fmla="*/ 86149 h 227999"/>
                  <a:gd name="connsiteX472" fmla="*/ 25697 w 202527"/>
                  <a:gd name="connsiteY472" fmla="*/ 84355 h 227999"/>
                  <a:gd name="connsiteX473" fmla="*/ 25984 w 202527"/>
                  <a:gd name="connsiteY473" fmla="*/ 82411 h 227999"/>
                  <a:gd name="connsiteX474" fmla="*/ 26040 w 202527"/>
                  <a:gd name="connsiteY474" fmla="*/ 80964 h 227999"/>
                  <a:gd name="connsiteX475" fmla="*/ 25304 w 202527"/>
                  <a:gd name="connsiteY475" fmla="*/ 79812 h 227999"/>
                  <a:gd name="connsiteX476" fmla="*/ 24559 w 202527"/>
                  <a:gd name="connsiteY476" fmla="*/ 79066 h 227999"/>
                  <a:gd name="connsiteX477" fmla="*/ 23540 w 202527"/>
                  <a:gd name="connsiteY477" fmla="*/ 79179 h 227999"/>
                  <a:gd name="connsiteX478" fmla="*/ 21559 w 202527"/>
                  <a:gd name="connsiteY478" fmla="*/ 79120 h 227999"/>
                  <a:gd name="connsiteX479" fmla="*/ 19709 w 202527"/>
                  <a:gd name="connsiteY479" fmla="*/ 78473 h 227999"/>
                  <a:gd name="connsiteX480" fmla="*/ 18694 w 202527"/>
                  <a:gd name="connsiteY480" fmla="*/ 77426 h 227999"/>
                  <a:gd name="connsiteX481" fmla="*/ 18444 w 202527"/>
                  <a:gd name="connsiteY481" fmla="*/ 76505 h 227999"/>
                  <a:gd name="connsiteX482" fmla="*/ 18903 w 202527"/>
                  <a:gd name="connsiteY482" fmla="*/ 75925 h 227999"/>
                  <a:gd name="connsiteX483" fmla="*/ 19044 w 202527"/>
                  <a:gd name="connsiteY483" fmla="*/ 75212 h 227999"/>
                  <a:gd name="connsiteX484" fmla="*/ 18748 w 202527"/>
                  <a:gd name="connsiteY484" fmla="*/ 74495 h 227999"/>
                  <a:gd name="connsiteX485" fmla="*/ 18867 w 202527"/>
                  <a:gd name="connsiteY485" fmla="*/ 73893 h 227999"/>
                  <a:gd name="connsiteX486" fmla="*/ 19700 w 202527"/>
                  <a:gd name="connsiteY486" fmla="*/ 73410 h 227999"/>
                  <a:gd name="connsiteX487" fmla="*/ 25554 w 202527"/>
                  <a:gd name="connsiteY487" fmla="*/ 73426 h 227999"/>
                  <a:gd name="connsiteX488" fmla="*/ 25993 w 202527"/>
                  <a:gd name="connsiteY488" fmla="*/ 72895 h 227999"/>
                  <a:gd name="connsiteX489" fmla="*/ 26388 w 202527"/>
                  <a:gd name="connsiteY489" fmla="*/ 70108 h 227999"/>
                  <a:gd name="connsiteX490" fmla="*/ 27852 w 202527"/>
                  <a:gd name="connsiteY490" fmla="*/ 65859 h 227999"/>
                  <a:gd name="connsiteX491" fmla="*/ 29232 w 202527"/>
                  <a:gd name="connsiteY491" fmla="*/ 63490 h 227999"/>
                  <a:gd name="connsiteX492" fmla="*/ 29463 w 202527"/>
                  <a:gd name="connsiteY492" fmla="*/ 62493 h 227999"/>
                  <a:gd name="connsiteX493" fmla="*/ 29441 w 202527"/>
                  <a:gd name="connsiteY493" fmla="*/ 56866 h 227999"/>
                  <a:gd name="connsiteX494" fmla="*/ 29625 w 202527"/>
                  <a:gd name="connsiteY494" fmla="*/ 54011 h 227999"/>
                  <a:gd name="connsiteX495" fmla="*/ 28625 w 202527"/>
                  <a:gd name="connsiteY495" fmla="*/ 52668 h 227999"/>
                  <a:gd name="connsiteX496" fmla="*/ 26442 w 202527"/>
                  <a:gd name="connsiteY496" fmla="*/ 51197 h 227999"/>
                  <a:gd name="connsiteX497" fmla="*/ 26906 w 202527"/>
                  <a:gd name="connsiteY497" fmla="*/ 48132 h 227999"/>
                  <a:gd name="connsiteX498" fmla="*/ 27632 w 202527"/>
                  <a:gd name="connsiteY498" fmla="*/ 45741 h 227999"/>
                  <a:gd name="connsiteX499" fmla="*/ 29828 w 202527"/>
                  <a:gd name="connsiteY499" fmla="*/ 42797 h 227999"/>
                  <a:gd name="connsiteX500" fmla="*/ 31570 w 202527"/>
                  <a:gd name="connsiteY500" fmla="*/ 41987 h 227999"/>
                  <a:gd name="connsiteX501" fmla="*/ 39176 w 202527"/>
                  <a:gd name="connsiteY501" fmla="*/ 41506 h 227999"/>
                  <a:gd name="connsiteX502" fmla="*/ 47580 w 202527"/>
                  <a:gd name="connsiteY502" fmla="*/ 41704 h 227999"/>
                  <a:gd name="connsiteX503" fmla="*/ 51069 w 202527"/>
                  <a:gd name="connsiteY503" fmla="*/ 46150 h 227999"/>
                  <a:gd name="connsiteX504" fmla="*/ 49774 w 202527"/>
                  <a:gd name="connsiteY504" fmla="*/ 48432 h 227999"/>
                  <a:gd name="connsiteX505" fmla="*/ 51814 w 202527"/>
                  <a:gd name="connsiteY505" fmla="*/ 49494 h 227999"/>
                  <a:gd name="connsiteX506" fmla="*/ 52797 w 202527"/>
                  <a:gd name="connsiteY506" fmla="*/ 49106 h 227999"/>
                  <a:gd name="connsiteX507" fmla="*/ 53544 w 202527"/>
                  <a:gd name="connsiteY507" fmla="*/ 47121 h 227999"/>
                  <a:gd name="connsiteX508" fmla="*/ 54043 w 202527"/>
                  <a:gd name="connsiteY508" fmla="*/ 44922 h 227999"/>
                  <a:gd name="connsiteX509" fmla="*/ 54758 w 202527"/>
                  <a:gd name="connsiteY509" fmla="*/ 44256 h 227999"/>
                  <a:gd name="connsiteX510" fmla="*/ 57356 w 202527"/>
                  <a:gd name="connsiteY510" fmla="*/ 45900 h 227999"/>
                  <a:gd name="connsiteX511" fmla="*/ 58269 w 202527"/>
                  <a:gd name="connsiteY511" fmla="*/ 47026 h 227999"/>
                  <a:gd name="connsiteX512" fmla="*/ 58325 w 202527"/>
                  <a:gd name="connsiteY512" fmla="*/ 50644 h 227999"/>
                  <a:gd name="connsiteX513" fmla="*/ 59282 w 202527"/>
                  <a:gd name="connsiteY513" fmla="*/ 45743 h 227999"/>
                  <a:gd name="connsiteX514" fmla="*/ 58569 w 202527"/>
                  <a:gd name="connsiteY514" fmla="*/ 42307 h 227999"/>
                  <a:gd name="connsiteX515" fmla="*/ 59059 w 202527"/>
                  <a:gd name="connsiteY515" fmla="*/ 38972 h 227999"/>
                  <a:gd name="connsiteX516" fmla="*/ 60102 w 202527"/>
                  <a:gd name="connsiteY516" fmla="*/ 37235 h 227999"/>
                  <a:gd name="connsiteX517" fmla="*/ 61061 w 202527"/>
                  <a:gd name="connsiteY517" fmla="*/ 36130 h 227999"/>
                  <a:gd name="connsiteX518" fmla="*/ 67226 w 202527"/>
                  <a:gd name="connsiteY518" fmla="*/ 37320 h 227999"/>
                  <a:gd name="connsiteX519" fmla="*/ 74032 w 202527"/>
                  <a:gd name="connsiteY519" fmla="*/ 36706 h 227999"/>
                  <a:gd name="connsiteX520" fmla="*/ 76606 w 202527"/>
                  <a:gd name="connsiteY520" fmla="*/ 37992 h 227999"/>
                  <a:gd name="connsiteX521" fmla="*/ 82430 w 202527"/>
                  <a:gd name="connsiteY521" fmla="*/ 44428 h 227999"/>
                  <a:gd name="connsiteX522" fmla="*/ 84372 w 202527"/>
                  <a:gd name="connsiteY522" fmla="*/ 45480 h 227999"/>
                  <a:gd name="connsiteX523" fmla="*/ 86822 w 202527"/>
                  <a:gd name="connsiteY523" fmla="*/ 45811 h 227999"/>
                  <a:gd name="connsiteX524" fmla="*/ 83445 w 202527"/>
                  <a:gd name="connsiteY524" fmla="*/ 44437 h 227999"/>
                  <a:gd name="connsiteX525" fmla="*/ 76386 w 202527"/>
                  <a:gd name="connsiteY525" fmla="*/ 36610 h 227999"/>
                  <a:gd name="connsiteX526" fmla="*/ 74272 w 202527"/>
                  <a:gd name="connsiteY526" fmla="*/ 35639 h 227999"/>
                  <a:gd name="connsiteX527" fmla="*/ 71027 w 202527"/>
                  <a:gd name="connsiteY527" fmla="*/ 35344 h 227999"/>
                  <a:gd name="connsiteX528" fmla="*/ 69003 w 202527"/>
                  <a:gd name="connsiteY528" fmla="*/ 34578 h 227999"/>
                  <a:gd name="connsiteX529" fmla="*/ 67727 w 202527"/>
                  <a:gd name="connsiteY529" fmla="*/ 33392 h 227999"/>
                  <a:gd name="connsiteX530" fmla="*/ 67353 w 202527"/>
                  <a:gd name="connsiteY530" fmla="*/ 32332 h 227999"/>
                  <a:gd name="connsiteX531" fmla="*/ 67423 w 202527"/>
                  <a:gd name="connsiteY531" fmla="*/ 24417 h 227999"/>
                  <a:gd name="connsiteX532" fmla="*/ 66205 w 202527"/>
                  <a:gd name="connsiteY532" fmla="*/ 23237 h 227999"/>
                  <a:gd name="connsiteX533" fmla="*/ 64631 w 202527"/>
                  <a:gd name="connsiteY533" fmla="*/ 22826 h 227999"/>
                  <a:gd name="connsiteX534" fmla="*/ 63650 w 202527"/>
                  <a:gd name="connsiteY534" fmla="*/ 23369 h 227999"/>
                  <a:gd name="connsiteX535" fmla="*/ 61636 w 202527"/>
                  <a:gd name="connsiteY535" fmla="*/ 23376 h 227999"/>
                  <a:gd name="connsiteX536" fmla="*/ 61212 w 202527"/>
                  <a:gd name="connsiteY536" fmla="*/ 21579 h 227999"/>
                  <a:gd name="connsiteX537" fmla="*/ 61704 w 202527"/>
                  <a:gd name="connsiteY537" fmla="*/ 20247 h 227999"/>
                  <a:gd name="connsiteX538" fmla="*/ 65753 w 202527"/>
                  <a:gd name="connsiteY538" fmla="*/ 19336 h 227999"/>
                  <a:gd name="connsiteX539" fmla="*/ 68422 w 202527"/>
                  <a:gd name="connsiteY539" fmla="*/ 18114 h 227999"/>
                  <a:gd name="connsiteX540" fmla="*/ 68541 w 202527"/>
                  <a:gd name="connsiteY540" fmla="*/ 15954 h 227999"/>
                  <a:gd name="connsiteX541" fmla="*/ 66855 w 202527"/>
                  <a:gd name="connsiteY541" fmla="*/ 14254 h 227999"/>
                  <a:gd name="connsiteX542" fmla="*/ 64836 w 202527"/>
                  <a:gd name="connsiteY542" fmla="*/ 11133 h 227999"/>
                  <a:gd name="connsiteX543" fmla="*/ 62463 w 202527"/>
                  <a:gd name="connsiteY543" fmla="*/ 8196 h 227999"/>
                  <a:gd name="connsiteX544" fmla="*/ 56334 w 202527"/>
                  <a:gd name="connsiteY544" fmla="*/ 0 h 227999"/>
                  <a:gd name="connsiteX545" fmla="*/ 57358 w 202527"/>
                  <a:gd name="connsiteY545" fmla="*/ 103 h 227999"/>
                  <a:gd name="connsiteX546" fmla="*/ 56310 w 202527"/>
                  <a:gd name="connsiteY546" fmla="*/ 1353 h 227999"/>
                  <a:gd name="connsiteX547" fmla="*/ 56008 w 202527"/>
                  <a:gd name="connsiteY547" fmla="*/ 2228 h 227999"/>
                  <a:gd name="connsiteX548" fmla="*/ 55583 w 202527"/>
                  <a:gd name="connsiteY548" fmla="*/ 3975 h 227999"/>
                  <a:gd name="connsiteX549" fmla="*/ 55775 w 202527"/>
                  <a:gd name="connsiteY549" fmla="*/ 4882 h 227999"/>
                  <a:gd name="connsiteX550" fmla="*/ 61296 w 202527"/>
                  <a:gd name="connsiteY550" fmla="*/ 5131 h 227999"/>
                  <a:gd name="connsiteX551" fmla="*/ 60655 w 202527"/>
                  <a:gd name="connsiteY551" fmla="*/ 5940 h 227999"/>
                  <a:gd name="connsiteX552" fmla="*/ 55056 w 202527"/>
                  <a:gd name="connsiteY552" fmla="*/ 6486 h 227999"/>
                  <a:gd name="connsiteX553" fmla="*/ 54179 w 202527"/>
                  <a:gd name="connsiteY553" fmla="*/ 8345 h 227999"/>
                  <a:gd name="connsiteX554" fmla="*/ 53669 w 202527"/>
                  <a:gd name="connsiteY554" fmla="*/ 8954 h 227999"/>
                  <a:gd name="connsiteX555" fmla="*/ 53913 w 202527"/>
                  <a:gd name="connsiteY555" fmla="*/ 4623 h 227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</a:cxnLst>
                <a:rect l="l" t="t" r="r" b="b"/>
                <a:pathLst>
                  <a:path w="202527" h="227999">
                    <a:moveTo>
                      <a:pt x="176238" y="28478"/>
                    </a:moveTo>
                    <a:lnTo>
                      <a:pt x="180907" y="31292"/>
                    </a:lnTo>
                    <a:lnTo>
                      <a:pt x="184723" y="33847"/>
                    </a:lnTo>
                    <a:lnTo>
                      <a:pt x="184431" y="34795"/>
                    </a:lnTo>
                    <a:lnTo>
                      <a:pt x="184772" y="36258"/>
                    </a:lnTo>
                    <a:lnTo>
                      <a:pt x="183854" y="36149"/>
                    </a:lnTo>
                    <a:lnTo>
                      <a:pt x="181117" y="36490"/>
                    </a:lnTo>
                    <a:lnTo>
                      <a:pt x="178406" y="36007"/>
                    </a:lnTo>
                    <a:lnTo>
                      <a:pt x="177884" y="34192"/>
                    </a:lnTo>
                    <a:lnTo>
                      <a:pt x="178316" y="32443"/>
                    </a:lnTo>
                    <a:lnTo>
                      <a:pt x="177227" y="31240"/>
                    </a:lnTo>
                    <a:lnTo>
                      <a:pt x="176225" y="30534"/>
                    </a:lnTo>
                    <a:lnTo>
                      <a:pt x="176077" y="29524"/>
                    </a:lnTo>
                    <a:close/>
                    <a:moveTo>
                      <a:pt x="115590" y="16104"/>
                    </a:moveTo>
                    <a:lnTo>
                      <a:pt x="118877" y="17086"/>
                    </a:lnTo>
                    <a:lnTo>
                      <a:pt x="119909" y="19005"/>
                    </a:lnTo>
                    <a:lnTo>
                      <a:pt x="119965" y="19628"/>
                    </a:lnTo>
                    <a:lnTo>
                      <a:pt x="116570" y="19687"/>
                    </a:lnTo>
                    <a:lnTo>
                      <a:pt x="115274" y="18467"/>
                    </a:lnTo>
                    <a:lnTo>
                      <a:pt x="113970" y="18157"/>
                    </a:lnTo>
                    <a:lnTo>
                      <a:pt x="114672" y="16652"/>
                    </a:lnTo>
                    <a:close/>
                    <a:moveTo>
                      <a:pt x="167283" y="11030"/>
                    </a:moveTo>
                    <a:lnTo>
                      <a:pt x="167888" y="12552"/>
                    </a:lnTo>
                    <a:lnTo>
                      <a:pt x="168797" y="13599"/>
                    </a:lnTo>
                    <a:lnTo>
                      <a:pt x="171999" y="14772"/>
                    </a:lnTo>
                    <a:lnTo>
                      <a:pt x="172477" y="15305"/>
                    </a:lnTo>
                    <a:lnTo>
                      <a:pt x="172766" y="16042"/>
                    </a:lnTo>
                    <a:lnTo>
                      <a:pt x="171276" y="17485"/>
                    </a:lnTo>
                    <a:lnTo>
                      <a:pt x="170771" y="18224"/>
                    </a:lnTo>
                    <a:lnTo>
                      <a:pt x="171244" y="19409"/>
                    </a:lnTo>
                    <a:lnTo>
                      <a:pt x="173617" y="20703"/>
                    </a:lnTo>
                    <a:lnTo>
                      <a:pt x="174170" y="22753"/>
                    </a:lnTo>
                    <a:lnTo>
                      <a:pt x="173576" y="23797"/>
                    </a:lnTo>
                    <a:lnTo>
                      <a:pt x="171090" y="22060"/>
                    </a:lnTo>
                    <a:lnTo>
                      <a:pt x="168594" y="22084"/>
                    </a:lnTo>
                    <a:lnTo>
                      <a:pt x="167102" y="24759"/>
                    </a:lnTo>
                    <a:lnTo>
                      <a:pt x="165992" y="24872"/>
                    </a:lnTo>
                    <a:lnTo>
                      <a:pt x="162138" y="22442"/>
                    </a:lnTo>
                    <a:lnTo>
                      <a:pt x="161520" y="21256"/>
                    </a:lnTo>
                    <a:lnTo>
                      <a:pt x="161393" y="20270"/>
                    </a:lnTo>
                    <a:lnTo>
                      <a:pt x="161943" y="16850"/>
                    </a:lnTo>
                    <a:lnTo>
                      <a:pt x="161842" y="15773"/>
                    </a:lnTo>
                    <a:lnTo>
                      <a:pt x="163053" y="14596"/>
                    </a:lnTo>
                    <a:lnTo>
                      <a:pt x="163241" y="12894"/>
                    </a:lnTo>
                    <a:lnTo>
                      <a:pt x="165383" y="11098"/>
                    </a:lnTo>
                    <a:close/>
                    <a:moveTo>
                      <a:pt x="58651" y="9162"/>
                    </a:moveTo>
                    <a:lnTo>
                      <a:pt x="60055" y="9517"/>
                    </a:lnTo>
                    <a:lnTo>
                      <a:pt x="60374" y="10621"/>
                    </a:lnTo>
                    <a:lnTo>
                      <a:pt x="59513" y="11371"/>
                    </a:lnTo>
                    <a:lnTo>
                      <a:pt x="57409" y="11283"/>
                    </a:lnTo>
                    <a:lnTo>
                      <a:pt x="56228" y="10577"/>
                    </a:lnTo>
                    <a:lnTo>
                      <a:pt x="56611" y="9825"/>
                    </a:lnTo>
                    <a:lnTo>
                      <a:pt x="57727" y="9251"/>
                    </a:lnTo>
                    <a:close/>
                    <a:moveTo>
                      <a:pt x="62197" y="4773"/>
                    </a:moveTo>
                    <a:lnTo>
                      <a:pt x="62206" y="4776"/>
                    </a:lnTo>
                    <a:lnTo>
                      <a:pt x="66330" y="4843"/>
                    </a:lnTo>
                    <a:lnTo>
                      <a:pt x="67341" y="4973"/>
                    </a:lnTo>
                    <a:lnTo>
                      <a:pt x="73596" y="6576"/>
                    </a:lnTo>
                    <a:lnTo>
                      <a:pt x="75125" y="7700"/>
                    </a:lnTo>
                    <a:lnTo>
                      <a:pt x="77049" y="7753"/>
                    </a:lnTo>
                    <a:lnTo>
                      <a:pt x="80515" y="6706"/>
                    </a:lnTo>
                    <a:lnTo>
                      <a:pt x="83104" y="6246"/>
                    </a:lnTo>
                    <a:lnTo>
                      <a:pt x="84108" y="6892"/>
                    </a:lnTo>
                    <a:lnTo>
                      <a:pt x="85518" y="7163"/>
                    </a:lnTo>
                    <a:lnTo>
                      <a:pt x="85844" y="7163"/>
                    </a:lnTo>
                    <a:lnTo>
                      <a:pt x="85981" y="7726"/>
                    </a:lnTo>
                    <a:lnTo>
                      <a:pt x="89217" y="8540"/>
                    </a:lnTo>
                    <a:lnTo>
                      <a:pt x="90578" y="9837"/>
                    </a:lnTo>
                    <a:lnTo>
                      <a:pt x="92089" y="11807"/>
                    </a:lnTo>
                    <a:lnTo>
                      <a:pt x="92236" y="14641"/>
                    </a:lnTo>
                    <a:lnTo>
                      <a:pt x="90301" y="16677"/>
                    </a:lnTo>
                    <a:lnTo>
                      <a:pt x="88695" y="17965"/>
                    </a:lnTo>
                    <a:lnTo>
                      <a:pt x="94771" y="17478"/>
                    </a:lnTo>
                    <a:lnTo>
                      <a:pt x="95376" y="18645"/>
                    </a:lnTo>
                    <a:lnTo>
                      <a:pt x="96296" y="19903"/>
                    </a:lnTo>
                    <a:lnTo>
                      <a:pt x="99569" y="19007"/>
                    </a:lnTo>
                    <a:lnTo>
                      <a:pt x="107775" y="22728"/>
                    </a:lnTo>
                    <a:lnTo>
                      <a:pt x="112737" y="20917"/>
                    </a:lnTo>
                    <a:lnTo>
                      <a:pt x="114007" y="20811"/>
                    </a:lnTo>
                    <a:lnTo>
                      <a:pt x="115134" y="23817"/>
                    </a:lnTo>
                    <a:lnTo>
                      <a:pt x="113901" y="26840"/>
                    </a:lnTo>
                    <a:lnTo>
                      <a:pt x="109526" y="30061"/>
                    </a:lnTo>
                    <a:lnTo>
                      <a:pt x="110496" y="32043"/>
                    </a:lnTo>
                    <a:lnTo>
                      <a:pt x="111893" y="32483"/>
                    </a:lnTo>
                    <a:lnTo>
                      <a:pt x="116017" y="32063"/>
                    </a:lnTo>
                    <a:lnTo>
                      <a:pt x="122547" y="34020"/>
                    </a:lnTo>
                    <a:lnTo>
                      <a:pt x="123908" y="33410"/>
                    </a:lnTo>
                    <a:lnTo>
                      <a:pt x="129203" y="28895"/>
                    </a:lnTo>
                    <a:lnTo>
                      <a:pt x="131319" y="27925"/>
                    </a:lnTo>
                    <a:lnTo>
                      <a:pt x="138285" y="27230"/>
                    </a:lnTo>
                    <a:lnTo>
                      <a:pt x="139552" y="25479"/>
                    </a:lnTo>
                    <a:lnTo>
                      <a:pt x="142375" y="23717"/>
                    </a:lnTo>
                    <a:lnTo>
                      <a:pt x="144193" y="21791"/>
                    </a:lnTo>
                    <a:lnTo>
                      <a:pt x="148546" y="18120"/>
                    </a:lnTo>
                    <a:lnTo>
                      <a:pt x="153051" y="18782"/>
                    </a:lnTo>
                    <a:lnTo>
                      <a:pt x="155681" y="19485"/>
                    </a:lnTo>
                    <a:lnTo>
                      <a:pt x="158568" y="19839"/>
                    </a:lnTo>
                    <a:lnTo>
                      <a:pt x="161196" y="23749"/>
                    </a:lnTo>
                    <a:lnTo>
                      <a:pt x="167843" y="28064"/>
                    </a:lnTo>
                    <a:lnTo>
                      <a:pt x="173950" y="27689"/>
                    </a:lnTo>
                    <a:lnTo>
                      <a:pt x="176117" y="31764"/>
                    </a:lnTo>
                    <a:lnTo>
                      <a:pt x="177074" y="36785"/>
                    </a:lnTo>
                    <a:lnTo>
                      <a:pt x="178950" y="38358"/>
                    </a:lnTo>
                    <a:lnTo>
                      <a:pt x="180600" y="39385"/>
                    </a:lnTo>
                    <a:lnTo>
                      <a:pt x="185576" y="40460"/>
                    </a:lnTo>
                    <a:lnTo>
                      <a:pt x="185772" y="40528"/>
                    </a:lnTo>
                    <a:lnTo>
                      <a:pt x="185932" y="41208"/>
                    </a:lnTo>
                    <a:lnTo>
                      <a:pt x="186236" y="43696"/>
                    </a:lnTo>
                    <a:lnTo>
                      <a:pt x="186653" y="45757"/>
                    </a:lnTo>
                    <a:lnTo>
                      <a:pt x="189214" y="53974"/>
                    </a:lnTo>
                    <a:lnTo>
                      <a:pt x="189165" y="55979"/>
                    </a:lnTo>
                    <a:lnTo>
                      <a:pt x="189134" y="56511"/>
                    </a:lnTo>
                    <a:lnTo>
                      <a:pt x="188197" y="59315"/>
                    </a:lnTo>
                    <a:lnTo>
                      <a:pt x="186530" y="61677"/>
                    </a:lnTo>
                    <a:lnTo>
                      <a:pt x="184330" y="63008"/>
                    </a:lnTo>
                    <a:lnTo>
                      <a:pt x="183118" y="64488"/>
                    </a:lnTo>
                    <a:lnTo>
                      <a:pt x="182891" y="66122"/>
                    </a:lnTo>
                    <a:lnTo>
                      <a:pt x="185658" y="68981"/>
                    </a:lnTo>
                    <a:lnTo>
                      <a:pt x="191414" y="73066"/>
                    </a:lnTo>
                    <a:lnTo>
                      <a:pt x="193744" y="76554"/>
                    </a:lnTo>
                    <a:lnTo>
                      <a:pt x="192645" y="79452"/>
                    </a:lnTo>
                    <a:lnTo>
                      <a:pt x="192311" y="81575"/>
                    </a:lnTo>
                    <a:lnTo>
                      <a:pt x="192738" y="82926"/>
                    </a:lnTo>
                    <a:lnTo>
                      <a:pt x="193660" y="84010"/>
                    </a:lnTo>
                    <a:lnTo>
                      <a:pt x="195081" y="84830"/>
                    </a:lnTo>
                    <a:lnTo>
                      <a:pt x="195645" y="86091"/>
                    </a:lnTo>
                    <a:lnTo>
                      <a:pt x="195358" y="87793"/>
                    </a:lnTo>
                    <a:lnTo>
                      <a:pt x="195627" y="88973"/>
                    </a:lnTo>
                    <a:lnTo>
                      <a:pt x="196688" y="89813"/>
                    </a:lnTo>
                    <a:lnTo>
                      <a:pt x="196590" y="90139"/>
                    </a:lnTo>
                    <a:lnTo>
                      <a:pt x="196075" y="91321"/>
                    </a:lnTo>
                    <a:lnTo>
                      <a:pt x="195370" y="93475"/>
                    </a:lnTo>
                    <a:lnTo>
                      <a:pt x="194971" y="95046"/>
                    </a:lnTo>
                    <a:lnTo>
                      <a:pt x="193351" y="97185"/>
                    </a:lnTo>
                    <a:lnTo>
                      <a:pt x="193844" y="99001"/>
                    </a:lnTo>
                    <a:lnTo>
                      <a:pt x="195113" y="101141"/>
                    </a:lnTo>
                    <a:lnTo>
                      <a:pt x="196077" y="102216"/>
                    </a:lnTo>
                    <a:lnTo>
                      <a:pt x="196381" y="103234"/>
                    </a:lnTo>
                    <a:lnTo>
                      <a:pt x="195768" y="105653"/>
                    </a:lnTo>
                    <a:lnTo>
                      <a:pt x="196072" y="106271"/>
                    </a:lnTo>
                    <a:lnTo>
                      <a:pt x="200080" y="108051"/>
                    </a:lnTo>
                    <a:lnTo>
                      <a:pt x="200734" y="108872"/>
                    </a:lnTo>
                    <a:lnTo>
                      <a:pt x="201123" y="110581"/>
                    </a:lnTo>
                    <a:lnTo>
                      <a:pt x="202527" y="114229"/>
                    </a:lnTo>
                    <a:lnTo>
                      <a:pt x="201361" y="118843"/>
                    </a:lnTo>
                    <a:lnTo>
                      <a:pt x="200335" y="121367"/>
                    </a:lnTo>
                    <a:lnTo>
                      <a:pt x="198052" y="125369"/>
                    </a:lnTo>
                    <a:lnTo>
                      <a:pt x="197945" y="125738"/>
                    </a:lnTo>
                    <a:lnTo>
                      <a:pt x="197681" y="126224"/>
                    </a:lnTo>
                    <a:lnTo>
                      <a:pt x="196997" y="126924"/>
                    </a:lnTo>
                    <a:lnTo>
                      <a:pt x="196042" y="127029"/>
                    </a:lnTo>
                    <a:lnTo>
                      <a:pt x="194602" y="126507"/>
                    </a:lnTo>
                    <a:lnTo>
                      <a:pt x="193615" y="125838"/>
                    </a:lnTo>
                    <a:lnTo>
                      <a:pt x="193842" y="124112"/>
                    </a:lnTo>
                    <a:lnTo>
                      <a:pt x="193209" y="123999"/>
                    </a:lnTo>
                    <a:lnTo>
                      <a:pt x="192423" y="122939"/>
                    </a:lnTo>
                    <a:lnTo>
                      <a:pt x="192114" y="121799"/>
                    </a:lnTo>
                    <a:lnTo>
                      <a:pt x="191266" y="121334"/>
                    </a:lnTo>
                    <a:lnTo>
                      <a:pt x="188169" y="120855"/>
                    </a:lnTo>
                    <a:lnTo>
                      <a:pt x="187117" y="120518"/>
                    </a:lnTo>
                    <a:lnTo>
                      <a:pt x="186310" y="120761"/>
                    </a:lnTo>
                    <a:lnTo>
                      <a:pt x="185705" y="121568"/>
                    </a:lnTo>
                    <a:lnTo>
                      <a:pt x="186091" y="122297"/>
                    </a:lnTo>
                    <a:lnTo>
                      <a:pt x="186668" y="123007"/>
                    </a:lnTo>
                    <a:lnTo>
                      <a:pt x="188385" y="124132"/>
                    </a:lnTo>
                    <a:lnTo>
                      <a:pt x="188208" y="124579"/>
                    </a:lnTo>
                    <a:lnTo>
                      <a:pt x="184509" y="125673"/>
                    </a:lnTo>
                    <a:lnTo>
                      <a:pt x="182181" y="126795"/>
                    </a:lnTo>
                    <a:lnTo>
                      <a:pt x="180013" y="127425"/>
                    </a:lnTo>
                    <a:lnTo>
                      <a:pt x="177804" y="128586"/>
                    </a:lnTo>
                    <a:lnTo>
                      <a:pt x="173444" y="129889"/>
                    </a:lnTo>
                    <a:lnTo>
                      <a:pt x="170246" y="130235"/>
                    </a:lnTo>
                    <a:lnTo>
                      <a:pt x="169579" y="130579"/>
                    </a:lnTo>
                    <a:lnTo>
                      <a:pt x="168385" y="132786"/>
                    </a:lnTo>
                    <a:lnTo>
                      <a:pt x="167579" y="133247"/>
                    </a:lnTo>
                    <a:lnTo>
                      <a:pt x="166806" y="133008"/>
                    </a:lnTo>
                    <a:lnTo>
                      <a:pt x="166219" y="132647"/>
                    </a:lnTo>
                    <a:lnTo>
                      <a:pt x="165476" y="132946"/>
                    </a:lnTo>
                    <a:lnTo>
                      <a:pt x="164703" y="133676"/>
                    </a:lnTo>
                    <a:lnTo>
                      <a:pt x="163895" y="133964"/>
                    </a:lnTo>
                    <a:lnTo>
                      <a:pt x="163191" y="133954"/>
                    </a:lnTo>
                    <a:lnTo>
                      <a:pt x="161941" y="135879"/>
                    </a:lnTo>
                    <a:lnTo>
                      <a:pt x="158298" y="136463"/>
                    </a:lnTo>
                    <a:lnTo>
                      <a:pt x="157871" y="137460"/>
                    </a:lnTo>
                    <a:lnTo>
                      <a:pt x="157201" y="138616"/>
                    </a:lnTo>
                    <a:lnTo>
                      <a:pt x="156668" y="138899"/>
                    </a:lnTo>
                    <a:lnTo>
                      <a:pt x="155022" y="138441"/>
                    </a:lnTo>
                    <a:lnTo>
                      <a:pt x="152749" y="138188"/>
                    </a:lnTo>
                    <a:lnTo>
                      <a:pt x="151444" y="138821"/>
                    </a:lnTo>
                    <a:lnTo>
                      <a:pt x="149877" y="139171"/>
                    </a:lnTo>
                    <a:lnTo>
                      <a:pt x="147964" y="139277"/>
                    </a:lnTo>
                    <a:lnTo>
                      <a:pt x="145832" y="140541"/>
                    </a:lnTo>
                    <a:lnTo>
                      <a:pt x="143753" y="142759"/>
                    </a:lnTo>
                    <a:lnTo>
                      <a:pt x="142582" y="144714"/>
                    </a:lnTo>
                    <a:lnTo>
                      <a:pt x="141956" y="145416"/>
                    </a:lnTo>
                    <a:lnTo>
                      <a:pt x="140935" y="143581"/>
                    </a:lnTo>
                    <a:lnTo>
                      <a:pt x="139688" y="142321"/>
                    </a:lnTo>
                    <a:lnTo>
                      <a:pt x="138806" y="141667"/>
                    </a:lnTo>
                    <a:lnTo>
                      <a:pt x="138017" y="141666"/>
                    </a:lnTo>
                    <a:lnTo>
                      <a:pt x="137810" y="141934"/>
                    </a:lnTo>
                    <a:lnTo>
                      <a:pt x="137808" y="142895"/>
                    </a:lnTo>
                    <a:lnTo>
                      <a:pt x="138650" y="144491"/>
                    </a:lnTo>
                    <a:lnTo>
                      <a:pt x="139693" y="145579"/>
                    </a:lnTo>
                    <a:lnTo>
                      <a:pt x="139859" y="146382"/>
                    </a:lnTo>
                    <a:lnTo>
                      <a:pt x="140418" y="147843"/>
                    </a:lnTo>
                    <a:lnTo>
                      <a:pt x="141936" y="149437"/>
                    </a:lnTo>
                    <a:lnTo>
                      <a:pt x="144318" y="150700"/>
                    </a:lnTo>
                    <a:lnTo>
                      <a:pt x="145942" y="151943"/>
                    </a:lnTo>
                    <a:lnTo>
                      <a:pt x="147145" y="153665"/>
                    </a:lnTo>
                    <a:lnTo>
                      <a:pt x="147156" y="154194"/>
                    </a:lnTo>
                    <a:lnTo>
                      <a:pt x="146825" y="154897"/>
                    </a:lnTo>
                    <a:lnTo>
                      <a:pt x="146257" y="155559"/>
                    </a:lnTo>
                    <a:lnTo>
                      <a:pt x="145778" y="156421"/>
                    </a:lnTo>
                    <a:lnTo>
                      <a:pt x="144459" y="158163"/>
                    </a:lnTo>
                    <a:lnTo>
                      <a:pt x="144849" y="158924"/>
                    </a:lnTo>
                    <a:lnTo>
                      <a:pt x="145929" y="159885"/>
                    </a:lnTo>
                    <a:lnTo>
                      <a:pt x="146886" y="161038"/>
                    </a:lnTo>
                    <a:lnTo>
                      <a:pt x="148112" y="162901"/>
                    </a:lnTo>
                    <a:lnTo>
                      <a:pt x="149799" y="166162"/>
                    </a:lnTo>
                    <a:lnTo>
                      <a:pt x="150885" y="167503"/>
                    </a:lnTo>
                    <a:lnTo>
                      <a:pt x="152360" y="168887"/>
                    </a:lnTo>
                    <a:lnTo>
                      <a:pt x="153809" y="169943"/>
                    </a:lnTo>
                    <a:lnTo>
                      <a:pt x="156093" y="169911"/>
                    </a:lnTo>
                    <a:lnTo>
                      <a:pt x="158460" y="171925"/>
                    </a:lnTo>
                    <a:lnTo>
                      <a:pt x="161043" y="174835"/>
                    </a:lnTo>
                    <a:lnTo>
                      <a:pt x="162973" y="176169"/>
                    </a:lnTo>
                    <a:lnTo>
                      <a:pt x="164321" y="176575"/>
                    </a:lnTo>
                    <a:lnTo>
                      <a:pt x="165433" y="177622"/>
                    </a:lnTo>
                    <a:lnTo>
                      <a:pt x="166420" y="179127"/>
                    </a:lnTo>
                    <a:lnTo>
                      <a:pt x="166806" y="179997"/>
                    </a:lnTo>
                    <a:lnTo>
                      <a:pt x="167681" y="180625"/>
                    </a:lnTo>
                    <a:lnTo>
                      <a:pt x="170045" y="180508"/>
                    </a:lnTo>
                    <a:lnTo>
                      <a:pt x="173081" y="182873"/>
                    </a:lnTo>
                    <a:lnTo>
                      <a:pt x="174960" y="184603"/>
                    </a:lnTo>
                    <a:lnTo>
                      <a:pt x="175951" y="185999"/>
                    </a:lnTo>
                    <a:lnTo>
                      <a:pt x="175690" y="186552"/>
                    </a:lnTo>
                    <a:lnTo>
                      <a:pt x="175569" y="188289"/>
                    </a:lnTo>
                    <a:lnTo>
                      <a:pt x="175599" y="190129"/>
                    </a:lnTo>
                    <a:lnTo>
                      <a:pt x="175301" y="191102"/>
                    </a:lnTo>
                    <a:lnTo>
                      <a:pt x="173943" y="192382"/>
                    </a:lnTo>
                    <a:lnTo>
                      <a:pt x="173241" y="192654"/>
                    </a:lnTo>
                    <a:lnTo>
                      <a:pt x="172866" y="192930"/>
                    </a:lnTo>
                    <a:lnTo>
                      <a:pt x="168696" y="191261"/>
                    </a:lnTo>
                    <a:lnTo>
                      <a:pt x="168365" y="191546"/>
                    </a:lnTo>
                    <a:lnTo>
                      <a:pt x="168104" y="191752"/>
                    </a:lnTo>
                    <a:lnTo>
                      <a:pt x="166988" y="196586"/>
                    </a:lnTo>
                    <a:lnTo>
                      <a:pt x="166219" y="197514"/>
                    </a:lnTo>
                    <a:lnTo>
                      <a:pt x="165074" y="198368"/>
                    </a:lnTo>
                    <a:lnTo>
                      <a:pt x="162695" y="199199"/>
                    </a:lnTo>
                    <a:lnTo>
                      <a:pt x="161041" y="199537"/>
                    </a:lnTo>
                    <a:lnTo>
                      <a:pt x="159752" y="199958"/>
                    </a:lnTo>
                    <a:lnTo>
                      <a:pt x="155668" y="201977"/>
                    </a:lnTo>
                    <a:lnTo>
                      <a:pt x="153828" y="203189"/>
                    </a:lnTo>
                    <a:lnTo>
                      <a:pt x="152636" y="204711"/>
                    </a:lnTo>
                    <a:lnTo>
                      <a:pt x="152630" y="205587"/>
                    </a:lnTo>
                    <a:lnTo>
                      <a:pt x="154616" y="208160"/>
                    </a:lnTo>
                    <a:lnTo>
                      <a:pt x="156908" y="210815"/>
                    </a:lnTo>
                    <a:lnTo>
                      <a:pt x="156923" y="213149"/>
                    </a:lnTo>
                    <a:lnTo>
                      <a:pt x="155908" y="214893"/>
                    </a:lnTo>
                    <a:lnTo>
                      <a:pt x="155672" y="215567"/>
                    </a:lnTo>
                    <a:lnTo>
                      <a:pt x="156346" y="215820"/>
                    </a:lnTo>
                    <a:lnTo>
                      <a:pt x="157616" y="215917"/>
                    </a:lnTo>
                    <a:lnTo>
                      <a:pt x="158678" y="216217"/>
                    </a:lnTo>
                    <a:lnTo>
                      <a:pt x="159132" y="217443"/>
                    </a:lnTo>
                    <a:lnTo>
                      <a:pt x="158996" y="219578"/>
                    </a:lnTo>
                    <a:lnTo>
                      <a:pt x="158633" y="221575"/>
                    </a:lnTo>
                    <a:lnTo>
                      <a:pt x="158253" y="222415"/>
                    </a:lnTo>
                    <a:lnTo>
                      <a:pt x="157229" y="222482"/>
                    </a:lnTo>
                    <a:lnTo>
                      <a:pt x="155258" y="221619"/>
                    </a:lnTo>
                    <a:lnTo>
                      <a:pt x="153720" y="220616"/>
                    </a:lnTo>
                    <a:lnTo>
                      <a:pt x="153133" y="219999"/>
                    </a:lnTo>
                    <a:lnTo>
                      <a:pt x="153096" y="219261"/>
                    </a:lnTo>
                    <a:lnTo>
                      <a:pt x="153429" y="218795"/>
                    </a:lnTo>
                    <a:lnTo>
                      <a:pt x="152880" y="217885"/>
                    </a:lnTo>
                    <a:lnTo>
                      <a:pt x="150989" y="217044"/>
                    </a:lnTo>
                    <a:lnTo>
                      <a:pt x="148963" y="217410"/>
                    </a:lnTo>
                    <a:lnTo>
                      <a:pt x="147467" y="217977"/>
                    </a:lnTo>
                    <a:lnTo>
                      <a:pt x="146502" y="217944"/>
                    </a:lnTo>
                    <a:lnTo>
                      <a:pt x="145459" y="217134"/>
                    </a:lnTo>
                    <a:lnTo>
                      <a:pt x="143854" y="216514"/>
                    </a:lnTo>
                    <a:lnTo>
                      <a:pt x="141757" y="216105"/>
                    </a:lnTo>
                    <a:lnTo>
                      <a:pt x="140451" y="215668"/>
                    </a:lnTo>
                    <a:lnTo>
                      <a:pt x="140176" y="215926"/>
                    </a:lnTo>
                    <a:lnTo>
                      <a:pt x="140330" y="217679"/>
                    </a:lnTo>
                    <a:lnTo>
                      <a:pt x="139928" y="218444"/>
                    </a:lnTo>
                    <a:lnTo>
                      <a:pt x="129561" y="219456"/>
                    </a:lnTo>
                    <a:lnTo>
                      <a:pt x="126402" y="220404"/>
                    </a:lnTo>
                    <a:lnTo>
                      <a:pt x="124102" y="221629"/>
                    </a:lnTo>
                    <a:lnTo>
                      <a:pt x="122400" y="222160"/>
                    </a:lnTo>
                    <a:lnTo>
                      <a:pt x="121984" y="222915"/>
                    </a:lnTo>
                    <a:lnTo>
                      <a:pt x="120299" y="223906"/>
                    </a:lnTo>
                    <a:lnTo>
                      <a:pt x="118397" y="224223"/>
                    </a:lnTo>
                    <a:lnTo>
                      <a:pt x="117939" y="223898"/>
                    </a:lnTo>
                    <a:lnTo>
                      <a:pt x="116719" y="224356"/>
                    </a:lnTo>
                    <a:lnTo>
                      <a:pt x="114640" y="224797"/>
                    </a:lnTo>
                    <a:lnTo>
                      <a:pt x="113288" y="224657"/>
                    </a:lnTo>
                    <a:lnTo>
                      <a:pt x="112653" y="223856"/>
                    </a:lnTo>
                    <a:lnTo>
                      <a:pt x="111366" y="222629"/>
                    </a:lnTo>
                    <a:lnTo>
                      <a:pt x="110850" y="221778"/>
                    </a:lnTo>
                    <a:lnTo>
                      <a:pt x="110904" y="221233"/>
                    </a:lnTo>
                    <a:lnTo>
                      <a:pt x="107997" y="221123"/>
                    </a:lnTo>
                    <a:lnTo>
                      <a:pt x="106164" y="220475"/>
                    </a:lnTo>
                    <a:lnTo>
                      <a:pt x="102275" y="220627"/>
                    </a:lnTo>
                    <a:lnTo>
                      <a:pt x="101316" y="220353"/>
                    </a:lnTo>
                    <a:lnTo>
                      <a:pt x="101116" y="220647"/>
                    </a:lnTo>
                    <a:lnTo>
                      <a:pt x="100530" y="224128"/>
                    </a:lnTo>
                    <a:lnTo>
                      <a:pt x="99761" y="225556"/>
                    </a:lnTo>
                    <a:lnTo>
                      <a:pt x="98515" y="227030"/>
                    </a:lnTo>
                    <a:lnTo>
                      <a:pt x="96920" y="227850"/>
                    </a:lnTo>
                    <a:lnTo>
                      <a:pt x="95646" y="227999"/>
                    </a:lnTo>
                    <a:lnTo>
                      <a:pt x="95706" y="226925"/>
                    </a:lnTo>
                    <a:lnTo>
                      <a:pt x="96028" y="225630"/>
                    </a:lnTo>
                    <a:lnTo>
                      <a:pt x="95110" y="225326"/>
                    </a:lnTo>
                    <a:lnTo>
                      <a:pt x="93732" y="225177"/>
                    </a:lnTo>
                    <a:lnTo>
                      <a:pt x="93065" y="224791"/>
                    </a:lnTo>
                    <a:lnTo>
                      <a:pt x="93240" y="223805"/>
                    </a:lnTo>
                    <a:lnTo>
                      <a:pt x="92923" y="223229"/>
                    </a:lnTo>
                    <a:lnTo>
                      <a:pt x="92353" y="222541"/>
                    </a:lnTo>
                    <a:lnTo>
                      <a:pt x="90971" y="221651"/>
                    </a:lnTo>
                    <a:lnTo>
                      <a:pt x="88042" y="220332"/>
                    </a:lnTo>
                    <a:lnTo>
                      <a:pt x="86047" y="219680"/>
                    </a:lnTo>
                    <a:lnTo>
                      <a:pt x="85300" y="220374"/>
                    </a:lnTo>
                    <a:lnTo>
                      <a:pt x="83873" y="221074"/>
                    </a:lnTo>
                    <a:lnTo>
                      <a:pt x="81625" y="220845"/>
                    </a:lnTo>
                    <a:lnTo>
                      <a:pt x="81074" y="221120"/>
                    </a:lnTo>
                    <a:lnTo>
                      <a:pt x="77226" y="219023"/>
                    </a:lnTo>
                    <a:lnTo>
                      <a:pt x="73529" y="217005"/>
                    </a:lnTo>
                    <a:lnTo>
                      <a:pt x="72307" y="217005"/>
                    </a:lnTo>
                    <a:lnTo>
                      <a:pt x="66859" y="217408"/>
                    </a:lnTo>
                    <a:lnTo>
                      <a:pt x="66701" y="217230"/>
                    </a:lnTo>
                    <a:lnTo>
                      <a:pt x="65753" y="216080"/>
                    </a:lnTo>
                    <a:lnTo>
                      <a:pt x="64911" y="215716"/>
                    </a:lnTo>
                    <a:lnTo>
                      <a:pt x="64404" y="215903"/>
                    </a:lnTo>
                    <a:lnTo>
                      <a:pt x="64065" y="216237"/>
                    </a:lnTo>
                    <a:lnTo>
                      <a:pt x="63480" y="216180"/>
                    </a:lnTo>
                    <a:lnTo>
                      <a:pt x="61037" y="214322"/>
                    </a:lnTo>
                    <a:lnTo>
                      <a:pt x="60038" y="214054"/>
                    </a:lnTo>
                    <a:lnTo>
                      <a:pt x="58649" y="214300"/>
                    </a:lnTo>
                    <a:lnTo>
                      <a:pt x="57010" y="215300"/>
                    </a:lnTo>
                    <a:lnTo>
                      <a:pt x="56295" y="216525"/>
                    </a:lnTo>
                    <a:lnTo>
                      <a:pt x="56513" y="217230"/>
                    </a:lnTo>
                    <a:lnTo>
                      <a:pt x="57364" y="217537"/>
                    </a:lnTo>
                    <a:lnTo>
                      <a:pt x="59588" y="217331"/>
                    </a:lnTo>
                    <a:lnTo>
                      <a:pt x="59914" y="217534"/>
                    </a:lnTo>
                    <a:lnTo>
                      <a:pt x="59990" y="217930"/>
                    </a:lnTo>
                    <a:lnTo>
                      <a:pt x="59746" y="218318"/>
                    </a:lnTo>
                    <a:lnTo>
                      <a:pt x="57937" y="218636"/>
                    </a:lnTo>
                    <a:lnTo>
                      <a:pt x="57414" y="219099"/>
                    </a:lnTo>
                    <a:lnTo>
                      <a:pt x="56885" y="219213"/>
                    </a:lnTo>
                    <a:lnTo>
                      <a:pt x="56546" y="219285"/>
                    </a:lnTo>
                    <a:lnTo>
                      <a:pt x="54624" y="218798"/>
                    </a:lnTo>
                    <a:lnTo>
                      <a:pt x="51759" y="218798"/>
                    </a:lnTo>
                    <a:lnTo>
                      <a:pt x="49448" y="219662"/>
                    </a:lnTo>
                    <a:lnTo>
                      <a:pt x="45762" y="220007"/>
                    </a:lnTo>
                    <a:lnTo>
                      <a:pt x="40698" y="219838"/>
                    </a:lnTo>
                    <a:lnTo>
                      <a:pt x="38876" y="219197"/>
                    </a:lnTo>
                    <a:lnTo>
                      <a:pt x="37766" y="218809"/>
                    </a:lnTo>
                    <a:lnTo>
                      <a:pt x="36969" y="216916"/>
                    </a:lnTo>
                    <a:lnTo>
                      <a:pt x="37172" y="214110"/>
                    </a:lnTo>
                    <a:lnTo>
                      <a:pt x="38381" y="210391"/>
                    </a:lnTo>
                    <a:lnTo>
                      <a:pt x="38718" y="207658"/>
                    </a:lnTo>
                    <a:lnTo>
                      <a:pt x="38180" y="205916"/>
                    </a:lnTo>
                    <a:lnTo>
                      <a:pt x="38897" y="203303"/>
                    </a:lnTo>
                    <a:lnTo>
                      <a:pt x="40867" y="199818"/>
                    </a:lnTo>
                    <a:lnTo>
                      <a:pt x="42182" y="196136"/>
                    </a:lnTo>
                    <a:lnTo>
                      <a:pt x="42838" y="192255"/>
                    </a:lnTo>
                    <a:lnTo>
                      <a:pt x="43792" y="189722"/>
                    </a:lnTo>
                    <a:lnTo>
                      <a:pt x="45667" y="187945"/>
                    </a:lnTo>
                    <a:lnTo>
                      <a:pt x="50117" y="182971"/>
                    </a:lnTo>
                    <a:lnTo>
                      <a:pt x="50478" y="182596"/>
                    </a:lnTo>
                    <a:lnTo>
                      <a:pt x="50357" y="180111"/>
                    </a:lnTo>
                    <a:lnTo>
                      <a:pt x="49158" y="179760"/>
                    </a:lnTo>
                    <a:lnTo>
                      <a:pt x="47403" y="179046"/>
                    </a:lnTo>
                    <a:lnTo>
                      <a:pt x="42935" y="178162"/>
                    </a:lnTo>
                    <a:lnTo>
                      <a:pt x="38772" y="177595"/>
                    </a:lnTo>
                    <a:lnTo>
                      <a:pt x="36882" y="176892"/>
                    </a:lnTo>
                    <a:lnTo>
                      <a:pt x="35226" y="175011"/>
                    </a:lnTo>
                    <a:lnTo>
                      <a:pt x="34200" y="174986"/>
                    </a:lnTo>
                    <a:lnTo>
                      <a:pt x="32192" y="175659"/>
                    </a:lnTo>
                    <a:lnTo>
                      <a:pt x="29683" y="176114"/>
                    </a:lnTo>
                    <a:lnTo>
                      <a:pt x="27859" y="175716"/>
                    </a:lnTo>
                    <a:lnTo>
                      <a:pt x="26716" y="175793"/>
                    </a:lnTo>
                    <a:lnTo>
                      <a:pt x="26075" y="176140"/>
                    </a:lnTo>
                    <a:lnTo>
                      <a:pt x="25753" y="175833"/>
                    </a:lnTo>
                    <a:lnTo>
                      <a:pt x="25295" y="174220"/>
                    </a:lnTo>
                    <a:lnTo>
                      <a:pt x="24341" y="173798"/>
                    </a:lnTo>
                    <a:lnTo>
                      <a:pt x="22857" y="173429"/>
                    </a:lnTo>
                    <a:lnTo>
                      <a:pt x="21935" y="173589"/>
                    </a:lnTo>
                    <a:lnTo>
                      <a:pt x="21298" y="174390"/>
                    </a:lnTo>
                    <a:lnTo>
                      <a:pt x="20316" y="174955"/>
                    </a:lnTo>
                    <a:lnTo>
                      <a:pt x="19413" y="174771"/>
                    </a:lnTo>
                    <a:lnTo>
                      <a:pt x="16586" y="171044"/>
                    </a:lnTo>
                    <a:lnTo>
                      <a:pt x="15858" y="170219"/>
                    </a:lnTo>
                    <a:lnTo>
                      <a:pt x="15673" y="169460"/>
                    </a:lnTo>
                    <a:lnTo>
                      <a:pt x="14965" y="168071"/>
                    </a:lnTo>
                    <a:lnTo>
                      <a:pt x="13280" y="166689"/>
                    </a:lnTo>
                    <a:lnTo>
                      <a:pt x="11603" y="166251"/>
                    </a:lnTo>
                    <a:lnTo>
                      <a:pt x="10765" y="166406"/>
                    </a:lnTo>
                    <a:lnTo>
                      <a:pt x="10855" y="164686"/>
                    </a:lnTo>
                    <a:lnTo>
                      <a:pt x="11516" y="162190"/>
                    </a:lnTo>
                    <a:lnTo>
                      <a:pt x="12144" y="160886"/>
                    </a:lnTo>
                    <a:lnTo>
                      <a:pt x="12982" y="159820"/>
                    </a:lnTo>
                    <a:lnTo>
                      <a:pt x="13870" y="159079"/>
                    </a:lnTo>
                    <a:lnTo>
                      <a:pt x="14069" y="157738"/>
                    </a:lnTo>
                    <a:lnTo>
                      <a:pt x="13926" y="156469"/>
                    </a:lnTo>
                    <a:lnTo>
                      <a:pt x="12900" y="156272"/>
                    </a:lnTo>
                    <a:lnTo>
                      <a:pt x="10329" y="155334"/>
                    </a:lnTo>
                    <a:lnTo>
                      <a:pt x="8813" y="154346"/>
                    </a:lnTo>
                    <a:lnTo>
                      <a:pt x="7681" y="153108"/>
                    </a:lnTo>
                    <a:lnTo>
                      <a:pt x="6206" y="151401"/>
                    </a:lnTo>
                    <a:lnTo>
                      <a:pt x="5578" y="149667"/>
                    </a:lnTo>
                    <a:lnTo>
                      <a:pt x="5546" y="147938"/>
                    </a:lnTo>
                    <a:lnTo>
                      <a:pt x="5727" y="147164"/>
                    </a:lnTo>
                    <a:lnTo>
                      <a:pt x="5833" y="146633"/>
                    </a:lnTo>
                    <a:lnTo>
                      <a:pt x="7023" y="143934"/>
                    </a:lnTo>
                    <a:lnTo>
                      <a:pt x="11210" y="141516"/>
                    </a:lnTo>
                    <a:lnTo>
                      <a:pt x="10749" y="139079"/>
                    </a:lnTo>
                    <a:lnTo>
                      <a:pt x="10689" y="137584"/>
                    </a:lnTo>
                    <a:lnTo>
                      <a:pt x="9672" y="136605"/>
                    </a:lnTo>
                    <a:lnTo>
                      <a:pt x="7640" y="136209"/>
                    </a:lnTo>
                    <a:lnTo>
                      <a:pt x="7102" y="135530"/>
                    </a:lnTo>
                    <a:lnTo>
                      <a:pt x="6876" y="134867"/>
                    </a:lnTo>
                    <a:lnTo>
                      <a:pt x="8368" y="133375"/>
                    </a:lnTo>
                    <a:lnTo>
                      <a:pt x="6567" y="132195"/>
                    </a:lnTo>
                    <a:lnTo>
                      <a:pt x="5792" y="130974"/>
                    </a:lnTo>
                    <a:lnTo>
                      <a:pt x="3282" y="129432"/>
                    </a:lnTo>
                    <a:lnTo>
                      <a:pt x="3017" y="128901"/>
                    </a:lnTo>
                    <a:lnTo>
                      <a:pt x="4222" y="124399"/>
                    </a:lnTo>
                    <a:lnTo>
                      <a:pt x="3302" y="123084"/>
                    </a:lnTo>
                    <a:lnTo>
                      <a:pt x="2157" y="122413"/>
                    </a:lnTo>
                    <a:lnTo>
                      <a:pt x="823" y="122083"/>
                    </a:lnTo>
                    <a:lnTo>
                      <a:pt x="214" y="121457"/>
                    </a:lnTo>
                    <a:lnTo>
                      <a:pt x="0" y="120742"/>
                    </a:lnTo>
                    <a:lnTo>
                      <a:pt x="240" y="120299"/>
                    </a:lnTo>
                    <a:lnTo>
                      <a:pt x="1807" y="120430"/>
                    </a:lnTo>
                    <a:lnTo>
                      <a:pt x="2289" y="119966"/>
                    </a:lnTo>
                    <a:lnTo>
                      <a:pt x="6025" y="117313"/>
                    </a:lnTo>
                    <a:lnTo>
                      <a:pt x="6178" y="116803"/>
                    </a:lnTo>
                    <a:lnTo>
                      <a:pt x="5658" y="116514"/>
                    </a:lnTo>
                    <a:lnTo>
                      <a:pt x="4973" y="116360"/>
                    </a:lnTo>
                    <a:lnTo>
                      <a:pt x="4805" y="115802"/>
                    </a:lnTo>
                    <a:lnTo>
                      <a:pt x="4829" y="115067"/>
                    </a:lnTo>
                    <a:lnTo>
                      <a:pt x="6826" y="111235"/>
                    </a:lnTo>
                    <a:lnTo>
                      <a:pt x="7416" y="109599"/>
                    </a:lnTo>
                    <a:lnTo>
                      <a:pt x="7547" y="108442"/>
                    </a:lnTo>
                    <a:lnTo>
                      <a:pt x="7424" y="107299"/>
                    </a:lnTo>
                    <a:lnTo>
                      <a:pt x="6282" y="105500"/>
                    </a:lnTo>
                    <a:lnTo>
                      <a:pt x="5165" y="104064"/>
                    </a:lnTo>
                    <a:lnTo>
                      <a:pt x="5127" y="102920"/>
                    </a:lnTo>
                    <a:lnTo>
                      <a:pt x="4317" y="102318"/>
                    </a:lnTo>
                    <a:lnTo>
                      <a:pt x="2013" y="99249"/>
                    </a:lnTo>
                    <a:lnTo>
                      <a:pt x="2017" y="98061"/>
                    </a:lnTo>
                    <a:lnTo>
                      <a:pt x="3319" y="97138"/>
                    </a:lnTo>
                    <a:lnTo>
                      <a:pt x="5137" y="96549"/>
                    </a:lnTo>
                    <a:lnTo>
                      <a:pt x="5742" y="96063"/>
                    </a:lnTo>
                    <a:lnTo>
                      <a:pt x="6832" y="95757"/>
                    </a:lnTo>
                    <a:lnTo>
                      <a:pt x="9720" y="96644"/>
                    </a:lnTo>
                    <a:lnTo>
                      <a:pt x="11015" y="97413"/>
                    </a:lnTo>
                    <a:lnTo>
                      <a:pt x="11380" y="97254"/>
                    </a:lnTo>
                    <a:lnTo>
                      <a:pt x="12548" y="96417"/>
                    </a:lnTo>
                    <a:lnTo>
                      <a:pt x="14595" y="96549"/>
                    </a:lnTo>
                    <a:lnTo>
                      <a:pt x="19553" y="94867"/>
                    </a:lnTo>
                    <a:lnTo>
                      <a:pt x="20292" y="94058"/>
                    </a:lnTo>
                    <a:lnTo>
                      <a:pt x="20849" y="93198"/>
                    </a:lnTo>
                    <a:lnTo>
                      <a:pt x="20894" y="92820"/>
                    </a:lnTo>
                    <a:lnTo>
                      <a:pt x="18975" y="91164"/>
                    </a:lnTo>
                    <a:lnTo>
                      <a:pt x="18916" y="90551"/>
                    </a:lnTo>
                    <a:lnTo>
                      <a:pt x="19171" y="89860"/>
                    </a:lnTo>
                    <a:lnTo>
                      <a:pt x="19713" y="89314"/>
                    </a:lnTo>
                    <a:lnTo>
                      <a:pt x="20849" y="88943"/>
                    </a:lnTo>
                    <a:lnTo>
                      <a:pt x="22058" y="88215"/>
                    </a:lnTo>
                    <a:lnTo>
                      <a:pt x="24759" y="86149"/>
                    </a:lnTo>
                    <a:lnTo>
                      <a:pt x="25697" y="84355"/>
                    </a:lnTo>
                    <a:lnTo>
                      <a:pt x="25984" y="82411"/>
                    </a:lnTo>
                    <a:lnTo>
                      <a:pt x="26040" y="80964"/>
                    </a:lnTo>
                    <a:lnTo>
                      <a:pt x="25304" y="79812"/>
                    </a:lnTo>
                    <a:lnTo>
                      <a:pt x="24559" y="79066"/>
                    </a:lnTo>
                    <a:lnTo>
                      <a:pt x="23540" y="79179"/>
                    </a:lnTo>
                    <a:lnTo>
                      <a:pt x="21559" y="79120"/>
                    </a:lnTo>
                    <a:lnTo>
                      <a:pt x="19709" y="78473"/>
                    </a:lnTo>
                    <a:lnTo>
                      <a:pt x="18694" y="77426"/>
                    </a:lnTo>
                    <a:lnTo>
                      <a:pt x="18444" y="76505"/>
                    </a:lnTo>
                    <a:lnTo>
                      <a:pt x="18903" y="75925"/>
                    </a:lnTo>
                    <a:lnTo>
                      <a:pt x="19044" y="75212"/>
                    </a:lnTo>
                    <a:lnTo>
                      <a:pt x="18748" y="74495"/>
                    </a:lnTo>
                    <a:lnTo>
                      <a:pt x="18867" y="73893"/>
                    </a:lnTo>
                    <a:lnTo>
                      <a:pt x="19700" y="73410"/>
                    </a:lnTo>
                    <a:lnTo>
                      <a:pt x="25554" y="73426"/>
                    </a:lnTo>
                    <a:lnTo>
                      <a:pt x="25993" y="72895"/>
                    </a:lnTo>
                    <a:lnTo>
                      <a:pt x="26388" y="70108"/>
                    </a:lnTo>
                    <a:lnTo>
                      <a:pt x="27852" y="65859"/>
                    </a:lnTo>
                    <a:lnTo>
                      <a:pt x="29232" y="63490"/>
                    </a:lnTo>
                    <a:lnTo>
                      <a:pt x="29463" y="62493"/>
                    </a:lnTo>
                    <a:lnTo>
                      <a:pt x="29441" y="56866"/>
                    </a:lnTo>
                    <a:lnTo>
                      <a:pt x="29625" y="54011"/>
                    </a:lnTo>
                    <a:lnTo>
                      <a:pt x="28625" y="52668"/>
                    </a:lnTo>
                    <a:lnTo>
                      <a:pt x="26442" y="51197"/>
                    </a:lnTo>
                    <a:lnTo>
                      <a:pt x="26906" y="48132"/>
                    </a:lnTo>
                    <a:lnTo>
                      <a:pt x="27632" y="45741"/>
                    </a:lnTo>
                    <a:lnTo>
                      <a:pt x="29828" y="42797"/>
                    </a:lnTo>
                    <a:lnTo>
                      <a:pt x="31570" y="41987"/>
                    </a:lnTo>
                    <a:lnTo>
                      <a:pt x="39176" y="41506"/>
                    </a:lnTo>
                    <a:lnTo>
                      <a:pt x="47580" y="41704"/>
                    </a:lnTo>
                    <a:lnTo>
                      <a:pt x="51069" y="46150"/>
                    </a:lnTo>
                    <a:lnTo>
                      <a:pt x="49774" y="48432"/>
                    </a:lnTo>
                    <a:lnTo>
                      <a:pt x="51814" y="49494"/>
                    </a:lnTo>
                    <a:lnTo>
                      <a:pt x="52797" y="49106"/>
                    </a:lnTo>
                    <a:lnTo>
                      <a:pt x="53544" y="47121"/>
                    </a:lnTo>
                    <a:lnTo>
                      <a:pt x="54043" y="44922"/>
                    </a:lnTo>
                    <a:lnTo>
                      <a:pt x="54758" y="44256"/>
                    </a:lnTo>
                    <a:lnTo>
                      <a:pt x="57356" y="45900"/>
                    </a:lnTo>
                    <a:lnTo>
                      <a:pt x="58269" y="47026"/>
                    </a:lnTo>
                    <a:lnTo>
                      <a:pt x="58325" y="50644"/>
                    </a:lnTo>
                    <a:lnTo>
                      <a:pt x="59282" y="45743"/>
                    </a:lnTo>
                    <a:lnTo>
                      <a:pt x="58569" y="42307"/>
                    </a:lnTo>
                    <a:lnTo>
                      <a:pt x="59059" y="38972"/>
                    </a:lnTo>
                    <a:lnTo>
                      <a:pt x="60102" y="37235"/>
                    </a:lnTo>
                    <a:lnTo>
                      <a:pt x="61061" y="36130"/>
                    </a:lnTo>
                    <a:lnTo>
                      <a:pt x="67226" y="37320"/>
                    </a:lnTo>
                    <a:lnTo>
                      <a:pt x="74032" y="36706"/>
                    </a:lnTo>
                    <a:lnTo>
                      <a:pt x="76606" y="37992"/>
                    </a:lnTo>
                    <a:lnTo>
                      <a:pt x="82430" y="44428"/>
                    </a:lnTo>
                    <a:lnTo>
                      <a:pt x="84372" y="45480"/>
                    </a:lnTo>
                    <a:lnTo>
                      <a:pt x="86822" y="45811"/>
                    </a:lnTo>
                    <a:lnTo>
                      <a:pt x="83445" y="44437"/>
                    </a:lnTo>
                    <a:lnTo>
                      <a:pt x="76386" y="36610"/>
                    </a:lnTo>
                    <a:lnTo>
                      <a:pt x="74272" y="35639"/>
                    </a:lnTo>
                    <a:lnTo>
                      <a:pt x="71027" y="35344"/>
                    </a:lnTo>
                    <a:lnTo>
                      <a:pt x="69003" y="34578"/>
                    </a:lnTo>
                    <a:lnTo>
                      <a:pt x="67727" y="33392"/>
                    </a:lnTo>
                    <a:lnTo>
                      <a:pt x="67353" y="32332"/>
                    </a:lnTo>
                    <a:lnTo>
                      <a:pt x="67423" y="24417"/>
                    </a:lnTo>
                    <a:lnTo>
                      <a:pt x="66205" y="23237"/>
                    </a:lnTo>
                    <a:lnTo>
                      <a:pt x="64631" y="22826"/>
                    </a:lnTo>
                    <a:lnTo>
                      <a:pt x="63650" y="23369"/>
                    </a:lnTo>
                    <a:lnTo>
                      <a:pt x="61636" y="23376"/>
                    </a:lnTo>
                    <a:lnTo>
                      <a:pt x="61212" y="21579"/>
                    </a:lnTo>
                    <a:lnTo>
                      <a:pt x="61704" y="20247"/>
                    </a:lnTo>
                    <a:lnTo>
                      <a:pt x="65753" y="19336"/>
                    </a:lnTo>
                    <a:lnTo>
                      <a:pt x="68422" y="18114"/>
                    </a:lnTo>
                    <a:lnTo>
                      <a:pt x="68541" y="15954"/>
                    </a:lnTo>
                    <a:lnTo>
                      <a:pt x="66855" y="14254"/>
                    </a:lnTo>
                    <a:lnTo>
                      <a:pt x="64836" y="11133"/>
                    </a:lnTo>
                    <a:lnTo>
                      <a:pt x="62463" y="8196"/>
                    </a:lnTo>
                    <a:close/>
                    <a:moveTo>
                      <a:pt x="56334" y="0"/>
                    </a:moveTo>
                    <a:lnTo>
                      <a:pt x="57358" y="103"/>
                    </a:lnTo>
                    <a:lnTo>
                      <a:pt x="56310" y="1353"/>
                    </a:lnTo>
                    <a:lnTo>
                      <a:pt x="56008" y="2228"/>
                    </a:lnTo>
                    <a:lnTo>
                      <a:pt x="55583" y="3975"/>
                    </a:lnTo>
                    <a:lnTo>
                      <a:pt x="55775" y="4882"/>
                    </a:lnTo>
                    <a:lnTo>
                      <a:pt x="61296" y="5131"/>
                    </a:lnTo>
                    <a:lnTo>
                      <a:pt x="60655" y="5940"/>
                    </a:lnTo>
                    <a:lnTo>
                      <a:pt x="55056" y="6486"/>
                    </a:lnTo>
                    <a:lnTo>
                      <a:pt x="54179" y="8345"/>
                    </a:lnTo>
                    <a:lnTo>
                      <a:pt x="53669" y="8954"/>
                    </a:lnTo>
                    <a:lnTo>
                      <a:pt x="53913" y="4623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5" name="ee4p_DK_1_15912">
                <a:extLst>
                  <a:ext uri="{FF2B5EF4-FFF2-40B4-BE49-F238E27FC236}">
                    <a16:creationId xmlns:a16="http://schemas.microsoft.com/office/drawing/2014/main" id="{BB91576E-CD93-BBD8-CA59-C026ED15ADC4}"/>
                  </a:ext>
                </a:extLst>
              </p:cNvPr>
              <p:cNvSpPr>
                <a:spLocks noChangeAspect="1"/>
              </p:cNvSpPr>
              <p:nvPr>
                <p:custDataLst>
                  <p:tags r:id="rId246"/>
                </p:custDataLst>
              </p:nvPr>
            </p:nvSpPr>
            <p:spPr>
              <a:xfrm>
                <a:off x="4483616" y="3601608"/>
                <a:ext cx="614971" cy="385026"/>
              </a:xfrm>
              <a:custGeom>
                <a:avLst/>
                <a:gdLst>
                  <a:gd name="connsiteX0" fmla="*/ 69366 w 155130"/>
                  <a:gd name="connsiteY0" fmla="*/ 87225 h 97125"/>
                  <a:gd name="connsiteX1" fmla="*/ 71642 w 155130"/>
                  <a:gd name="connsiteY1" fmla="*/ 89072 h 97125"/>
                  <a:gd name="connsiteX2" fmla="*/ 75555 w 155130"/>
                  <a:gd name="connsiteY2" fmla="*/ 90976 h 97125"/>
                  <a:gd name="connsiteX3" fmla="*/ 78202 w 155130"/>
                  <a:gd name="connsiteY3" fmla="*/ 90867 h 97125"/>
                  <a:gd name="connsiteX4" fmla="*/ 80003 w 155130"/>
                  <a:gd name="connsiteY4" fmla="*/ 91656 h 97125"/>
                  <a:gd name="connsiteX5" fmla="*/ 80433 w 155130"/>
                  <a:gd name="connsiteY5" fmla="*/ 92874 h 97125"/>
                  <a:gd name="connsiteX6" fmla="*/ 80586 w 155130"/>
                  <a:gd name="connsiteY6" fmla="*/ 95577 h 97125"/>
                  <a:gd name="connsiteX7" fmla="*/ 78695 w 155130"/>
                  <a:gd name="connsiteY7" fmla="*/ 96364 h 97125"/>
                  <a:gd name="connsiteX8" fmla="*/ 76607 w 155130"/>
                  <a:gd name="connsiteY8" fmla="*/ 96097 h 97125"/>
                  <a:gd name="connsiteX9" fmla="*/ 73765 w 155130"/>
                  <a:gd name="connsiteY9" fmla="*/ 97125 h 97125"/>
                  <a:gd name="connsiteX10" fmla="*/ 64436 w 155130"/>
                  <a:gd name="connsiteY10" fmla="*/ 92708 h 97125"/>
                  <a:gd name="connsiteX11" fmla="*/ 64572 w 155130"/>
                  <a:gd name="connsiteY11" fmla="*/ 89020 h 97125"/>
                  <a:gd name="connsiteX12" fmla="*/ 64946 w 155130"/>
                  <a:gd name="connsiteY12" fmla="*/ 87570 h 97125"/>
                  <a:gd name="connsiteX13" fmla="*/ 45958 w 155130"/>
                  <a:gd name="connsiteY13" fmla="*/ 86889 h 97125"/>
                  <a:gd name="connsiteX14" fmla="*/ 47410 w 155130"/>
                  <a:gd name="connsiteY14" fmla="*/ 87316 h 97125"/>
                  <a:gd name="connsiteX15" fmla="*/ 49211 w 155130"/>
                  <a:gd name="connsiteY15" fmla="*/ 88633 h 97125"/>
                  <a:gd name="connsiteX16" fmla="*/ 50685 w 155130"/>
                  <a:gd name="connsiteY16" fmla="*/ 88913 h 97125"/>
                  <a:gd name="connsiteX17" fmla="*/ 52702 w 155130"/>
                  <a:gd name="connsiteY17" fmla="*/ 90027 h 97125"/>
                  <a:gd name="connsiteX18" fmla="*/ 52249 w 155130"/>
                  <a:gd name="connsiteY18" fmla="*/ 90425 h 97125"/>
                  <a:gd name="connsiteX19" fmla="*/ 50765 w 155130"/>
                  <a:gd name="connsiteY19" fmla="*/ 90744 h 97125"/>
                  <a:gd name="connsiteX20" fmla="*/ 49068 w 155130"/>
                  <a:gd name="connsiteY20" fmla="*/ 90076 h 97125"/>
                  <a:gd name="connsiteX21" fmla="*/ 46306 w 155130"/>
                  <a:gd name="connsiteY21" fmla="*/ 87558 h 97125"/>
                  <a:gd name="connsiteX22" fmla="*/ 91822 w 155130"/>
                  <a:gd name="connsiteY22" fmla="*/ 83772 h 97125"/>
                  <a:gd name="connsiteX23" fmla="*/ 92618 w 155130"/>
                  <a:gd name="connsiteY23" fmla="*/ 84486 h 97125"/>
                  <a:gd name="connsiteX24" fmla="*/ 94987 w 155130"/>
                  <a:gd name="connsiteY24" fmla="*/ 84785 h 97125"/>
                  <a:gd name="connsiteX25" fmla="*/ 96145 w 155130"/>
                  <a:gd name="connsiteY25" fmla="*/ 85207 h 97125"/>
                  <a:gd name="connsiteX26" fmla="*/ 97112 w 155130"/>
                  <a:gd name="connsiteY26" fmla="*/ 85827 h 97125"/>
                  <a:gd name="connsiteX27" fmla="*/ 97907 w 155130"/>
                  <a:gd name="connsiteY27" fmla="*/ 86796 h 97125"/>
                  <a:gd name="connsiteX28" fmla="*/ 97062 w 155130"/>
                  <a:gd name="connsiteY28" fmla="*/ 87254 h 97125"/>
                  <a:gd name="connsiteX29" fmla="*/ 93668 w 155130"/>
                  <a:gd name="connsiteY29" fmla="*/ 86918 h 97125"/>
                  <a:gd name="connsiteX30" fmla="*/ 89841 w 155130"/>
                  <a:gd name="connsiteY30" fmla="*/ 89047 h 97125"/>
                  <a:gd name="connsiteX31" fmla="*/ 88390 w 155130"/>
                  <a:gd name="connsiteY31" fmla="*/ 88374 h 97125"/>
                  <a:gd name="connsiteX32" fmla="*/ 88939 w 155130"/>
                  <a:gd name="connsiteY32" fmla="*/ 87014 h 97125"/>
                  <a:gd name="connsiteX33" fmla="*/ 89338 w 155130"/>
                  <a:gd name="connsiteY33" fmla="*/ 86518 h 97125"/>
                  <a:gd name="connsiteX34" fmla="*/ 90625 w 155130"/>
                  <a:gd name="connsiteY34" fmla="*/ 85941 h 97125"/>
                  <a:gd name="connsiteX35" fmla="*/ 91485 w 155130"/>
                  <a:gd name="connsiteY35" fmla="*/ 85096 h 97125"/>
                  <a:gd name="connsiteX36" fmla="*/ 36701 w 155130"/>
                  <a:gd name="connsiteY36" fmla="*/ 83621 h 97125"/>
                  <a:gd name="connsiteX37" fmla="*/ 37787 w 155130"/>
                  <a:gd name="connsiteY37" fmla="*/ 83953 h 97125"/>
                  <a:gd name="connsiteX38" fmla="*/ 41512 w 155130"/>
                  <a:gd name="connsiteY38" fmla="*/ 86160 h 97125"/>
                  <a:gd name="connsiteX39" fmla="*/ 42814 w 155130"/>
                  <a:gd name="connsiteY39" fmla="*/ 88573 h 97125"/>
                  <a:gd name="connsiteX40" fmla="*/ 42892 w 155130"/>
                  <a:gd name="connsiteY40" fmla="*/ 89234 h 97125"/>
                  <a:gd name="connsiteX41" fmla="*/ 40590 w 155130"/>
                  <a:gd name="connsiteY41" fmla="*/ 89661 h 97125"/>
                  <a:gd name="connsiteX42" fmla="*/ 39413 w 155130"/>
                  <a:gd name="connsiteY42" fmla="*/ 88919 h 97125"/>
                  <a:gd name="connsiteX43" fmla="*/ 37254 w 155130"/>
                  <a:gd name="connsiteY43" fmla="*/ 88632 h 97125"/>
                  <a:gd name="connsiteX44" fmla="*/ 36479 w 155130"/>
                  <a:gd name="connsiteY44" fmla="*/ 83902 h 97125"/>
                  <a:gd name="connsiteX45" fmla="*/ 61992 w 155130"/>
                  <a:gd name="connsiteY45" fmla="*/ 80886 h 97125"/>
                  <a:gd name="connsiteX46" fmla="*/ 62568 w 155130"/>
                  <a:gd name="connsiteY46" fmla="*/ 80938 h 97125"/>
                  <a:gd name="connsiteX47" fmla="*/ 61899 w 155130"/>
                  <a:gd name="connsiteY47" fmla="*/ 83834 h 97125"/>
                  <a:gd name="connsiteX48" fmla="*/ 58459 w 155130"/>
                  <a:gd name="connsiteY48" fmla="*/ 91894 h 97125"/>
                  <a:gd name="connsiteX49" fmla="*/ 57770 w 155130"/>
                  <a:gd name="connsiteY49" fmla="*/ 93394 h 97125"/>
                  <a:gd name="connsiteX50" fmla="*/ 56790 w 155130"/>
                  <a:gd name="connsiteY50" fmla="*/ 93567 h 97125"/>
                  <a:gd name="connsiteX51" fmla="*/ 55457 w 155130"/>
                  <a:gd name="connsiteY51" fmla="*/ 91084 h 97125"/>
                  <a:gd name="connsiteX52" fmla="*/ 55285 w 155130"/>
                  <a:gd name="connsiteY52" fmla="*/ 90307 h 97125"/>
                  <a:gd name="connsiteX53" fmla="*/ 56850 w 155130"/>
                  <a:gd name="connsiteY53" fmla="*/ 88716 h 97125"/>
                  <a:gd name="connsiteX54" fmla="*/ 57863 w 155130"/>
                  <a:gd name="connsiteY54" fmla="*/ 86912 h 97125"/>
                  <a:gd name="connsiteX55" fmla="*/ 60482 w 155130"/>
                  <a:gd name="connsiteY55" fmla="*/ 84139 h 97125"/>
                  <a:gd name="connsiteX56" fmla="*/ 146910 w 155130"/>
                  <a:gd name="connsiteY56" fmla="*/ 76604 h 97125"/>
                  <a:gd name="connsiteX57" fmla="*/ 155031 w 155130"/>
                  <a:gd name="connsiteY57" fmla="*/ 81297 h 97125"/>
                  <a:gd name="connsiteX58" fmla="*/ 155130 w 155130"/>
                  <a:gd name="connsiteY58" fmla="*/ 83063 h 97125"/>
                  <a:gd name="connsiteX59" fmla="*/ 154038 w 155130"/>
                  <a:gd name="connsiteY59" fmla="*/ 85072 h 97125"/>
                  <a:gd name="connsiteX60" fmla="*/ 153222 w 155130"/>
                  <a:gd name="connsiteY60" fmla="*/ 85592 h 97125"/>
                  <a:gd name="connsiteX61" fmla="*/ 149568 w 155130"/>
                  <a:gd name="connsiteY61" fmla="*/ 84731 h 97125"/>
                  <a:gd name="connsiteX62" fmla="*/ 145115 w 155130"/>
                  <a:gd name="connsiteY62" fmla="*/ 82599 h 97125"/>
                  <a:gd name="connsiteX63" fmla="*/ 145767 w 155130"/>
                  <a:gd name="connsiteY63" fmla="*/ 78415 h 97125"/>
                  <a:gd name="connsiteX64" fmla="*/ 55309 w 155130"/>
                  <a:gd name="connsiteY64" fmla="*/ 66827 h 97125"/>
                  <a:gd name="connsiteX65" fmla="*/ 55803 w 155130"/>
                  <a:gd name="connsiteY65" fmla="*/ 66921 h 97125"/>
                  <a:gd name="connsiteX66" fmla="*/ 56725 w 155130"/>
                  <a:gd name="connsiteY66" fmla="*/ 68538 h 97125"/>
                  <a:gd name="connsiteX67" fmla="*/ 57859 w 155130"/>
                  <a:gd name="connsiteY67" fmla="*/ 71982 h 97125"/>
                  <a:gd name="connsiteX68" fmla="*/ 59653 w 155130"/>
                  <a:gd name="connsiteY68" fmla="*/ 75828 h 97125"/>
                  <a:gd name="connsiteX69" fmla="*/ 58904 w 155130"/>
                  <a:gd name="connsiteY69" fmla="*/ 77436 h 97125"/>
                  <a:gd name="connsiteX70" fmla="*/ 59413 w 155130"/>
                  <a:gd name="connsiteY70" fmla="*/ 79495 h 97125"/>
                  <a:gd name="connsiteX71" fmla="*/ 58902 w 155130"/>
                  <a:gd name="connsiteY71" fmla="*/ 81640 h 97125"/>
                  <a:gd name="connsiteX72" fmla="*/ 55332 w 155130"/>
                  <a:gd name="connsiteY72" fmla="*/ 84132 h 97125"/>
                  <a:gd name="connsiteX73" fmla="*/ 51329 w 155130"/>
                  <a:gd name="connsiteY73" fmla="*/ 84244 h 97125"/>
                  <a:gd name="connsiteX74" fmla="*/ 47168 w 155130"/>
                  <a:gd name="connsiteY74" fmla="*/ 83041 h 97125"/>
                  <a:gd name="connsiteX75" fmla="*/ 41290 w 155130"/>
                  <a:gd name="connsiteY75" fmla="*/ 80722 h 97125"/>
                  <a:gd name="connsiteX76" fmla="*/ 40817 w 155130"/>
                  <a:gd name="connsiteY76" fmla="*/ 79419 h 97125"/>
                  <a:gd name="connsiteX77" fmla="*/ 39992 w 155130"/>
                  <a:gd name="connsiteY77" fmla="*/ 78697 h 97125"/>
                  <a:gd name="connsiteX78" fmla="*/ 38420 w 155130"/>
                  <a:gd name="connsiteY78" fmla="*/ 74737 h 97125"/>
                  <a:gd name="connsiteX79" fmla="*/ 38457 w 155130"/>
                  <a:gd name="connsiteY79" fmla="*/ 69843 h 97125"/>
                  <a:gd name="connsiteX80" fmla="*/ 41411 w 155130"/>
                  <a:gd name="connsiteY80" fmla="*/ 69229 h 97125"/>
                  <a:gd name="connsiteX81" fmla="*/ 47865 w 155130"/>
                  <a:gd name="connsiteY81" fmla="*/ 66889 h 97125"/>
                  <a:gd name="connsiteX82" fmla="*/ 49357 w 155130"/>
                  <a:gd name="connsiteY82" fmla="*/ 67257 h 97125"/>
                  <a:gd name="connsiteX83" fmla="*/ 50914 w 155130"/>
                  <a:gd name="connsiteY83" fmla="*/ 68454 h 97125"/>
                  <a:gd name="connsiteX84" fmla="*/ 52706 w 155130"/>
                  <a:gd name="connsiteY84" fmla="*/ 68525 h 97125"/>
                  <a:gd name="connsiteX85" fmla="*/ 99012 w 155130"/>
                  <a:gd name="connsiteY85" fmla="*/ 64738 h 97125"/>
                  <a:gd name="connsiteX86" fmla="*/ 99472 w 155130"/>
                  <a:gd name="connsiteY86" fmla="*/ 64765 h 97125"/>
                  <a:gd name="connsiteX87" fmla="*/ 100101 w 155130"/>
                  <a:gd name="connsiteY87" fmla="*/ 65775 h 97125"/>
                  <a:gd name="connsiteX88" fmla="*/ 100483 w 155130"/>
                  <a:gd name="connsiteY88" fmla="*/ 67333 h 97125"/>
                  <a:gd name="connsiteX89" fmla="*/ 98401 w 155130"/>
                  <a:gd name="connsiteY89" fmla="*/ 68650 h 97125"/>
                  <a:gd name="connsiteX90" fmla="*/ 97943 w 155130"/>
                  <a:gd name="connsiteY90" fmla="*/ 68581 h 97125"/>
                  <a:gd name="connsiteX91" fmla="*/ 97267 w 155130"/>
                  <a:gd name="connsiteY91" fmla="*/ 66773 h 97125"/>
                  <a:gd name="connsiteX92" fmla="*/ 98365 w 155130"/>
                  <a:gd name="connsiteY92" fmla="*/ 65672 h 97125"/>
                  <a:gd name="connsiteX93" fmla="*/ 53637 w 155130"/>
                  <a:gd name="connsiteY93" fmla="*/ 55046 h 97125"/>
                  <a:gd name="connsiteX94" fmla="*/ 55609 w 155130"/>
                  <a:gd name="connsiteY94" fmla="*/ 57468 h 97125"/>
                  <a:gd name="connsiteX95" fmla="*/ 56170 w 155130"/>
                  <a:gd name="connsiteY95" fmla="*/ 58606 h 97125"/>
                  <a:gd name="connsiteX96" fmla="*/ 55410 w 155130"/>
                  <a:gd name="connsiteY96" fmla="*/ 59965 h 97125"/>
                  <a:gd name="connsiteX97" fmla="*/ 54967 w 155130"/>
                  <a:gd name="connsiteY97" fmla="*/ 61545 h 97125"/>
                  <a:gd name="connsiteX98" fmla="*/ 54592 w 155130"/>
                  <a:gd name="connsiteY98" fmla="*/ 62103 h 97125"/>
                  <a:gd name="connsiteX99" fmla="*/ 53190 w 155130"/>
                  <a:gd name="connsiteY99" fmla="*/ 61522 h 97125"/>
                  <a:gd name="connsiteX100" fmla="*/ 53043 w 155130"/>
                  <a:gd name="connsiteY100" fmla="*/ 59511 h 97125"/>
                  <a:gd name="connsiteX101" fmla="*/ 53575 w 155130"/>
                  <a:gd name="connsiteY101" fmla="*/ 57704 h 97125"/>
                  <a:gd name="connsiteX102" fmla="*/ 52950 w 155130"/>
                  <a:gd name="connsiteY102" fmla="*/ 56086 h 97125"/>
                  <a:gd name="connsiteX103" fmla="*/ 92910 w 155130"/>
                  <a:gd name="connsiteY103" fmla="*/ 50986 h 97125"/>
                  <a:gd name="connsiteX104" fmla="*/ 95231 w 155130"/>
                  <a:gd name="connsiteY104" fmla="*/ 51493 h 97125"/>
                  <a:gd name="connsiteX105" fmla="*/ 97389 w 155130"/>
                  <a:gd name="connsiteY105" fmla="*/ 52194 h 97125"/>
                  <a:gd name="connsiteX106" fmla="*/ 98559 w 155130"/>
                  <a:gd name="connsiteY106" fmla="*/ 52797 h 97125"/>
                  <a:gd name="connsiteX107" fmla="*/ 99215 w 155130"/>
                  <a:gd name="connsiteY107" fmla="*/ 53766 h 97125"/>
                  <a:gd name="connsiteX108" fmla="*/ 97768 w 155130"/>
                  <a:gd name="connsiteY108" fmla="*/ 56072 h 97125"/>
                  <a:gd name="connsiteX109" fmla="*/ 97367 w 155130"/>
                  <a:gd name="connsiteY109" fmla="*/ 57334 h 97125"/>
                  <a:gd name="connsiteX110" fmla="*/ 98339 w 155130"/>
                  <a:gd name="connsiteY110" fmla="*/ 61483 h 97125"/>
                  <a:gd name="connsiteX111" fmla="*/ 98392 w 155130"/>
                  <a:gd name="connsiteY111" fmla="*/ 64591 h 97125"/>
                  <a:gd name="connsiteX112" fmla="*/ 97818 w 155130"/>
                  <a:gd name="connsiteY112" fmla="*/ 65495 h 97125"/>
                  <a:gd name="connsiteX113" fmla="*/ 96974 w 155130"/>
                  <a:gd name="connsiteY113" fmla="*/ 66090 h 97125"/>
                  <a:gd name="connsiteX114" fmla="*/ 94765 w 155130"/>
                  <a:gd name="connsiteY114" fmla="*/ 66721 h 97125"/>
                  <a:gd name="connsiteX115" fmla="*/ 92852 w 155130"/>
                  <a:gd name="connsiteY115" fmla="*/ 67602 h 97125"/>
                  <a:gd name="connsiteX116" fmla="*/ 91146 w 155130"/>
                  <a:gd name="connsiteY116" fmla="*/ 69149 h 97125"/>
                  <a:gd name="connsiteX117" fmla="*/ 90517 w 155130"/>
                  <a:gd name="connsiteY117" fmla="*/ 71359 h 97125"/>
                  <a:gd name="connsiteX118" fmla="*/ 91852 w 155130"/>
                  <a:gd name="connsiteY118" fmla="*/ 72974 h 97125"/>
                  <a:gd name="connsiteX119" fmla="*/ 94279 w 155130"/>
                  <a:gd name="connsiteY119" fmla="*/ 73859 h 97125"/>
                  <a:gd name="connsiteX120" fmla="*/ 94897 w 155130"/>
                  <a:gd name="connsiteY120" fmla="*/ 76930 h 97125"/>
                  <a:gd name="connsiteX121" fmla="*/ 92893 w 155130"/>
                  <a:gd name="connsiteY121" fmla="*/ 78444 h 97125"/>
                  <a:gd name="connsiteX122" fmla="*/ 87751 w 155130"/>
                  <a:gd name="connsiteY122" fmla="*/ 79954 h 97125"/>
                  <a:gd name="connsiteX123" fmla="*/ 87211 w 155130"/>
                  <a:gd name="connsiteY123" fmla="*/ 83594 h 97125"/>
                  <a:gd name="connsiteX124" fmla="*/ 87378 w 155130"/>
                  <a:gd name="connsiteY124" fmla="*/ 86459 h 97125"/>
                  <a:gd name="connsiteX125" fmla="*/ 87285 w 155130"/>
                  <a:gd name="connsiteY125" fmla="*/ 88539 h 97125"/>
                  <a:gd name="connsiteX126" fmla="*/ 86877 w 155130"/>
                  <a:gd name="connsiteY126" fmla="*/ 91414 h 97125"/>
                  <a:gd name="connsiteX127" fmla="*/ 82717 w 155130"/>
                  <a:gd name="connsiteY127" fmla="*/ 92723 h 97125"/>
                  <a:gd name="connsiteX128" fmla="*/ 80034 w 155130"/>
                  <a:gd name="connsiteY128" fmla="*/ 88345 h 97125"/>
                  <a:gd name="connsiteX129" fmla="*/ 80010 w 155130"/>
                  <a:gd name="connsiteY129" fmla="*/ 86590 h 97125"/>
                  <a:gd name="connsiteX130" fmla="*/ 79209 w 155130"/>
                  <a:gd name="connsiteY130" fmla="*/ 84540 h 97125"/>
                  <a:gd name="connsiteX131" fmla="*/ 79058 w 155130"/>
                  <a:gd name="connsiteY131" fmla="*/ 82791 h 97125"/>
                  <a:gd name="connsiteX132" fmla="*/ 78107 w 155130"/>
                  <a:gd name="connsiteY132" fmla="*/ 79991 h 97125"/>
                  <a:gd name="connsiteX133" fmla="*/ 74173 w 155130"/>
                  <a:gd name="connsiteY133" fmla="*/ 79233 h 97125"/>
                  <a:gd name="connsiteX134" fmla="*/ 72646 w 155130"/>
                  <a:gd name="connsiteY134" fmla="*/ 79133 h 97125"/>
                  <a:gd name="connsiteX135" fmla="*/ 70510 w 155130"/>
                  <a:gd name="connsiteY135" fmla="*/ 79654 h 97125"/>
                  <a:gd name="connsiteX136" fmla="*/ 69981 w 155130"/>
                  <a:gd name="connsiteY136" fmla="*/ 79451 h 97125"/>
                  <a:gd name="connsiteX137" fmla="*/ 67425 w 155130"/>
                  <a:gd name="connsiteY137" fmla="*/ 75620 h 97125"/>
                  <a:gd name="connsiteX138" fmla="*/ 67846 w 155130"/>
                  <a:gd name="connsiteY138" fmla="*/ 71386 h 97125"/>
                  <a:gd name="connsiteX139" fmla="*/ 66481 w 155130"/>
                  <a:gd name="connsiteY139" fmla="*/ 69246 h 97125"/>
                  <a:gd name="connsiteX140" fmla="*/ 66293 w 155130"/>
                  <a:gd name="connsiteY140" fmla="*/ 68277 h 97125"/>
                  <a:gd name="connsiteX141" fmla="*/ 66326 w 155130"/>
                  <a:gd name="connsiteY141" fmla="*/ 67203 h 97125"/>
                  <a:gd name="connsiteX142" fmla="*/ 65205 w 155130"/>
                  <a:gd name="connsiteY142" fmla="*/ 66317 h 97125"/>
                  <a:gd name="connsiteX143" fmla="*/ 63845 w 155130"/>
                  <a:gd name="connsiteY143" fmla="*/ 65848 h 97125"/>
                  <a:gd name="connsiteX144" fmla="*/ 63184 w 155130"/>
                  <a:gd name="connsiteY144" fmla="*/ 63455 h 97125"/>
                  <a:gd name="connsiteX145" fmla="*/ 64747 w 155130"/>
                  <a:gd name="connsiteY145" fmla="*/ 62875 h 97125"/>
                  <a:gd name="connsiteX146" fmla="*/ 68612 w 155130"/>
                  <a:gd name="connsiteY146" fmla="*/ 63155 h 97125"/>
                  <a:gd name="connsiteX147" fmla="*/ 69742 w 155130"/>
                  <a:gd name="connsiteY147" fmla="*/ 62992 h 97125"/>
                  <a:gd name="connsiteX148" fmla="*/ 70776 w 155130"/>
                  <a:gd name="connsiteY148" fmla="*/ 62493 h 97125"/>
                  <a:gd name="connsiteX149" fmla="*/ 73903 w 155130"/>
                  <a:gd name="connsiteY149" fmla="*/ 58553 h 97125"/>
                  <a:gd name="connsiteX150" fmla="*/ 73812 w 155130"/>
                  <a:gd name="connsiteY150" fmla="*/ 57684 h 97125"/>
                  <a:gd name="connsiteX151" fmla="*/ 74147 w 155130"/>
                  <a:gd name="connsiteY151" fmla="*/ 56556 h 97125"/>
                  <a:gd name="connsiteX152" fmla="*/ 77531 w 155130"/>
                  <a:gd name="connsiteY152" fmla="*/ 56138 h 97125"/>
                  <a:gd name="connsiteX153" fmla="*/ 79038 w 155130"/>
                  <a:gd name="connsiteY153" fmla="*/ 57662 h 97125"/>
                  <a:gd name="connsiteX154" fmla="*/ 78736 w 155130"/>
                  <a:gd name="connsiteY154" fmla="*/ 60102 h 97125"/>
                  <a:gd name="connsiteX155" fmla="*/ 78928 w 155130"/>
                  <a:gd name="connsiteY155" fmla="*/ 63224 h 97125"/>
                  <a:gd name="connsiteX156" fmla="*/ 80977 w 155130"/>
                  <a:gd name="connsiteY156" fmla="*/ 64072 h 97125"/>
                  <a:gd name="connsiteX157" fmla="*/ 81776 w 155130"/>
                  <a:gd name="connsiteY157" fmla="*/ 64197 h 97125"/>
                  <a:gd name="connsiteX158" fmla="*/ 82629 w 155130"/>
                  <a:gd name="connsiteY158" fmla="*/ 61892 h 97125"/>
                  <a:gd name="connsiteX159" fmla="*/ 83227 w 155130"/>
                  <a:gd name="connsiteY159" fmla="*/ 60771 h 97125"/>
                  <a:gd name="connsiteX160" fmla="*/ 84039 w 155130"/>
                  <a:gd name="connsiteY160" fmla="*/ 60146 h 97125"/>
                  <a:gd name="connsiteX161" fmla="*/ 84315 w 155130"/>
                  <a:gd name="connsiteY161" fmla="*/ 58036 h 97125"/>
                  <a:gd name="connsiteX162" fmla="*/ 83834 w 155130"/>
                  <a:gd name="connsiteY162" fmla="*/ 56747 h 97125"/>
                  <a:gd name="connsiteX163" fmla="*/ 82808 w 155130"/>
                  <a:gd name="connsiteY163" fmla="*/ 55786 h 97125"/>
                  <a:gd name="connsiteX164" fmla="*/ 86639 w 155130"/>
                  <a:gd name="connsiteY164" fmla="*/ 53169 h 97125"/>
                  <a:gd name="connsiteX165" fmla="*/ 90604 w 155130"/>
                  <a:gd name="connsiteY165" fmla="*/ 51094 h 97125"/>
                  <a:gd name="connsiteX166" fmla="*/ 65546 w 155130"/>
                  <a:gd name="connsiteY166" fmla="*/ 12961 h 97125"/>
                  <a:gd name="connsiteX167" fmla="*/ 67509 w 155130"/>
                  <a:gd name="connsiteY167" fmla="*/ 13184 h 97125"/>
                  <a:gd name="connsiteX168" fmla="*/ 65350 w 155130"/>
                  <a:gd name="connsiteY168" fmla="*/ 14644 h 97125"/>
                  <a:gd name="connsiteX169" fmla="*/ 64803 w 155130"/>
                  <a:gd name="connsiteY169" fmla="*/ 15417 h 97125"/>
                  <a:gd name="connsiteX170" fmla="*/ 63903 w 155130"/>
                  <a:gd name="connsiteY170" fmla="*/ 16160 h 97125"/>
                  <a:gd name="connsiteX171" fmla="*/ 60860 w 155130"/>
                  <a:gd name="connsiteY171" fmla="*/ 15109 h 97125"/>
                  <a:gd name="connsiteX172" fmla="*/ 62204 w 155130"/>
                  <a:gd name="connsiteY172" fmla="*/ 13639 h 97125"/>
                  <a:gd name="connsiteX173" fmla="*/ 55026 w 155130"/>
                  <a:gd name="connsiteY173" fmla="*/ 0 h 97125"/>
                  <a:gd name="connsiteX174" fmla="*/ 52173 w 155130"/>
                  <a:gd name="connsiteY174" fmla="*/ 2816 h 97125"/>
                  <a:gd name="connsiteX175" fmla="*/ 51715 w 155130"/>
                  <a:gd name="connsiteY175" fmla="*/ 3905 h 97125"/>
                  <a:gd name="connsiteX176" fmla="*/ 51370 w 155130"/>
                  <a:gd name="connsiteY176" fmla="*/ 5573 h 97125"/>
                  <a:gd name="connsiteX177" fmla="*/ 53415 w 155130"/>
                  <a:gd name="connsiteY177" fmla="*/ 9192 h 97125"/>
                  <a:gd name="connsiteX178" fmla="*/ 52983 w 155130"/>
                  <a:gd name="connsiteY178" fmla="*/ 11391 h 97125"/>
                  <a:gd name="connsiteX179" fmla="*/ 53127 w 155130"/>
                  <a:gd name="connsiteY179" fmla="*/ 15713 h 97125"/>
                  <a:gd name="connsiteX180" fmla="*/ 51199 w 155130"/>
                  <a:gd name="connsiteY180" fmla="*/ 17962 h 97125"/>
                  <a:gd name="connsiteX181" fmla="*/ 49023 w 155130"/>
                  <a:gd name="connsiteY181" fmla="*/ 22738 h 97125"/>
                  <a:gd name="connsiteX182" fmla="*/ 48085 w 155130"/>
                  <a:gd name="connsiteY182" fmla="*/ 23440 h 97125"/>
                  <a:gd name="connsiteX183" fmla="*/ 47885 w 155130"/>
                  <a:gd name="connsiteY183" fmla="*/ 29001 h 97125"/>
                  <a:gd name="connsiteX184" fmla="*/ 48098 w 155130"/>
                  <a:gd name="connsiteY184" fmla="*/ 30326 h 97125"/>
                  <a:gd name="connsiteX185" fmla="*/ 47789 w 155130"/>
                  <a:gd name="connsiteY185" fmla="*/ 35374 h 97125"/>
                  <a:gd name="connsiteX186" fmla="*/ 50020 w 155130"/>
                  <a:gd name="connsiteY186" fmla="*/ 37437 h 97125"/>
                  <a:gd name="connsiteX187" fmla="*/ 52378 w 155130"/>
                  <a:gd name="connsiteY187" fmla="*/ 38515 h 97125"/>
                  <a:gd name="connsiteX188" fmla="*/ 60243 w 155130"/>
                  <a:gd name="connsiteY188" fmla="*/ 38477 h 97125"/>
                  <a:gd name="connsiteX189" fmla="*/ 61059 w 155130"/>
                  <a:gd name="connsiteY189" fmla="*/ 39383 h 97125"/>
                  <a:gd name="connsiteX190" fmla="*/ 62018 w 155130"/>
                  <a:gd name="connsiteY190" fmla="*/ 40939 h 97125"/>
                  <a:gd name="connsiteX191" fmla="*/ 61316 w 155130"/>
                  <a:gd name="connsiteY191" fmla="*/ 43578 h 97125"/>
                  <a:gd name="connsiteX192" fmla="*/ 60476 w 155130"/>
                  <a:gd name="connsiteY192" fmla="*/ 45567 h 97125"/>
                  <a:gd name="connsiteX193" fmla="*/ 58198 w 155130"/>
                  <a:gd name="connsiteY193" fmla="*/ 47241 h 97125"/>
                  <a:gd name="connsiteX194" fmla="*/ 55274 w 155130"/>
                  <a:gd name="connsiteY194" fmla="*/ 48488 h 97125"/>
                  <a:gd name="connsiteX195" fmla="*/ 53456 w 155130"/>
                  <a:gd name="connsiteY195" fmla="*/ 48543 h 97125"/>
                  <a:gd name="connsiteX196" fmla="*/ 50979 w 155130"/>
                  <a:gd name="connsiteY196" fmla="*/ 46172 h 97125"/>
                  <a:gd name="connsiteX197" fmla="*/ 49802 w 155130"/>
                  <a:gd name="connsiteY197" fmla="*/ 46941 h 97125"/>
                  <a:gd name="connsiteX198" fmla="*/ 48586 w 155130"/>
                  <a:gd name="connsiteY198" fmla="*/ 48150 h 97125"/>
                  <a:gd name="connsiteX199" fmla="*/ 46550 w 155130"/>
                  <a:gd name="connsiteY199" fmla="*/ 54627 h 97125"/>
                  <a:gd name="connsiteX200" fmla="*/ 45585 w 155130"/>
                  <a:gd name="connsiteY200" fmla="*/ 58992 h 97125"/>
                  <a:gd name="connsiteX201" fmla="*/ 45062 w 155130"/>
                  <a:gd name="connsiteY201" fmla="*/ 59346 h 97125"/>
                  <a:gd name="connsiteX202" fmla="*/ 43911 w 155130"/>
                  <a:gd name="connsiteY202" fmla="*/ 58703 h 97125"/>
                  <a:gd name="connsiteX203" fmla="*/ 41923 w 155130"/>
                  <a:gd name="connsiteY203" fmla="*/ 58653 h 97125"/>
                  <a:gd name="connsiteX204" fmla="*/ 39409 w 155130"/>
                  <a:gd name="connsiteY204" fmla="*/ 59687 h 97125"/>
                  <a:gd name="connsiteX205" fmla="*/ 40698 w 155130"/>
                  <a:gd name="connsiteY205" fmla="*/ 60612 h 97125"/>
                  <a:gd name="connsiteX206" fmla="*/ 42061 w 155130"/>
                  <a:gd name="connsiteY206" fmla="*/ 62217 h 97125"/>
                  <a:gd name="connsiteX207" fmla="*/ 41516 w 155130"/>
                  <a:gd name="connsiteY207" fmla="*/ 63021 h 97125"/>
                  <a:gd name="connsiteX208" fmla="*/ 39305 w 155130"/>
                  <a:gd name="connsiteY208" fmla="*/ 63889 h 97125"/>
                  <a:gd name="connsiteX209" fmla="*/ 37345 w 155130"/>
                  <a:gd name="connsiteY209" fmla="*/ 65645 h 97125"/>
                  <a:gd name="connsiteX210" fmla="*/ 36524 w 155130"/>
                  <a:gd name="connsiteY210" fmla="*/ 66973 h 97125"/>
                  <a:gd name="connsiteX211" fmla="*/ 34051 w 155130"/>
                  <a:gd name="connsiteY211" fmla="*/ 68543 h 97125"/>
                  <a:gd name="connsiteX212" fmla="*/ 32497 w 155130"/>
                  <a:gd name="connsiteY212" fmla="*/ 70532 h 97125"/>
                  <a:gd name="connsiteX213" fmla="*/ 33259 w 155130"/>
                  <a:gd name="connsiteY213" fmla="*/ 72995 h 97125"/>
                  <a:gd name="connsiteX214" fmla="*/ 33583 w 155130"/>
                  <a:gd name="connsiteY214" fmla="*/ 75156 h 97125"/>
                  <a:gd name="connsiteX215" fmla="*/ 34263 w 155130"/>
                  <a:gd name="connsiteY215" fmla="*/ 77540 h 97125"/>
                  <a:gd name="connsiteX216" fmla="*/ 33650 w 155130"/>
                  <a:gd name="connsiteY216" fmla="*/ 79442 h 97125"/>
                  <a:gd name="connsiteX217" fmla="*/ 30588 w 155130"/>
                  <a:gd name="connsiteY217" fmla="*/ 82168 h 97125"/>
                  <a:gd name="connsiteX218" fmla="*/ 29459 w 155130"/>
                  <a:gd name="connsiteY218" fmla="*/ 84528 h 97125"/>
                  <a:gd name="connsiteX219" fmla="*/ 32082 w 155130"/>
                  <a:gd name="connsiteY219" fmla="*/ 84498 h 97125"/>
                  <a:gd name="connsiteX220" fmla="*/ 33697 w 155130"/>
                  <a:gd name="connsiteY220" fmla="*/ 85043 h 97125"/>
                  <a:gd name="connsiteX221" fmla="*/ 34643 w 155130"/>
                  <a:gd name="connsiteY221" fmla="*/ 85740 h 97125"/>
                  <a:gd name="connsiteX222" fmla="*/ 35619 w 155130"/>
                  <a:gd name="connsiteY222" fmla="*/ 86727 h 97125"/>
                  <a:gd name="connsiteX223" fmla="*/ 35021 w 155130"/>
                  <a:gd name="connsiteY223" fmla="*/ 87946 h 97125"/>
                  <a:gd name="connsiteX224" fmla="*/ 35783 w 155130"/>
                  <a:gd name="connsiteY224" fmla="*/ 91101 h 97125"/>
                  <a:gd name="connsiteX225" fmla="*/ 35457 w 155130"/>
                  <a:gd name="connsiteY225" fmla="*/ 91101 h 97125"/>
                  <a:gd name="connsiteX226" fmla="*/ 34047 w 155130"/>
                  <a:gd name="connsiteY226" fmla="*/ 90830 h 97125"/>
                  <a:gd name="connsiteX227" fmla="*/ 33043 w 155130"/>
                  <a:gd name="connsiteY227" fmla="*/ 90184 h 97125"/>
                  <a:gd name="connsiteX228" fmla="*/ 30454 w 155130"/>
                  <a:gd name="connsiteY228" fmla="*/ 90644 h 97125"/>
                  <a:gd name="connsiteX229" fmla="*/ 26988 w 155130"/>
                  <a:gd name="connsiteY229" fmla="*/ 91691 h 97125"/>
                  <a:gd name="connsiteX230" fmla="*/ 25064 w 155130"/>
                  <a:gd name="connsiteY230" fmla="*/ 91638 h 97125"/>
                  <a:gd name="connsiteX231" fmla="*/ 23535 w 155130"/>
                  <a:gd name="connsiteY231" fmla="*/ 90514 h 97125"/>
                  <a:gd name="connsiteX232" fmla="*/ 17280 w 155130"/>
                  <a:gd name="connsiteY232" fmla="*/ 88911 h 97125"/>
                  <a:gd name="connsiteX233" fmla="*/ 16269 w 155130"/>
                  <a:gd name="connsiteY233" fmla="*/ 88781 h 97125"/>
                  <a:gd name="connsiteX234" fmla="*/ 12145 w 155130"/>
                  <a:gd name="connsiteY234" fmla="*/ 88714 h 97125"/>
                  <a:gd name="connsiteX235" fmla="*/ 12136 w 155130"/>
                  <a:gd name="connsiteY235" fmla="*/ 88711 h 97125"/>
                  <a:gd name="connsiteX236" fmla="*/ 11939 w 155130"/>
                  <a:gd name="connsiteY236" fmla="*/ 86176 h 97125"/>
                  <a:gd name="connsiteX237" fmla="*/ 11428 w 155130"/>
                  <a:gd name="connsiteY237" fmla="*/ 84343 h 97125"/>
                  <a:gd name="connsiteX238" fmla="*/ 9983 w 155130"/>
                  <a:gd name="connsiteY238" fmla="*/ 81613 h 97125"/>
                  <a:gd name="connsiteX239" fmla="*/ 12125 w 155130"/>
                  <a:gd name="connsiteY239" fmla="*/ 80954 h 97125"/>
                  <a:gd name="connsiteX240" fmla="*/ 11711 w 155130"/>
                  <a:gd name="connsiteY240" fmla="*/ 75622 h 97125"/>
                  <a:gd name="connsiteX241" fmla="*/ 10933 w 155130"/>
                  <a:gd name="connsiteY241" fmla="*/ 72852 h 97125"/>
                  <a:gd name="connsiteX242" fmla="*/ 4949 w 155130"/>
                  <a:gd name="connsiteY242" fmla="*/ 70003 h 97125"/>
                  <a:gd name="connsiteX243" fmla="*/ 236 w 155130"/>
                  <a:gd name="connsiteY243" fmla="*/ 67231 h 97125"/>
                  <a:gd name="connsiteX244" fmla="*/ 1324 w 155130"/>
                  <a:gd name="connsiteY244" fmla="*/ 57872 h 97125"/>
                  <a:gd name="connsiteX245" fmla="*/ 1788 w 155130"/>
                  <a:gd name="connsiteY245" fmla="*/ 55344 h 97125"/>
                  <a:gd name="connsiteX246" fmla="*/ 0 w 155130"/>
                  <a:gd name="connsiteY246" fmla="*/ 50431 h 97125"/>
                  <a:gd name="connsiteX247" fmla="*/ 186 w 155130"/>
                  <a:gd name="connsiteY247" fmla="*/ 44763 h 97125"/>
                  <a:gd name="connsiteX248" fmla="*/ 939 w 155130"/>
                  <a:gd name="connsiteY248" fmla="*/ 35802 h 97125"/>
                  <a:gd name="connsiteX249" fmla="*/ 2438 w 155130"/>
                  <a:gd name="connsiteY249" fmla="*/ 35451 h 97125"/>
                  <a:gd name="connsiteX250" fmla="*/ 3537 w 155130"/>
                  <a:gd name="connsiteY250" fmla="*/ 35494 h 97125"/>
                  <a:gd name="connsiteX251" fmla="*/ 7776 w 155130"/>
                  <a:gd name="connsiteY251" fmla="*/ 37105 h 97125"/>
                  <a:gd name="connsiteX252" fmla="*/ 9541 w 155130"/>
                  <a:gd name="connsiteY252" fmla="*/ 37266 h 97125"/>
                  <a:gd name="connsiteX253" fmla="*/ 10750 w 155130"/>
                  <a:gd name="connsiteY253" fmla="*/ 38703 h 97125"/>
                  <a:gd name="connsiteX254" fmla="*/ 12166 w 155130"/>
                  <a:gd name="connsiteY254" fmla="*/ 39295 h 97125"/>
                  <a:gd name="connsiteX255" fmla="*/ 13192 w 155130"/>
                  <a:gd name="connsiteY255" fmla="*/ 37768 h 97125"/>
                  <a:gd name="connsiteX256" fmla="*/ 13591 w 155130"/>
                  <a:gd name="connsiteY256" fmla="*/ 35156 h 97125"/>
                  <a:gd name="connsiteX257" fmla="*/ 16951 w 155130"/>
                  <a:gd name="connsiteY257" fmla="*/ 31770 h 97125"/>
                  <a:gd name="connsiteX258" fmla="*/ 19305 w 155130"/>
                  <a:gd name="connsiteY258" fmla="*/ 30519 h 97125"/>
                  <a:gd name="connsiteX259" fmla="*/ 20910 w 155130"/>
                  <a:gd name="connsiteY259" fmla="*/ 29918 h 97125"/>
                  <a:gd name="connsiteX260" fmla="*/ 22529 w 155130"/>
                  <a:gd name="connsiteY260" fmla="*/ 31286 h 97125"/>
                  <a:gd name="connsiteX261" fmla="*/ 23768 w 155130"/>
                  <a:gd name="connsiteY261" fmla="*/ 32821 h 97125"/>
                  <a:gd name="connsiteX262" fmla="*/ 24062 w 155130"/>
                  <a:gd name="connsiteY262" fmla="*/ 29460 h 97125"/>
                  <a:gd name="connsiteX263" fmla="*/ 25062 w 155130"/>
                  <a:gd name="connsiteY263" fmla="*/ 23042 h 97125"/>
                  <a:gd name="connsiteX264" fmla="*/ 21868 w 155130"/>
                  <a:gd name="connsiteY264" fmla="*/ 22033 h 97125"/>
                  <a:gd name="connsiteX265" fmla="*/ 19266 w 155130"/>
                  <a:gd name="connsiteY265" fmla="*/ 22903 h 97125"/>
                  <a:gd name="connsiteX266" fmla="*/ 16686 w 155130"/>
                  <a:gd name="connsiteY266" fmla="*/ 26973 h 97125"/>
                  <a:gd name="connsiteX267" fmla="*/ 14384 w 155130"/>
                  <a:gd name="connsiteY267" fmla="*/ 32078 h 97125"/>
                  <a:gd name="connsiteX268" fmla="*/ 10650 w 155130"/>
                  <a:gd name="connsiteY268" fmla="*/ 32546 h 97125"/>
                  <a:gd name="connsiteX269" fmla="*/ 7670 w 155130"/>
                  <a:gd name="connsiteY269" fmla="*/ 33989 h 97125"/>
                  <a:gd name="connsiteX270" fmla="*/ 4980 w 155130"/>
                  <a:gd name="connsiteY270" fmla="*/ 32493 h 97125"/>
                  <a:gd name="connsiteX271" fmla="*/ 3246 w 155130"/>
                  <a:gd name="connsiteY271" fmla="*/ 31174 h 97125"/>
                  <a:gd name="connsiteX272" fmla="*/ 3203 w 155130"/>
                  <a:gd name="connsiteY272" fmla="*/ 29241 h 97125"/>
                  <a:gd name="connsiteX273" fmla="*/ 3596 w 155130"/>
                  <a:gd name="connsiteY273" fmla="*/ 28074 h 97125"/>
                  <a:gd name="connsiteX274" fmla="*/ 6757 w 155130"/>
                  <a:gd name="connsiteY274" fmla="*/ 23905 h 97125"/>
                  <a:gd name="connsiteX275" fmla="*/ 10992 w 155130"/>
                  <a:gd name="connsiteY275" fmla="*/ 19893 h 97125"/>
                  <a:gd name="connsiteX276" fmla="*/ 15258 w 155130"/>
                  <a:gd name="connsiteY276" fmla="*/ 19932 h 97125"/>
                  <a:gd name="connsiteX277" fmla="*/ 18370 w 155130"/>
                  <a:gd name="connsiteY277" fmla="*/ 18649 h 97125"/>
                  <a:gd name="connsiteX278" fmla="*/ 20229 w 155130"/>
                  <a:gd name="connsiteY278" fmla="*/ 18495 h 97125"/>
                  <a:gd name="connsiteX279" fmla="*/ 26034 w 155130"/>
                  <a:gd name="connsiteY279" fmla="*/ 18777 h 97125"/>
                  <a:gd name="connsiteX280" fmla="*/ 29014 w 155130"/>
                  <a:gd name="connsiteY280" fmla="*/ 17897 h 97125"/>
                  <a:gd name="connsiteX281" fmla="*/ 31683 w 155130"/>
                  <a:gd name="connsiteY281" fmla="*/ 16054 h 97125"/>
                  <a:gd name="connsiteX282" fmla="*/ 37450 w 155130"/>
                  <a:gd name="connsiteY282" fmla="*/ 8241 h 97125"/>
                  <a:gd name="connsiteX283" fmla="*/ 40705 w 155130"/>
                  <a:gd name="connsiteY283" fmla="*/ 4976 h 97125"/>
                  <a:gd name="connsiteX284" fmla="*/ 47267 w 155130"/>
                  <a:gd name="connsiteY284" fmla="*/ 3825 h 97125"/>
                  <a:gd name="connsiteX285" fmla="*/ 53330 w 155130"/>
                  <a:gd name="connsiteY285" fmla="*/ 48 h 97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</a:cxnLst>
                <a:rect l="l" t="t" r="r" b="b"/>
                <a:pathLst>
                  <a:path w="155130" h="97125">
                    <a:moveTo>
                      <a:pt x="69366" y="87225"/>
                    </a:moveTo>
                    <a:lnTo>
                      <a:pt x="71642" y="89072"/>
                    </a:lnTo>
                    <a:lnTo>
                      <a:pt x="75555" y="90976"/>
                    </a:lnTo>
                    <a:lnTo>
                      <a:pt x="78202" y="90867"/>
                    </a:lnTo>
                    <a:lnTo>
                      <a:pt x="80003" y="91656"/>
                    </a:lnTo>
                    <a:lnTo>
                      <a:pt x="80433" y="92874"/>
                    </a:lnTo>
                    <a:lnTo>
                      <a:pt x="80586" y="95577"/>
                    </a:lnTo>
                    <a:lnTo>
                      <a:pt x="78695" y="96364"/>
                    </a:lnTo>
                    <a:lnTo>
                      <a:pt x="76607" y="96097"/>
                    </a:lnTo>
                    <a:lnTo>
                      <a:pt x="73765" y="97125"/>
                    </a:lnTo>
                    <a:lnTo>
                      <a:pt x="64436" y="92708"/>
                    </a:lnTo>
                    <a:lnTo>
                      <a:pt x="64572" y="89020"/>
                    </a:lnTo>
                    <a:lnTo>
                      <a:pt x="64946" y="87570"/>
                    </a:lnTo>
                    <a:close/>
                    <a:moveTo>
                      <a:pt x="45958" y="86889"/>
                    </a:moveTo>
                    <a:lnTo>
                      <a:pt x="47410" y="87316"/>
                    </a:lnTo>
                    <a:lnTo>
                      <a:pt x="49211" y="88633"/>
                    </a:lnTo>
                    <a:lnTo>
                      <a:pt x="50685" y="88913"/>
                    </a:lnTo>
                    <a:lnTo>
                      <a:pt x="52702" y="90027"/>
                    </a:lnTo>
                    <a:lnTo>
                      <a:pt x="52249" y="90425"/>
                    </a:lnTo>
                    <a:lnTo>
                      <a:pt x="50765" y="90744"/>
                    </a:lnTo>
                    <a:lnTo>
                      <a:pt x="49068" y="90076"/>
                    </a:lnTo>
                    <a:lnTo>
                      <a:pt x="46306" y="87558"/>
                    </a:lnTo>
                    <a:close/>
                    <a:moveTo>
                      <a:pt x="91822" y="83772"/>
                    </a:moveTo>
                    <a:lnTo>
                      <a:pt x="92618" y="84486"/>
                    </a:lnTo>
                    <a:lnTo>
                      <a:pt x="94987" y="84785"/>
                    </a:lnTo>
                    <a:lnTo>
                      <a:pt x="96145" y="85207"/>
                    </a:lnTo>
                    <a:lnTo>
                      <a:pt x="97112" y="85827"/>
                    </a:lnTo>
                    <a:lnTo>
                      <a:pt x="97907" y="86796"/>
                    </a:lnTo>
                    <a:lnTo>
                      <a:pt x="97062" y="87254"/>
                    </a:lnTo>
                    <a:lnTo>
                      <a:pt x="93668" y="86918"/>
                    </a:lnTo>
                    <a:lnTo>
                      <a:pt x="89841" y="89047"/>
                    </a:lnTo>
                    <a:lnTo>
                      <a:pt x="88390" y="88374"/>
                    </a:lnTo>
                    <a:lnTo>
                      <a:pt x="88939" y="87014"/>
                    </a:lnTo>
                    <a:lnTo>
                      <a:pt x="89338" y="86518"/>
                    </a:lnTo>
                    <a:lnTo>
                      <a:pt x="90625" y="85941"/>
                    </a:lnTo>
                    <a:lnTo>
                      <a:pt x="91485" y="85096"/>
                    </a:lnTo>
                    <a:close/>
                    <a:moveTo>
                      <a:pt x="36701" y="83621"/>
                    </a:moveTo>
                    <a:lnTo>
                      <a:pt x="37787" y="83953"/>
                    </a:lnTo>
                    <a:lnTo>
                      <a:pt x="41512" y="86160"/>
                    </a:lnTo>
                    <a:lnTo>
                      <a:pt x="42814" y="88573"/>
                    </a:lnTo>
                    <a:lnTo>
                      <a:pt x="42892" y="89234"/>
                    </a:lnTo>
                    <a:lnTo>
                      <a:pt x="40590" y="89661"/>
                    </a:lnTo>
                    <a:lnTo>
                      <a:pt x="39413" y="88919"/>
                    </a:lnTo>
                    <a:lnTo>
                      <a:pt x="37254" y="88632"/>
                    </a:lnTo>
                    <a:lnTo>
                      <a:pt x="36479" y="83902"/>
                    </a:lnTo>
                    <a:close/>
                    <a:moveTo>
                      <a:pt x="61992" y="80886"/>
                    </a:moveTo>
                    <a:lnTo>
                      <a:pt x="62568" y="80938"/>
                    </a:lnTo>
                    <a:lnTo>
                      <a:pt x="61899" y="83834"/>
                    </a:lnTo>
                    <a:lnTo>
                      <a:pt x="58459" y="91894"/>
                    </a:lnTo>
                    <a:lnTo>
                      <a:pt x="57770" y="93394"/>
                    </a:lnTo>
                    <a:lnTo>
                      <a:pt x="56790" y="93567"/>
                    </a:lnTo>
                    <a:lnTo>
                      <a:pt x="55457" y="91084"/>
                    </a:lnTo>
                    <a:lnTo>
                      <a:pt x="55285" y="90307"/>
                    </a:lnTo>
                    <a:lnTo>
                      <a:pt x="56850" y="88716"/>
                    </a:lnTo>
                    <a:lnTo>
                      <a:pt x="57863" y="86912"/>
                    </a:lnTo>
                    <a:lnTo>
                      <a:pt x="60482" y="84139"/>
                    </a:lnTo>
                    <a:close/>
                    <a:moveTo>
                      <a:pt x="146910" y="76604"/>
                    </a:moveTo>
                    <a:lnTo>
                      <a:pt x="155031" y="81297"/>
                    </a:lnTo>
                    <a:lnTo>
                      <a:pt x="155130" y="83063"/>
                    </a:lnTo>
                    <a:lnTo>
                      <a:pt x="154038" y="85072"/>
                    </a:lnTo>
                    <a:lnTo>
                      <a:pt x="153222" y="85592"/>
                    </a:lnTo>
                    <a:lnTo>
                      <a:pt x="149568" y="84731"/>
                    </a:lnTo>
                    <a:lnTo>
                      <a:pt x="145115" y="82599"/>
                    </a:lnTo>
                    <a:lnTo>
                      <a:pt x="145767" y="78415"/>
                    </a:lnTo>
                    <a:close/>
                    <a:moveTo>
                      <a:pt x="55309" y="66827"/>
                    </a:moveTo>
                    <a:lnTo>
                      <a:pt x="55803" y="66921"/>
                    </a:lnTo>
                    <a:lnTo>
                      <a:pt x="56725" y="68538"/>
                    </a:lnTo>
                    <a:lnTo>
                      <a:pt x="57859" y="71982"/>
                    </a:lnTo>
                    <a:lnTo>
                      <a:pt x="59653" y="75828"/>
                    </a:lnTo>
                    <a:lnTo>
                      <a:pt x="58904" y="77436"/>
                    </a:lnTo>
                    <a:lnTo>
                      <a:pt x="59413" y="79495"/>
                    </a:lnTo>
                    <a:lnTo>
                      <a:pt x="58902" y="81640"/>
                    </a:lnTo>
                    <a:lnTo>
                      <a:pt x="55332" y="84132"/>
                    </a:lnTo>
                    <a:lnTo>
                      <a:pt x="51329" y="84244"/>
                    </a:lnTo>
                    <a:lnTo>
                      <a:pt x="47168" y="83041"/>
                    </a:lnTo>
                    <a:lnTo>
                      <a:pt x="41290" y="80722"/>
                    </a:lnTo>
                    <a:lnTo>
                      <a:pt x="40817" y="79419"/>
                    </a:lnTo>
                    <a:lnTo>
                      <a:pt x="39992" y="78697"/>
                    </a:lnTo>
                    <a:lnTo>
                      <a:pt x="38420" y="74737"/>
                    </a:lnTo>
                    <a:lnTo>
                      <a:pt x="38457" y="69843"/>
                    </a:lnTo>
                    <a:lnTo>
                      <a:pt x="41411" y="69229"/>
                    </a:lnTo>
                    <a:lnTo>
                      <a:pt x="47865" y="66889"/>
                    </a:lnTo>
                    <a:lnTo>
                      <a:pt x="49357" y="67257"/>
                    </a:lnTo>
                    <a:lnTo>
                      <a:pt x="50914" y="68454"/>
                    </a:lnTo>
                    <a:lnTo>
                      <a:pt x="52706" y="68525"/>
                    </a:lnTo>
                    <a:close/>
                    <a:moveTo>
                      <a:pt x="99012" y="64738"/>
                    </a:moveTo>
                    <a:lnTo>
                      <a:pt x="99472" y="64765"/>
                    </a:lnTo>
                    <a:lnTo>
                      <a:pt x="100101" y="65775"/>
                    </a:lnTo>
                    <a:lnTo>
                      <a:pt x="100483" y="67333"/>
                    </a:lnTo>
                    <a:lnTo>
                      <a:pt x="98401" y="68650"/>
                    </a:lnTo>
                    <a:lnTo>
                      <a:pt x="97943" y="68581"/>
                    </a:lnTo>
                    <a:lnTo>
                      <a:pt x="97267" y="66773"/>
                    </a:lnTo>
                    <a:lnTo>
                      <a:pt x="98365" y="65672"/>
                    </a:lnTo>
                    <a:close/>
                    <a:moveTo>
                      <a:pt x="53637" y="55046"/>
                    </a:moveTo>
                    <a:lnTo>
                      <a:pt x="55609" y="57468"/>
                    </a:lnTo>
                    <a:lnTo>
                      <a:pt x="56170" y="58606"/>
                    </a:lnTo>
                    <a:lnTo>
                      <a:pt x="55410" y="59965"/>
                    </a:lnTo>
                    <a:lnTo>
                      <a:pt x="54967" y="61545"/>
                    </a:lnTo>
                    <a:lnTo>
                      <a:pt x="54592" y="62103"/>
                    </a:lnTo>
                    <a:lnTo>
                      <a:pt x="53190" y="61522"/>
                    </a:lnTo>
                    <a:lnTo>
                      <a:pt x="53043" y="59511"/>
                    </a:lnTo>
                    <a:lnTo>
                      <a:pt x="53575" y="57704"/>
                    </a:lnTo>
                    <a:lnTo>
                      <a:pt x="52950" y="56086"/>
                    </a:lnTo>
                    <a:close/>
                    <a:moveTo>
                      <a:pt x="92910" y="50986"/>
                    </a:moveTo>
                    <a:lnTo>
                      <a:pt x="95231" y="51493"/>
                    </a:lnTo>
                    <a:lnTo>
                      <a:pt x="97389" y="52194"/>
                    </a:lnTo>
                    <a:lnTo>
                      <a:pt x="98559" y="52797"/>
                    </a:lnTo>
                    <a:lnTo>
                      <a:pt x="99215" y="53766"/>
                    </a:lnTo>
                    <a:lnTo>
                      <a:pt x="97768" y="56072"/>
                    </a:lnTo>
                    <a:lnTo>
                      <a:pt x="97367" y="57334"/>
                    </a:lnTo>
                    <a:lnTo>
                      <a:pt x="98339" y="61483"/>
                    </a:lnTo>
                    <a:lnTo>
                      <a:pt x="98392" y="64591"/>
                    </a:lnTo>
                    <a:lnTo>
                      <a:pt x="97818" y="65495"/>
                    </a:lnTo>
                    <a:lnTo>
                      <a:pt x="96974" y="66090"/>
                    </a:lnTo>
                    <a:lnTo>
                      <a:pt x="94765" y="66721"/>
                    </a:lnTo>
                    <a:lnTo>
                      <a:pt x="92852" y="67602"/>
                    </a:lnTo>
                    <a:lnTo>
                      <a:pt x="91146" y="69149"/>
                    </a:lnTo>
                    <a:lnTo>
                      <a:pt x="90517" y="71359"/>
                    </a:lnTo>
                    <a:lnTo>
                      <a:pt x="91852" y="72974"/>
                    </a:lnTo>
                    <a:lnTo>
                      <a:pt x="94279" y="73859"/>
                    </a:lnTo>
                    <a:lnTo>
                      <a:pt x="94897" y="76930"/>
                    </a:lnTo>
                    <a:lnTo>
                      <a:pt x="92893" y="78444"/>
                    </a:lnTo>
                    <a:lnTo>
                      <a:pt x="87751" y="79954"/>
                    </a:lnTo>
                    <a:lnTo>
                      <a:pt x="87211" y="83594"/>
                    </a:lnTo>
                    <a:lnTo>
                      <a:pt x="87378" y="86459"/>
                    </a:lnTo>
                    <a:lnTo>
                      <a:pt x="87285" y="88539"/>
                    </a:lnTo>
                    <a:lnTo>
                      <a:pt x="86877" y="91414"/>
                    </a:lnTo>
                    <a:lnTo>
                      <a:pt x="82717" y="92723"/>
                    </a:lnTo>
                    <a:lnTo>
                      <a:pt x="80034" y="88345"/>
                    </a:lnTo>
                    <a:lnTo>
                      <a:pt x="80010" y="86590"/>
                    </a:lnTo>
                    <a:lnTo>
                      <a:pt x="79209" y="84540"/>
                    </a:lnTo>
                    <a:lnTo>
                      <a:pt x="79058" y="82791"/>
                    </a:lnTo>
                    <a:lnTo>
                      <a:pt x="78107" y="79991"/>
                    </a:lnTo>
                    <a:lnTo>
                      <a:pt x="74173" y="79233"/>
                    </a:lnTo>
                    <a:lnTo>
                      <a:pt x="72646" y="79133"/>
                    </a:lnTo>
                    <a:lnTo>
                      <a:pt x="70510" y="79654"/>
                    </a:lnTo>
                    <a:lnTo>
                      <a:pt x="69981" y="79451"/>
                    </a:lnTo>
                    <a:lnTo>
                      <a:pt x="67425" y="75620"/>
                    </a:lnTo>
                    <a:lnTo>
                      <a:pt x="67846" y="71386"/>
                    </a:lnTo>
                    <a:lnTo>
                      <a:pt x="66481" y="69246"/>
                    </a:lnTo>
                    <a:lnTo>
                      <a:pt x="66293" y="68277"/>
                    </a:lnTo>
                    <a:lnTo>
                      <a:pt x="66326" y="67203"/>
                    </a:lnTo>
                    <a:lnTo>
                      <a:pt x="65205" y="66317"/>
                    </a:lnTo>
                    <a:lnTo>
                      <a:pt x="63845" y="65848"/>
                    </a:lnTo>
                    <a:lnTo>
                      <a:pt x="63184" y="63455"/>
                    </a:lnTo>
                    <a:lnTo>
                      <a:pt x="64747" y="62875"/>
                    </a:lnTo>
                    <a:lnTo>
                      <a:pt x="68612" y="63155"/>
                    </a:lnTo>
                    <a:lnTo>
                      <a:pt x="69742" y="62992"/>
                    </a:lnTo>
                    <a:lnTo>
                      <a:pt x="70776" y="62493"/>
                    </a:lnTo>
                    <a:lnTo>
                      <a:pt x="73903" y="58553"/>
                    </a:lnTo>
                    <a:lnTo>
                      <a:pt x="73812" y="57684"/>
                    </a:lnTo>
                    <a:lnTo>
                      <a:pt x="74147" y="56556"/>
                    </a:lnTo>
                    <a:lnTo>
                      <a:pt x="77531" y="56138"/>
                    </a:lnTo>
                    <a:lnTo>
                      <a:pt x="79038" y="57662"/>
                    </a:lnTo>
                    <a:lnTo>
                      <a:pt x="78736" y="60102"/>
                    </a:lnTo>
                    <a:lnTo>
                      <a:pt x="78928" y="63224"/>
                    </a:lnTo>
                    <a:lnTo>
                      <a:pt x="80977" y="64072"/>
                    </a:lnTo>
                    <a:lnTo>
                      <a:pt x="81776" y="64197"/>
                    </a:lnTo>
                    <a:lnTo>
                      <a:pt x="82629" y="61892"/>
                    </a:lnTo>
                    <a:lnTo>
                      <a:pt x="83227" y="60771"/>
                    </a:lnTo>
                    <a:lnTo>
                      <a:pt x="84039" y="60146"/>
                    </a:lnTo>
                    <a:lnTo>
                      <a:pt x="84315" y="58036"/>
                    </a:lnTo>
                    <a:lnTo>
                      <a:pt x="83834" y="56747"/>
                    </a:lnTo>
                    <a:lnTo>
                      <a:pt x="82808" y="55786"/>
                    </a:lnTo>
                    <a:lnTo>
                      <a:pt x="86639" y="53169"/>
                    </a:lnTo>
                    <a:lnTo>
                      <a:pt x="90604" y="51094"/>
                    </a:lnTo>
                    <a:close/>
                    <a:moveTo>
                      <a:pt x="65546" y="12961"/>
                    </a:moveTo>
                    <a:lnTo>
                      <a:pt x="67509" y="13184"/>
                    </a:lnTo>
                    <a:lnTo>
                      <a:pt x="65350" y="14644"/>
                    </a:lnTo>
                    <a:lnTo>
                      <a:pt x="64803" y="15417"/>
                    </a:lnTo>
                    <a:lnTo>
                      <a:pt x="63903" y="16160"/>
                    </a:lnTo>
                    <a:lnTo>
                      <a:pt x="60860" y="15109"/>
                    </a:lnTo>
                    <a:lnTo>
                      <a:pt x="62204" y="13639"/>
                    </a:lnTo>
                    <a:close/>
                    <a:moveTo>
                      <a:pt x="55026" y="0"/>
                    </a:moveTo>
                    <a:lnTo>
                      <a:pt x="52173" y="2816"/>
                    </a:lnTo>
                    <a:lnTo>
                      <a:pt x="51715" y="3905"/>
                    </a:lnTo>
                    <a:lnTo>
                      <a:pt x="51370" y="5573"/>
                    </a:lnTo>
                    <a:lnTo>
                      <a:pt x="53415" y="9192"/>
                    </a:lnTo>
                    <a:lnTo>
                      <a:pt x="52983" y="11391"/>
                    </a:lnTo>
                    <a:lnTo>
                      <a:pt x="53127" y="15713"/>
                    </a:lnTo>
                    <a:lnTo>
                      <a:pt x="51199" y="17962"/>
                    </a:lnTo>
                    <a:lnTo>
                      <a:pt x="49023" y="22738"/>
                    </a:lnTo>
                    <a:lnTo>
                      <a:pt x="48085" y="23440"/>
                    </a:lnTo>
                    <a:lnTo>
                      <a:pt x="47885" y="29001"/>
                    </a:lnTo>
                    <a:lnTo>
                      <a:pt x="48098" y="30326"/>
                    </a:lnTo>
                    <a:lnTo>
                      <a:pt x="47789" y="35374"/>
                    </a:lnTo>
                    <a:lnTo>
                      <a:pt x="50020" y="37437"/>
                    </a:lnTo>
                    <a:lnTo>
                      <a:pt x="52378" y="38515"/>
                    </a:lnTo>
                    <a:lnTo>
                      <a:pt x="60243" y="38477"/>
                    </a:lnTo>
                    <a:lnTo>
                      <a:pt x="61059" y="39383"/>
                    </a:lnTo>
                    <a:lnTo>
                      <a:pt x="62018" y="40939"/>
                    </a:lnTo>
                    <a:lnTo>
                      <a:pt x="61316" y="43578"/>
                    </a:lnTo>
                    <a:lnTo>
                      <a:pt x="60476" y="45567"/>
                    </a:lnTo>
                    <a:lnTo>
                      <a:pt x="58198" y="47241"/>
                    </a:lnTo>
                    <a:lnTo>
                      <a:pt x="55274" y="48488"/>
                    </a:lnTo>
                    <a:lnTo>
                      <a:pt x="53456" y="48543"/>
                    </a:lnTo>
                    <a:lnTo>
                      <a:pt x="50979" y="46172"/>
                    </a:lnTo>
                    <a:lnTo>
                      <a:pt x="49802" y="46941"/>
                    </a:lnTo>
                    <a:lnTo>
                      <a:pt x="48586" y="48150"/>
                    </a:lnTo>
                    <a:lnTo>
                      <a:pt x="46550" y="54627"/>
                    </a:lnTo>
                    <a:lnTo>
                      <a:pt x="45585" y="58992"/>
                    </a:lnTo>
                    <a:lnTo>
                      <a:pt x="45062" y="59346"/>
                    </a:lnTo>
                    <a:lnTo>
                      <a:pt x="43911" y="58703"/>
                    </a:lnTo>
                    <a:lnTo>
                      <a:pt x="41923" y="58653"/>
                    </a:lnTo>
                    <a:lnTo>
                      <a:pt x="39409" y="59687"/>
                    </a:lnTo>
                    <a:lnTo>
                      <a:pt x="40698" y="60612"/>
                    </a:lnTo>
                    <a:lnTo>
                      <a:pt x="42061" y="62217"/>
                    </a:lnTo>
                    <a:lnTo>
                      <a:pt x="41516" y="63021"/>
                    </a:lnTo>
                    <a:lnTo>
                      <a:pt x="39305" y="63889"/>
                    </a:lnTo>
                    <a:lnTo>
                      <a:pt x="37345" y="65645"/>
                    </a:lnTo>
                    <a:lnTo>
                      <a:pt x="36524" y="66973"/>
                    </a:lnTo>
                    <a:lnTo>
                      <a:pt x="34051" y="68543"/>
                    </a:lnTo>
                    <a:lnTo>
                      <a:pt x="32497" y="70532"/>
                    </a:lnTo>
                    <a:lnTo>
                      <a:pt x="33259" y="72995"/>
                    </a:lnTo>
                    <a:lnTo>
                      <a:pt x="33583" y="75156"/>
                    </a:lnTo>
                    <a:lnTo>
                      <a:pt x="34263" y="77540"/>
                    </a:lnTo>
                    <a:lnTo>
                      <a:pt x="33650" y="79442"/>
                    </a:lnTo>
                    <a:lnTo>
                      <a:pt x="30588" y="82168"/>
                    </a:lnTo>
                    <a:lnTo>
                      <a:pt x="29459" y="84528"/>
                    </a:lnTo>
                    <a:lnTo>
                      <a:pt x="32082" y="84498"/>
                    </a:lnTo>
                    <a:lnTo>
                      <a:pt x="33697" y="85043"/>
                    </a:lnTo>
                    <a:lnTo>
                      <a:pt x="34643" y="85740"/>
                    </a:lnTo>
                    <a:lnTo>
                      <a:pt x="35619" y="86727"/>
                    </a:lnTo>
                    <a:lnTo>
                      <a:pt x="35021" y="87946"/>
                    </a:lnTo>
                    <a:lnTo>
                      <a:pt x="35783" y="91101"/>
                    </a:lnTo>
                    <a:lnTo>
                      <a:pt x="35457" y="91101"/>
                    </a:lnTo>
                    <a:lnTo>
                      <a:pt x="34047" y="90830"/>
                    </a:lnTo>
                    <a:lnTo>
                      <a:pt x="33043" y="90184"/>
                    </a:lnTo>
                    <a:lnTo>
                      <a:pt x="30454" y="90644"/>
                    </a:lnTo>
                    <a:lnTo>
                      <a:pt x="26988" y="91691"/>
                    </a:lnTo>
                    <a:lnTo>
                      <a:pt x="25064" y="91638"/>
                    </a:lnTo>
                    <a:lnTo>
                      <a:pt x="23535" y="90514"/>
                    </a:lnTo>
                    <a:lnTo>
                      <a:pt x="17280" y="88911"/>
                    </a:lnTo>
                    <a:lnTo>
                      <a:pt x="16269" y="88781"/>
                    </a:lnTo>
                    <a:lnTo>
                      <a:pt x="12145" y="88714"/>
                    </a:lnTo>
                    <a:lnTo>
                      <a:pt x="12136" y="88711"/>
                    </a:lnTo>
                    <a:lnTo>
                      <a:pt x="11939" y="86176"/>
                    </a:lnTo>
                    <a:lnTo>
                      <a:pt x="11428" y="84343"/>
                    </a:lnTo>
                    <a:lnTo>
                      <a:pt x="9983" y="81613"/>
                    </a:lnTo>
                    <a:lnTo>
                      <a:pt x="12125" y="80954"/>
                    </a:lnTo>
                    <a:lnTo>
                      <a:pt x="11711" y="75622"/>
                    </a:lnTo>
                    <a:lnTo>
                      <a:pt x="10933" y="72852"/>
                    </a:lnTo>
                    <a:lnTo>
                      <a:pt x="4949" y="70003"/>
                    </a:lnTo>
                    <a:lnTo>
                      <a:pt x="236" y="67231"/>
                    </a:lnTo>
                    <a:lnTo>
                      <a:pt x="1324" y="57872"/>
                    </a:lnTo>
                    <a:lnTo>
                      <a:pt x="1788" y="55344"/>
                    </a:lnTo>
                    <a:lnTo>
                      <a:pt x="0" y="50431"/>
                    </a:lnTo>
                    <a:lnTo>
                      <a:pt x="186" y="44763"/>
                    </a:lnTo>
                    <a:lnTo>
                      <a:pt x="939" y="35802"/>
                    </a:lnTo>
                    <a:lnTo>
                      <a:pt x="2438" y="35451"/>
                    </a:lnTo>
                    <a:lnTo>
                      <a:pt x="3537" y="35494"/>
                    </a:lnTo>
                    <a:lnTo>
                      <a:pt x="7776" y="37105"/>
                    </a:lnTo>
                    <a:lnTo>
                      <a:pt x="9541" y="37266"/>
                    </a:lnTo>
                    <a:lnTo>
                      <a:pt x="10750" y="38703"/>
                    </a:lnTo>
                    <a:lnTo>
                      <a:pt x="12166" y="39295"/>
                    </a:lnTo>
                    <a:lnTo>
                      <a:pt x="13192" y="37768"/>
                    </a:lnTo>
                    <a:lnTo>
                      <a:pt x="13591" y="35156"/>
                    </a:lnTo>
                    <a:lnTo>
                      <a:pt x="16951" y="31770"/>
                    </a:lnTo>
                    <a:lnTo>
                      <a:pt x="19305" y="30519"/>
                    </a:lnTo>
                    <a:lnTo>
                      <a:pt x="20910" y="29918"/>
                    </a:lnTo>
                    <a:lnTo>
                      <a:pt x="22529" y="31286"/>
                    </a:lnTo>
                    <a:lnTo>
                      <a:pt x="23768" y="32821"/>
                    </a:lnTo>
                    <a:lnTo>
                      <a:pt x="24062" y="29460"/>
                    </a:lnTo>
                    <a:lnTo>
                      <a:pt x="25062" y="23042"/>
                    </a:lnTo>
                    <a:lnTo>
                      <a:pt x="21868" y="22033"/>
                    </a:lnTo>
                    <a:lnTo>
                      <a:pt x="19266" y="22903"/>
                    </a:lnTo>
                    <a:lnTo>
                      <a:pt x="16686" y="26973"/>
                    </a:lnTo>
                    <a:lnTo>
                      <a:pt x="14384" y="32078"/>
                    </a:lnTo>
                    <a:lnTo>
                      <a:pt x="10650" y="32546"/>
                    </a:lnTo>
                    <a:lnTo>
                      <a:pt x="7670" y="33989"/>
                    </a:lnTo>
                    <a:lnTo>
                      <a:pt x="4980" y="32493"/>
                    </a:lnTo>
                    <a:lnTo>
                      <a:pt x="3246" y="31174"/>
                    </a:lnTo>
                    <a:lnTo>
                      <a:pt x="3203" y="29241"/>
                    </a:lnTo>
                    <a:lnTo>
                      <a:pt x="3596" y="28074"/>
                    </a:lnTo>
                    <a:lnTo>
                      <a:pt x="6757" y="23905"/>
                    </a:lnTo>
                    <a:lnTo>
                      <a:pt x="10992" y="19893"/>
                    </a:lnTo>
                    <a:lnTo>
                      <a:pt x="15258" y="19932"/>
                    </a:lnTo>
                    <a:lnTo>
                      <a:pt x="18370" y="18649"/>
                    </a:lnTo>
                    <a:lnTo>
                      <a:pt x="20229" y="18495"/>
                    </a:lnTo>
                    <a:lnTo>
                      <a:pt x="26034" y="18777"/>
                    </a:lnTo>
                    <a:lnTo>
                      <a:pt x="29014" y="17897"/>
                    </a:lnTo>
                    <a:lnTo>
                      <a:pt x="31683" y="16054"/>
                    </a:lnTo>
                    <a:lnTo>
                      <a:pt x="37450" y="8241"/>
                    </a:lnTo>
                    <a:lnTo>
                      <a:pt x="40705" y="4976"/>
                    </a:lnTo>
                    <a:lnTo>
                      <a:pt x="47267" y="3825"/>
                    </a:lnTo>
                    <a:lnTo>
                      <a:pt x="53330" y="48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6" name="ee4p_ES_1_15912">
                <a:extLst>
                  <a:ext uri="{FF2B5EF4-FFF2-40B4-BE49-F238E27FC236}">
                    <a16:creationId xmlns:a16="http://schemas.microsoft.com/office/drawing/2014/main" id="{976EEA93-5806-7E00-C141-A98D2B6C706D}"/>
                  </a:ext>
                </a:extLst>
              </p:cNvPr>
              <p:cNvSpPr>
                <a:spLocks noChangeAspect="1"/>
              </p:cNvSpPr>
              <p:nvPr>
                <p:custDataLst>
                  <p:tags r:id="rId247"/>
                </p:custDataLst>
              </p:nvPr>
            </p:nvSpPr>
            <p:spPr>
              <a:xfrm>
                <a:off x="3878940" y="5609161"/>
                <a:ext cx="271629" cy="145594"/>
              </a:xfrm>
              <a:custGeom>
                <a:avLst/>
                <a:gdLst>
                  <a:gd name="connsiteX0" fmla="*/ 4710 w 68520"/>
                  <a:gd name="connsiteY0" fmla="*/ 33907 h 36727"/>
                  <a:gd name="connsiteX1" fmla="*/ 6049 w 68520"/>
                  <a:gd name="connsiteY1" fmla="*/ 35359 h 36727"/>
                  <a:gd name="connsiteX2" fmla="*/ 8167 w 68520"/>
                  <a:gd name="connsiteY2" fmla="*/ 35628 h 36727"/>
                  <a:gd name="connsiteX3" fmla="*/ 8195 w 68520"/>
                  <a:gd name="connsiteY3" fmla="*/ 36386 h 36727"/>
                  <a:gd name="connsiteX4" fmla="*/ 7692 w 68520"/>
                  <a:gd name="connsiteY4" fmla="*/ 36727 h 36727"/>
                  <a:gd name="connsiteX5" fmla="*/ 6228 w 68520"/>
                  <a:gd name="connsiteY5" fmla="*/ 36414 h 36727"/>
                  <a:gd name="connsiteX6" fmla="*/ 4034 w 68520"/>
                  <a:gd name="connsiteY6" fmla="*/ 36414 h 36727"/>
                  <a:gd name="connsiteX7" fmla="*/ 3950 w 68520"/>
                  <a:gd name="connsiteY7" fmla="*/ 35372 h 36727"/>
                  <a:gd name="connsiteX8" fmla="*/ 4287 w 68520"/>
                  <a:gd name="connsiteY8" fmla="*/ 34644 h 36727"/>
                  <a:gd name="connsiteX9" fmla="*/ 7543 w 68520"/>
                  <a:gd name="connsiteY9" fmla="*/ 24790 h 36727"/>
                  <a:gd name="connsiteX10" fmla="*/ 8621 w 68520"/>
                  <a:gd name="connsiteY10" fmla="*/ 25661 h 36727"/>
                  <a:gd name="connsiteX11" fmla="*/ 8852 w 68520"/>
                  <a:gd name="connsiteY11" fmla="*/ 26917 h 36727"/>
                  <a:gd name="connsiteX12" fmla="*/ 5997 w 68520"/>
                  <a:gd name="connsiteY12" fmla="*/ 29665 h 36727"/>
                  <a:gd name="connsiteX13" fmla="*/ 4907 w 68520"/>
                  <a:gd name="connsiteY13" fmla="*/ 30022 h 36727"/>
                  <a:gd name="connsiteX14" fmla="*/ 4106 w 68520"/>
                  <a:gd name="connsiteY14" fmla="*/ 31608 h 36727"/>
                  <a:gd name="connsiteX15" fmla="*/ 743 w 68520"/>
                  <a:gd name="connsiteY15" fmla="*/ 31047 h 36727"/>
                  <a:gd name="connsiteX16" fmla="*/ 0 w 68520"/>
                  <a:gd name="connsiteY16" fmla="*/ 30405 h 36727"/>
                  <a:gd name="connsiteX17" fmla="*/ 728 w 68520"/>
                  <a:gd name="connsiteY17" fmla="*/ 28609 h 36727"/>
                  <a:gd name="connsiteX18" fmla="*/ 1691 w 68520"/>
                  <a:gd name="connsiteY18" fmla="*/ 28393 h 36727"/>
                  <a:gd name="connsiteX19" fmla="*/ 1752 w 68520"/>
                  <a:gd name="connsiteY19" fmla="*/ 27115 h 36727"/>
                  <a:gd name="connsiteX20" fmla="*/ 2771 w 68520"/>
                  <a:gd name="connsiteY20" fmla="*/ 25831 h 36727"/>
                  <a:gd name="connsiteX21" fmla="*/ 42795 w 68520"/>
                  <a:gd name="connsiteY21" fmla="*/ 2728 h 36727"/>
                  <a:gd name="connsiteX22" fmla="*/ 43655 w 68520"/>
                  <a:gd name="connsiteY22" fmla="*/ 2973 h 36727"/>
                  <a:gd name="connsiteX23" fmla="*/ 42923 w 68520"/>
                  <a:gd name="connsiteY23" fmla="*/ 3934 h 36727"/>
                  <a:gd name="connsiteX24" fmla="*/ 42979 w 68520"/>
                  <a:gd name="connsiteY24" fmla="*/ 4364 h 36727"/>
                  <a:gd name="connsiteX25" fmla="*/ 43678 w 68520"/>
                  <a:gd name="connsiteY25" fmla="*/ 4830 h 36727"/>
                  <a:gd name="connsiteX26" fmla="*/ 43508 w 68520"/>
                  <a:gd name="connsiteY26" fmla="*/ 5571 h 36727"/>
                  <a:gd name="connsiteX27" fmla="*/ 42795 w 68520"/>
                  <a:gd name="connsiteY27" fmla="*/ 6217 h 36727"/>
                  <a:gd name="connsiteX28" fmla="*/ 42499 w 68520"/>
                  <a:gd name="connsiteY28" fmla="*/ 7427 h 36727"/>
                  <a:gd name="connsiteX29" fmla="*/ 44618 w 68520"/>
                  <a:gd name="connsiteY29" fmla="*/ 8296 h 36727"/>
                  <a:gd name="connsiteX30" fmla="*/ 46853 w 68520"/>
                  <a:gd name="connsiteY30" fmla="*/ 7515 h 36727"/>
                  <a:gd name="connsiteX31" fmla="*/ 48041 w 68520"/>
                  <a:gd name="connsiteY31" fmla="*/ 7760 h 36727"/>
                  <a:gd name="connsiteX32" fmla="*/ 49213 w 68520"/>
                  <a:gd name="connsiteY32" fmla="*/ 8178 h 36727"/>
                  <a:gd name="connsiteX33" fmla="*/ 49498 w 68520"/>
                  <a:gd name="connsiteY33" fmla="*/ 9829 h 36727"/>
                  <a:gd name="connsiteX34" fmla="*/ 48455 w 68520"/>
                  <a:gd name="connsiteY34" fmla="*/ 11665 h 36727"/>
                  <a:gd name="connsiteX35" fmla="*/ 46998 w 68520"/>
                  <a:gd name="connsiteY35" fmla="*/ 13522 h 36727"/>
                  <a:gd name="connsiteX36" fmla="*/ 45764 w 68520"/>
                  <a:gd name="connsiteY36" fmla="*/ 15563 h 36727"/>
                  <a:gd name="connsiteX37" fmla="*/ 44698 w 68520"/>
                  <a:gd name="connsiteY37" fmla="*/ 17910 h 36727"/>
                  <a:gd name="connsiteX38" fmla="*/ 42704 w 68520"/>
                  <a:gd name="connsiteY38" fmla="*/ 19294 h 36727"/>
                  <a:gd name="connsiteX39" fmla="*/ 40897 w 68520"/>
                  <a:gd name="connsiteY39" fmla="*/ 20123 h 36727"/>
                  <a:gd name="connsiteX40" fmla="*/ 37077 w 68520"/>
                  <a:gd name="connsiteY40" fmla="*/ 18383 h 36727"/>
                  <a:gd name="connsiteX41" fmla="*/ 34860 w 68520"/>
                  <a:gd name="connsiteY41" fmla="*/ 17950 h 36727"/>
                  <a:gd name="connsiteX42" fmla="*/ 34197 w 68520"/>
                  <a:gd name="connsiteY42" fmla="*/ 17297 h 36727"/>
                  <a:gd name="connsiteX43" fmla="*/ 33670 w 68520"/>
                  <a:gd name="connsiteY43" fmla="*/ 14701 h 36727"/>
                  <a:gd name="connsiteX44" fmla="*/ 32666 w 68520"/>
                  <a:gd name="connsiteY44" fmla="*/ 13873 h 36727"/>
                  <a:gd name="connsiteX45" fmla="*/ 31195 w 68520"/>
                  <a:gd name="connsiteY45" fmla="*/ 13508 h 36727"/>
                  <a:gd name="connsiteX46" fmla="*/ 29908 w 68520"/>
                  <a:gd name="connsiteY46" fmla="*/ 14171 h 36727"/>
                  <a:gd name="connsiteX47" fmla="*/ 28219 w 68520"/>
                  <a:gd name="connsiteY47" fmla="*/ 15542 h 36727"/>
                  <a:gd name="connsiteX48" fmla="*/ 27319 w 68520"/>
                  <a:gd name="connsiteY48" fmla="*/ 14176 h 36727"/>
                  <a:gd name="connsiteX49" fmla="*/ 25894 w 68520"/>
                  <a:gd name="connsiteY49" fmla="*/ 13919 h 36727"/>
                  <a:gd name="connsiteX50" fmla="*/ 25356 w 68520"/>
                  <a:gd name="connsiteY50" fmla="*/ 13096 h 36727"/>
                  <a:gd name="connsiteX51" fmla="*/ 25384 w 68520"/>
                  <a:gd name="connsiteY51" fmla="*/ 12030 h 36727"/>
                  <a:gd name="connsiteX52" fmla="*/ 34531 w 68520"/>
                  <a:gd name="connsiteY52" fmla="*/ 5741 h 36727"/>
                  <a:gd name="connsiteX53" fmla="*/ 37181 w 68520"/>
                  <a:gd name="connsiteY53" fmla="*/ 4349 h 36727"/>
                  <a:gd name="connsiteX54" fmla="*/ 62707 w 68520"/>
                  <a:gd name="connsiteY54" fmla="*/ 0 h 36727"/>
                  <a:gd name="connsiteX55" fmla="*/ 66391 w 68520"/>
                  <a:gd name="connsiteY55" fmla="*/ 1114 h 36727"/>
                  <a:gd name="connsiteX56" fmla="*/ 68367 w 68520"/>
                  <a:gd name="connsiteY56" fmla="*/ 4116 h 36727"/>
                  <a:gd name="connsiteX57" fmla="*/ 68520 w 68520"/>
                  <a:gd name="connsiteY57" fmla="*/ 4630 h 36727"/>
                  <a:gd name="connsiteX58" fmla="*/ 67892 w 68520"/>
                  <a:gd name="connsiteY58" fmla="*/ 6080 h 36727"/>
                  <a:gd name="connsiteX59" fmla="*/ 67486 w 68520"/>
                  <a:gd name="connsiteY59" fmla="*/ 6381 h 36727"/>
                  <a:gd name="connsiteX60" fmla="*/ 60684 w 68520"/>
                  <a:gd name="connsiteY60" fmla="*/ 3371 h 36727"/>
                  <a:gd name="connsiteX61" fmla="*/ 58462 w 68520"/>
                  <a:gd name="connsiteY61" fmla="*/ 3035 h 36727"/>
                  <a:gd name="connsiteX62" fmla="*/ 57920 w 68520"/>
                  <a:gd name="connsiteY62" fmla="*/ 2575 h 36727"/>
                  <a:gd name="connsiteX63" fmla="*/ 57980 w 68520"/>
                  <a:gd name="connsiteY63" fmla="*/ 1008 h 36727"/>
                  <a:gd name="connsiteX64" fmla="*/ 58157 w 68520"/>
                  <a:gd name="connsiteY64" fmla="*/ 315 h 36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68520" h="36727">
                    <a:moveTo>
                      <a:pt x="4710" y="33907"/>
                    </a:moveTo>
                    <a:lnTo>
                      <a:pt x="6049" y="35359"/>
                    </a:lnTo>
                    <a:lnTo>
                      <a:pt x="8167" y="35628"/>
                    </a:lnTo>
                    <a:lnTo>
                      <a:pt x="8195" y="36386"/>
                    </a:lnTo>
                    <a:lnTo>
                      <a:pt x="7692" y="36727"/>
                    </a:lnTo>
                    <a:lnTo>
                      <a:pt x="6228" y="36414"/>
                    </a:lnTo>
                    <a:lnTo>
                      <a:pt x="4034" y="36414"/>
                    </a:lnTo>
                    <a:lnTo>
                      <a:pt x="3950" y="35372"/>
                    </a:lnTo>
                    <a:lnTo>
                      <a:pt x="4287" y="34644"/>
                    </a:lnTo>
                    <a:close/>
                    <a:moveTo>
                      <a:pt x="7543" y="24790"/>
                    </a:moveTo>
                    <a:lnTo>
                      <a:pt x="8621" y="25661"/>
                    </a:lnTo>
                    <a:lnTo>
                      <a:pt x="8852" y="26917"/>
                    </a:lnTo>
                    <a:lnTo>
                      <a:pt x="5997" y="29665"/>
                    </a:lnTo>
                    <a:lnTo>
                      <a:pt x="4907" y="30022"/>
                    </a:lnTo>
                    <a:lnTo>
                      <a:pt x="4106" y="31608"/>
                    </a:lnTo>
                    <a:lnTo>
                      <a:pt x="743" y="31047"/>
                    </a:lnTo>
                    <a:lnTo>
                      <a:pt x="0" y="30405"/>
                    </a:lnTo>
                    <a:lnTo>
                      <a:pt x="728" y="28609"/>
                    </a:lnTo>
                    <a:lnTo>
                      <a:pt x="1691" y="28393"/>
                    </a:lnTo>
                    <a:lnTo>
                      <a:pt x="1752" y="27115"/>
                    </a:lnTo>
                    <a:lnTo>
                      <a:pt x="2771" y="25831"/>
                    </a:lnTo>
                    <a:close/>
                    <a:moveTo>
                      <a:pt x="42795" y="2728"/>
                    </a:moveTo>
                    <a:lnTo>
                      <a:pt x="43655" y="2973"/>
                    </a:lnTo>
                    <a:lnTo>
                      <a:pt x="42923" y="3934"/>
                    </a:lnTo>
                    <a:lnTo>
                      <a:pt x="42979" y="4364"/>
                    </a:lnTo>
                    <a:lnTo>
                      <a:pt x="43678" y="4830"/>
                    </a:lnTo>
                    <a:lnTo>
                      <a:pt x="43508" y="5571"/>
                    </a:lnTo>
                    <a:lnTo>
                      <a:pt x="42795" y="6217"/>
                    </a:lnTo>
                    <a:lnTo>
                      <a:pt x="42499" y="7427"/>
                    </a:lnTo>
                    <a:lnTo>
                      <a:pt x="44618" y="8296"/>
                    </a:lnTo>
                    <a:lnTo>
                      <a:pt x="46853" y="7515"/>
                    </a:lnTo>
                    <a:lnTo>
                      <a:pt x="48041" y="7760"/>
                    </a:lnTo>
                    <a:lnTo>
                      <a:pt x="49213" y="8178"/>
                    </a:lnTo>
                    <a:lnTo>
                      <a:pt x="49498" y="9829"/>
                    </a:lnTo>
                    <a:lnTo>
                      <a:pt x="48455" y="11665"/>
                    </a:lnTo>
                    <a:lnTo>
                      <a:pt x="46998" y="13522"/>
                    </a:lnTo>
                    <a:lnTo>
                      <a:pt x="45764" y="15563"/>
                    </a:lnTo>
                    <a:lnTo>
                      <a:pt x="44698" y="17910"/>
                    </a:lnTo>
                    <a:lnTo>
                      <a:pt x="42704" y="19294"/>
                    </a:lnTo>
                    <a:lnTo>
                      <a:pt x="40897" y="20123"/>
                    </a:lnTo>
                    <a:lnTo>
                      <a:pt x="37077" y="18383"/>
                    </a:lnTo>
                    <a:lnTo>
                      <a:pt x="34860" y="17950"/>
                    </a:lnTo>
                    <a:lnTo>
                      <a:pt x="34197" y="17297"/>
                    </a:lnTo>
                    <a:lnTo>
                      <a:pt x="33670" y="14701"/>
                    </a:lnTo>
                    <a:lnTo>
                      <a:pt x="32666" y="13873"/>
                    </a:lnTo>
                    <a:lnTo>
                      <a:pt x="31195" y="13508"/>
                    </a:lnTo>
                    <a:lnTo>
                      <a:pt x="29908" y="14171"/>
                    </a:lnTo>
                    <a:lnTo>
                      <a:pt x="28219" y="15542"/>
                    </a:lnTo>
                    <a:lnTo>
                      <a:pt x="27319" y="14176"/>
                    </a:lnTo>
                    <a:lnTo>
                      <a:pt x="25894" y="13919"/>
                    </a:lnTo>
                    <a:lnTo>
                      <a:pt x="25356" y="13096"/>
                    </a:lnTo>
                    <a:lnTo>
                      <a:pt x="25384" y="12030"/>
                    </a:lnTo>
                    <a:lnTo>
                      <a:pt x="34531" y="5741"/>
                    </a:lnTo>
                    <a:lnTo>
                      <a:pt x="37181" y="4349"/>
                    </a:lnTo>
                    <a:close/>
                    <a:moveTo>
                      <a:pt x="62707" y="0"/>
                    </a:moveTo>
                    <a:lnTo>
                      <a:pt x="66391" y="1114"/>
                    </a:lnTo>
                    <a:lnTo>
                      <a:pt x="68367" y="4116"/>
                    </a:lnTo>
                    <a:lnTo>
                      <a:pt x="68520" y="4630"/>
                    </a:lnTo>
                    <a:lnTo>
                      <a:pt x="67892" y="6080"/>
                    </a:lnTo>
                    <a:lnTo>
                      <a:pt x="67486" y="6381"/>
                    </a:lnTo>
                    <a:lnTo>
                      <a:pt x="60684" y="3371"/>
                    </a:lnTo>
                    <a:lnTo>
                      <a:pt x="58462" y="3035"/>
                    </a:lnTo>
                    <a:lnTo>
                      <a:pt x="57920" y="2575"/>
                    </a:lnTo>
                    <a:lnTo>
                      <a:pt x="57980" y="1008"/>
                    </a:lnTo>
                    <a:lnTo>
                      <a:pt x="58157" y="31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7" name="ee4p_ES_2_15912">
                <a:extLst>
                  <a:ext uri="{FF2B5EF4-FFF2-40B4-BE49-F238E27FC236}">
                    <a16:creationId xmlns:a16="http://schemas.microsoft.com/office/drawing/2014/main" id="{837D906E-BC7F-4816-23DF-D2210E61E872}"/>
                  </a:ext>
                </a:extLst>
              </p:cNvPr>
              <p:cNvSpPr>
                <a:spLocks noChangeAspect="1"/>
              </p:cNvSpPr>
              <p:nvPr>
                <p:custDataLst>
                  <p:tags r:id="rId248"/>
                </p:custDataLst>
              </p:nvPr>
            </p:nvSpPr>
            <p:spPr>
              <a:xfrm>
                <a:off x="2962136" y="5221087"/>
                <a:ext cx="1099440" cy="799859"/>
              </a:xfrm>
              <a:custGeom>
                <a:avLst/>
                <a:gdLst/>
                <a:ahLst/>
                <a:cxnLst/>
                <a:rect l="0" t="0" r="0" b="0"/>
                <a:pathLst>
                  <a:path w="277340" h="201769">
                    <a:moveTo>
                      <a:pt x="33998" y="0"/>
                    </a:moveTo>
                    <a:lnTo>
                      <a:pt x="36288" y="1004"/>
                    </a:lnTo>
                    <a:lnTo>
                      <a:pt x="38299" y="664"/>
                    </a:lnTo>
                    <a:lnTo>
                      <a:pt x="40605" y="1855"/>
                    </a:lnTo>
                    <a:lnTo>
                      <a:pt x="43643" y="4584"/>
                    </a:lnTo>
                    <a:lnTo>
                      <a:pt x="48087" y="5680"/>
                    </a:lnTo>
                    <a:lnTo>
                      <a:pt x="51631" y="4826"/>
                    </a:lnTo>
                    <a:lnTo>
                      <a:pt x="57898" y="4644"/>
                    </a:lnTo>
                    <a:lnTo>
                      <a:pt x="61029" y="5008"/>
                    </a:lnTo>
                    <a:lnTo>
                      <a:pt x="66591" y="4335"/>
                    </a:lnTo>
                    <a:lnTo>
                      <a:pt x="69776" y="4576"/>
                    </a:lnTo>
                    <a:lnTo>
                      <a:pt x="74938" y="3224"/>
                    </a:lnTo>
                    <a:lnTo>
                      <a:pt x="78937" y="4912"/>
                    </a:lnTo>
                    <a:lnTo>
                      <a:pt x="86678" y="5701"/>
                    </a:lnTo>
                    <a:lnTo>
                      <a:pt x="91332" y="7083"/>
                    </a:lnTo>
                    <a:lnTo>
                      <a:pt x="104206" y="9402"/>
                    </a:lnTo>
                    <a:lnTo>
                      <a:pt x="108855" y="9428"/>
                    </a:lnTo>
                    <a:lnTo>
                      <a:pt x="115433" y="8127"/>
                    </a:lnTo>
                    <a:lnTo>
                      <a:pt x="118218" y="7149"/>
                    </a:lnTo>
                    <a:lnTo>
                      <a:pt x="120768" y="7729"/>
                    </a:lnTo>
                    <a:lnTo>
                      <a:pt x="124514" y="6609"/>
                    </a:lnTo>
                    <a:lnTo>
                      <a:pt x="126305" y="6836"/>
                    </a:lnTo>
                    <a:lnTo>
                      <a:pt x="128644" y="8433"/>
                    </a:lnTo>
                    <a:lnTo>
                      <a:pt x="136875" y="10589"/>
                    </a:lnTo>
                    <a:lnTo>
                      <a:pt x="139040" y="8757"/>
                    </a:lnTo>
                    <a:lnTo>
                      <a:pt x="140647" y="8360"/>
                    </a:lnTo>
                    <a:lnTo>
                      <a:pt x="146572" y="9482"/>
                    </a:lnTo>
                    <a:lnTo>
                      <a:pt x="152542" y="11760"/>
                    </a:lnTo>
                    <a:lnTo>
                      <a:pt x="155647" y="11924"/>
                    </a:lnTo>
                    <a:lnTo>
                      <a:pt x="160188" y="11302"/>
                    </a:lnTo>
                    <a:lnTo>
                      <a:pt x="163788" y="9802"/>
                    </a:lnTo>
                    <a:lnTo>
                      <a:pt x="164550" y="9627"/>
                    </a:lnTo>
                    <a:lnTo>
                      <a:pt x="164579" y="10563"/>
                    </a:lnTo>
                    <a:lnTo>
                      <a:pt x="165452" y="11849"/>
                    </a:lnTo>
                    <a:lnTo>
                      <a:pt x="166345" y="12325"/>
                    </a:lnTo>
                    <a:lnTo>
                      <a:pt x="168240" y="12985"/>
                    </a:lnTo>
                    <a:lnTo>
                      <a:pt x="169692" y="13073"/>
                    </a:lnTo>
                    <a:lnTo>
                      <a:pt x="171677" y="13382"/>
                    </a:lnTo>
                    <a:lnTo>
                      <a:pt x="173027" y="14123"/>
                    </a:lnTo>
                    <a:lnTo>
                      <a:pt x="173101" y="15277"/>
                    </a:lnTo>
                    <a:lnTo>
                      <a:pt x="172763" y="16566"/>
                    </a:lnTo>
                    <a:lnTo>
                      <a:pt x="171949" y="17750"/>
                    </a:lnTo>
                    <a:lnTo>
                      <a:pt x="171484" y="18658"/>
                    </a:lnTo>
                    <a:lnTo>
                      <a:pt x="171918" y="19177"/>
                    </a:lnTo>
                    <a:lnTo>
                      <a:pt x="172627" y="19580"/>
                    </a:lnTo>
                    <a:lnTo>
                      <a:pt x="173395" y="19691"/>
                    </a:lnTo>
                    <a:lnTo>
                      <a:pt x="173915" y="19557"/>
                    </a:lnTo>
                    <a:lnTo>
                      <a:pt x="174308" y="18842"/>
                    </a:lnTo>
                    <a:lnTo>
                      <a:pt x="175058" y="17965"/>
                    </a:lnTo>
                    <a:lnTo>
                      <a:pt x="175473" y="17858"/>
                    </a:lnTo>
                    <a:lnTo>
                      <a:pt x="175440" y="18354"/>
                    </a:lnTo>
                    <a:lnTo>
                      <a:pt x="175796" y="18967"/>
                    </a:lnTo>
                    <a:lnTo>
                      <a:pt x="178228" y="19998"/>
                    </a:lnTo>
                    <a:lnTo>
                      <a:pt x="183571" y="21917"/>
                    </a:lnTo>
                    <a:lnTo>
                      <a:pt x="185663" y="21953"/>
                    </a:lnTo>
                    <a:lnTo>
                      <a:pt x="187356" y="22178"/>
                    </a:lnTo>
                    <a:lnTo>
                      <a:pt x="187853" y="22988"/>
                    </a:lnTo>
                    <a:lnTo>
                      <a:pt x="191253" y="25947"/>
                    </a:lnTo>
                    <a:lnTo>
                      <a:pt x="192063" y="25866"/>
                    </a:lnTo>
                    <a:lnTo>
                      <a:pt x="193581" y="25938"/>
                    </a:lnTo>
                    <a:lnTo>
                      <a:pt x="195410" y="25703"/>
                    </a:lnTo>
                    <a:lnTo>
                      <a:pt x="196733" y="25149"/>
                    </a:lnTo>
                    <a:lnTo>
                      <a:pt x="197602" y="25242"/>
                    </a:lnTo>
                    <a:lnTo>
                      <a:pt x="198558" y="25814"/>
                    </a:lnTo>
                    <a:lnTo>
                      <a:pt x="199680" y="26313"/>
                    </a:lnTo>
                    <a:lnTo>
                      <a:pt x="201123" y="27285"/>
                    </a:lnTo>
                    <a:lnTo>
                      <a:pt x="202418" y="28490"/>
                    </a:lnTo>
                    <a:lnTo>
                      <a:pt x="203310" y="28884"/>
                    </a:lnTo>
                    <a:lnTo>
                      <a:pt x="208673" y="28076"/>
                    </a:lnTo>
                    <a:lnTo>
                      <a:pt x="209869" y="28782"/>
                    </a:lnTo>
                    <a:lnTo>
                      <a:pt x="211139" y="28773"/>
                    </a:lnTo>
                    <a:lnTo>
                      <a:pt x="212562" y="28589"/>
                    </a:lnTo>
                    <a:lnTo>
                      <a:pt x="215667" y="28960"/>
                    </a:lnTo>
                    <a:lnTo>
                      <a:pt x="218187" y="28871"/>
                    </a:lnTo>
                    <a:lnTo>
                      <a:pt x="218416" y="28576"/>
                    </a:lnTo>
                    <a:lnTo>
                      <a:pt x="218632" y="25908"/>
                    </a:lnTo>
                    <a:lnTo>
                      <a:pt x="219031" y="24963"/>
                    </a:lnTo>
                    <a:lnTo>
                      <a:pt x="219629" y="24713"/>
                    </a:lnTo>
                    <a:lnTo>
                      <a:pt x="221124" y="24902"/>
                    </a:lnTo>
                    <a:lnTo>
                      <a:pt x="226554" y="26482"/>
                    </a:lnTo>
                    <a:lnTo>
                      <a:pt x="228790" y="27469"/>
                    </a:lnTo>
                    <a:lnTo>
                      <a:pt x="230938" y="28242"/>
                    </a:lnTo>
                    <a:lnTo>
                      <a:pt x="232817" y="28327"/>
                    </a:lnTo>
                    <a:lnTo>
                      <a:pt x="234058" y="28842"/>
                    </a:lnTo>
                    <a:lnTo>
                      <a:pt x="235803" y="31373"/>
                    </a:lnTo>
                    <a:lnTo>
                      <a:pt x="235505" y="32642"/>
                    </a:lnTo>
                    <a:lnTo>
                      <a:pt x="235663" y="33111"/>
                    </a:lnTo>
                    <a:lnTo>
                      <a:pt x="235847" y="33990"/>
                    </a:lnTo>
                    <a:lnTo>
                      <a:pt x="235799" y="34964"/>
                    </a:lnTo>
                    <a:lnTo>
                      <a:pt x="236257" y="35600"/>
                    </a:lnTo>
                    <a:lnTo>
                      <a:pt x="237084" y="35680"/>
                    </a:lnTo>
                    <a:lnTo>
                      <a:pt x="238142" y="35487"/>
                    </a:lnTo>
                    <a:lnTo>
                      <a:pt x="239299" y="35107"/>
                    </a:lnTo>
                    <a:lnTo>
                      <a:pt x="241335" y="34021"/>
                    </a:lnTo>
                    <a:lnTo>
                      <a:pt x="241945" y="33844"/>
                    </a:lnTo>
                    <a:lnTo>
                      <a:pt x="245343" y="35077"/>
                    </a:lnTo>
                    <a:lnTo>
                      <a:pt x="246851" y="35897"/>
                    </a:lnTo>
                    <a:lnTo>
                      <a:pt x="247371" y="36791"/>
                    </a:lnTo>
                    <a:lnTo>
                      <a:pt x="248146" y="37704"/>
                    </a:lnTo>
                    <a:lnTo>
                      <a:pt x="249167" y="37837"/>
                    </a:lnTo>
                    <a:lnTo>
                      <a:pt x="250619" y="36969"/>
                    </a:lnTo>
                    <a:lnTo>
                      <a:pt x="252875" y="36040"/>
                    </a:lnTo>
                    <a:lnTo>
                      <a:pt x="256723" y="36857"/>
                    </a:lnTo>
                    <a:lnTo>
                      <a:pt x="261003" y="38042"/>
                    </a:lnTo>
                    <a:lnTo>
                      <a:pt x="262854" y="38184"/>
                    </a:lnTo>
                    <a:lnTo>
                      <a:pt x="262923" y="37608"/>
                    </a:lnTo>
                    <a:lnTo>
                      <a:pt x="263260" y="36784"/>
                    </a:lnTo>
                    <a:lnTo>
                      <a:pt x="263964" y="36372"/>
                    </a:lnTo>
                    <a:lnTo>
                      <a:pt x="265015" y="36251"/>
                    </a:lnTo>
                    <a:lnTo>
                      <a:pt x="266480" y="35819"/>
                    </a:lnTo>
                    <a:lnTo>
                      <a:pt x="268155" y="35104"/>
                    </a:lnTo>
                    <a:lnTo>
                      <a:pt x="269893" y="34806"/>
                    </a:lnTo>
                    <a:lnTo>
                      <a:pt x="271720" y="35340"/>
                    </a:lnTo>
                    <a:lnTo>
                      <a:pt x="273921" y="35772"/>
                    </a:lnTo>
                    <a:lnTo>
                      <a:pt x="275231" y="35768"/>
                    </a:lnTo>
                    <a:lnTo>
                      <a:pt x="275860" y="37454"/>
                    </a:lnTo>
                    <a:lnTo>
                      <a:pt x="276922" y="38098"/>
                    </a:lnTo>
                    <a:lnTo>
                      <a:pt x="277339" y="39556"/>
                    </a:lnTo>
                    <a:lnTo>
                      <a:pt x="275391" y="40317"/>
                    </a:lnTo>
                    <a:lnTo>
                      <a:pt x="274236" y="40420"/>
                    </a:lnTo>
                    <a:lnTo>
                      <a:pt x="273882" y="42921"/>
                    </a:lnTo>
                    <a:lnTo>
                      <a:pt x="274430" y="43625"/>
                    </a:lnTo>
                    <a:lnTo>
                      <a:pt x="275523" y="44285"/>
                    </a:lnTo>
                    <a:lnTo>
                      <a:pt x="275821" y="45054"/>
                    </a:lnTo>
                    <a:lnTo>
                      <a:pt x="276041" y="48717"/>
                    </a:lnTo>
                    <a:lnTo>
                      <a:pt x="273804" y="50924"/>
                    </a:lnTo>
                    <a:lnTo>
                      <a:pt x="270664" y="53405"/>
                    </a:lnTo>
                    <a:lnTo>
                      <a:pt x="255320" y="61366"/>
                    </a:lnTo>
                    <a:lnTo>
                      <a:pt x="251664" y="65214"/>
                    </a:lnTo>
                    <a:lnTo>
                      <a:pt x="250271" y="66093"/>
                    </a:lnTo>
                    <a:lnTo>
                      <a:pt x="238861" y="68513"/>
                    </a:lnTo>
                    <a:lnTo>
                      <a:pt x="230884" y="71096"/>
                    </a:lnTo>
                    <a:lnTo>
                      <a:pt x="227060" y="72030"/>
                    </a:lnTo>
                    <a:lnTo>
                      <a:pt x="222283" y="76514"/>
                    </a:lnTo>
                    <a:lnTo>
                      <a:pt x="220022" y="78320"/>
                    </a:lnTo>
                    <a:lnTo>
                      <a:pt x="221823" y="78820"/>
                    </a:lnTo>
                    <a:lnTo>
                      <a:pt x="223924" y="80958"/>
                    </a:lnTo>
                    <a:lnTo>
                      <a:pt x="223218" y="81906"/>
                    </a:lnTo>
                    <a:lnTo>
                      <a:pt x="220154" y="83368"/>
                    </a:lnTo>
                    <a:lnTo>
                      <a:pt x="218815" y="83818"/>
                    </a:lnTo>
                    <a:lnTo>
                      <a:pt x="218088" y="83585"/>
                    </a:lnTo>
                    <a:lnTo>
                      <a:pt x="217401" y="83787"/>
                    </a:lnTo>
                    <a:lnTo>
                      <a:pt x="212262" y="91522"/>
                    </a:lnTo>
                    <a:lnTo>
                      <a:pt x="207723" y="97072"/>
                    </a:lnTo>
                    <a:lnTo>
                      <a:pt x="205172" y="99489"/>
                    </a:lnTo>
                    <a:lnTo>
                      <a:pt x="202558" y="103086"/>
                    </a:lnTo>
                    <a:lnTo>
                      <a:pt x="196989" y="112346"/>
                    </a:lnTo>
                    <a:lnTo>
                      <a:pt x="196946" y="115013"/>
                    </a:lnTo>
                    <a:lnTo>
                      <a:pt x="199689" y="124196"/>
                    </a:lnTo>
                    <a:lnTo>
                      <a:pt x="201261" y="126604"/>
                    </a:lnTo>
                    <a:lnTo>
                      <a:pt x="203465" y="128626"/>
                    </a:lnTo>
                    <a:lnTo>
                      <a:pt x="207645" y="130344"/>
                    </a:lnTo>
                    <a:lnTo>
                      <a:pt x="208677" y="132034"/>
                    </a:lnTo>
                    <a:lnTo>
                      <a:pt x="207234" y="133643"/>
                    </a:lnTo>
                    <a:lnTo>
                      <a:pt x="203054" y="136506"/>
                    </a:lnTo>
                    <a:lnTo>
                      <a:pt x="195790" y="140369"/>
                    </a:lnTo>
                    <a:lnTo>
                      <a:pt x="192704" y="143413"/>
                    </a:lnTo>
                    <a:lnTo>
                      <a:pt x="192043" y="146346"/>
                    </a:lnTo>
                    <a:lnTo>
                      <a:pt x="189918" y="147662"/>
                    </a:lnTo>
                    <a:lnTo>
                      <a:pt x="189113" y="151762"/>
                    </a:lnTo>
                    <a:lnTo>
                      <a:pt x="187823" y="154476"/>
                    </a:lnTo>
                    <a:lnTo>
                      <a:pt x="187575" y="155395"/>
                    </a:lnTo>
                    <a:lnTo>
                      <a:pt x="186207" y="157451"/>
                    </a:lnTo>
                    <a:lnTo>
                      <a:pt x="186020" y="158942"/>
                    </a:lnTo>
                    <a:lnTo>
                      <a:pt x="188264" y="161002"/>
                    </a:lnTo>
                    <a:lnTo>
                      <a:pt x="187152" y="161892"/>
                    </a:lnTo>
                    <a:lnTo>
                      <a:pt x="186040" y="162288"/>
                    </a:lnTo>
                    <a:lnTo>
                      <a:pt x="183477" y="162528"/>
                    </a:lnTo>
                    <a:lnTo>
                      <a:pt x="174865" y="162789"/>
                    </a:lnTo>
                    <a:lnTo>
                      <a:pt x="167935" y="167235"/>
                    </a:lnTo>
                    <a:lnTo>
                      <a:pt x="164471" y="171164"/>
                    </a:lnTo>
                    <a:lnTo>
                      <a:pt x="161338" y="178468"/>
                    </a:lnTo>
                    <a:lnTo>
                      <a:pt x="157530" y="182766"/>
                    </a:lnTo>
                    <a:lnTo>
                      <a:pt x="155846" y="183558"/>
                    </a:lnTo>
                    <a:lnTo>
                      <a:pt x="153239" y="181670"/>
                    </a:lnTo>
                    <a:lnTo>
                      <a:pt x="149983" y="181382"/>
                    </a:lnTo>
                    <a:lnTo>
                      <a:pt x="146824" y="182008"/>
                    </a:lnTo>
                    <a:lnTo>
                      <a:pt x="145167" y="183504"/>
                    </a:lnTo>
                    <a:lnTo>
                      <a:pt x="142581" y="184337"/>
                    </a:lnTo>
                    <a:lnTo>
                      <a:pt x="140054" y="183616"/>
                    </a:lnTo>
                    <a:lnTo>
                      <a:pt x="134585" y="183227"/>
                    </a:lnTo>
                    <a:lnTo>
                      <a:pt x="132154" y="183296"/>
                    </a:lnTo>
                    <a:lnTo>
                      <a:pt x="128348" y="184511"/>
                    </a:lnTo>
                    <a:lnTo>
                      <a:pt x="125085" y="183700"/>
                    </a:lnTo>
                    <a:lnTo>
                      <a:pt x="119580" y="183289"/>
                    </a:lnTo>
                    <a:lnTo>
                      <a:pt x="107660" y="184252"/>
                    </a:lnTo>
                    <a:lnTo>
                      <a:pt x="106156" y="184705"/>
                    </a:lnTo>
                    <a:lnTo>
                      <a:pt x="104666" y="186509"/>
                    </a:lnTo>
                    <a:lnTo>
                      <a:pt x="100865" y="189618"/>
                    </a:lnTo>
                    <a:lnTo>
                      <a:pt x="95090" y="189730"/>
                    </a:lnTo>
                    <a:lnTo>
                      <a:pt x="89867" y="191712"/>
                    </a:lnTo>
                    <a:lnTo>
                      <a:pt x="88562" y="192981"/>
                    </a:lnTo>
                    <a:lnTo>
                      <a:pt x="86369" y="196469"/>
                    </a:lnTo>
                    <a:lnTo>
                      <a:pt x="85678" y="199017"/>
                    </a:lnTo>
                    <a:lnTo>
                      <a:pt x="85222" y="199038"/>
                    </a:lnTo>
                    <a:lnTo>
                      <a:pt x="84655" y="198411"/>
                    </a:lnTo>
                    <a:lnTo>
                      <a:pt x="83850" y="198621"/>
                    </a:lnTo>
                    <a:lnTo>
                      <a:pt x="83433" y="200560"/>
                    </a:lnTo>
                    <a:lnTo>
                      <a:pt x="81470" y="201443"/>
                    </a:lnTo>
                    <a:lnTo>
                      <a:pt x="79829" y="201768"/>
                    </a:lnTo>
                    <a:lnTo>
                      <a:pt x="75784" y="200193"/>
                    </a:lnTo>
                    <a:lnTo>
                      <a:pt x="72417" y="197833"/>
                    </a:lnTo>
                    <a:lnTo>
                      <a:pt x="70648" y="197664"/>
                    </a:lnTo>
                    <a:lnTo>
                      <a:pt x="67778" y="193989"/>
                    </a:lnTo>
                    <a:lnTo>
                      <a:pt x="66544" y="191644"/>
                    </a:lnTo>
                    <a:lnTo>
                      <a:pt x="65667" y="189110"/>
                    </a:lnTo>
                    <a:lnTo>
                      <a:pt x="65849" y="188139"/>
                    </a:lnTo>
                    <a:lnTo>
                      <a:pt x="65600" y="187331"/>
                    </a:lnTo>
                    <a:lnTo>
                      <a:pt x="63053" y="186309"/>
                    </a:lnTo>
                    <a:lnTo>
                      <a:pt x="62432" y="183979"/>
                    </a:lnTo>
                    <a:lnTo>
                      <a:pt x="64288" y="180951"/>
                    </a:lnTo>
                    <a:lnTo>
                      <a:pt x="65811" y="179659"/>
                    </a:lnTo>
                    <a:lnTo>
                      <a:pt x="66753" y="179288"/>
                    </a:lnTo>
                    <a:lnTo>
                      <a:pt x="64450" y="179418"/>
                    </a:lnTo>
                    <a:lnTo>
                      <a:pt x="62787" y="181370"/>
                    </a:lnTo>
                    <a:lnTo>
                      <a:pt x="60659" y="178244"/>
                    </a:lnTo>
                    <a:lnTo>
                      <a:pt x="51986" y="172148"/>
                    </a:lnTo>
                    <a:lnTo>
                      <a:pt x="52545" y="170748"/>
                    </a:lnTo>
                    <a:lnTo>
                      <a:pt x="52448" y="169991"/>
                    </a:lnTo>
                    <a:lnTo>
                      <a:pt x="50994" y="171620"/>
                    </a:lnTo>
                    <a:lnTo>
                      <a:pt x="49995" y="172041"/>
                    </a:lnTo>
                    <a:lnTo>
                      <a:pt x="45567" y="171777"/>
                    </a:lnTo>
                    <a:lnTo>
                      <a:pt x="40454" y="172525"/>
                    </a:lnTo>
                    <a:lnTo>
                      <a:pt x="39105" y="166187"/>
                    </a:lnTo>
                    <a:lnTo>
                      <a:pt x="38467" y="163748"/>
                    </a:lnTo>
                    <a:lnTo>
                      <a:pt x="38301" y="162167"/>
                    </a:lnTo>
                    <a:lnTo>
                      <a:pt x="39619" y="158516"/>
                    </a:lnTo>
                    <a:lnTo>
                      <a:pt x="41057" y="157030"/>
                    </a:lnTo>
                    <a:lnTo>
                      <a:pt x="42973" y="153956"/>
                    </a:lnTo>
                    <a:lnTo>
                      <a:pt x="45335" y="151395"/>
                    </a:lnTo>
                    <a:lnTo>
                      <a:pt x="47832" y="150788"/>
                    </a:lnTo>
                    <a:lnTo>
                      <a:pt x="48930" y="150411"/>
                    </a:lnTo>
                    <a:lnTo>
                      <a:pt x="49853" y="148429"/>
                    </a:lnTo>
                    <a:lnTo>
                      <a:pt x="50373" y="146737"/>
                    </a:lnTo>
                    <a:lnTo>
                      <a:pt x="49992" y="146569"/>
                    </a:lnTo>
                    <a:lnTo>
                      <a:pt x="47082" y="146914"/>
                    </a:lnTo>
                    <a:lnTo>
                      <a:pt x="41850" y="139809"/>
                    </a:lnTo>
                    <a:lnTo>
                      <a:pt x="42010" y="138675"/>
                    </a:lnTo>
                    <a:lnTo>
                      <a:pt x="42670" y="136992"/>
                    </a:lnTo>
                    <a:lnTo>
                      <a:pt x="43103" y="134866"/>
                    </a:lnTo>
                    <a:lnTo>
                      <a:pt x="43210" y="133185"/>
                    </a:lnTo>
                    <a:lnTo>
                      <a:pt x="44572" y="131742"/>
                    </a:lnTo>
                    <a:lnTo>
                      <a:pt x="46660" y="130285"/>
                    </a:lnTo>
                    <a:lnTo>
                      <a:pt x="48417" y="128217"/>
                    </a:lnTo>
                    <a:lnTo>
                      <a:pt x="49297" y="126196"/>
                    </a:lnTo>
                    <a:lnTo>
                      <a:pt x="49480" y="124355"/>
                    </a:lnTo>
                    <a:lnTo>
                      <a:pt x="48485" y="123045"/>
                    </a:lnTo>
                    <a:lnTo>
                      <a:pt x="45623" y="122318"/>
                    </a:lnTo>
                    <a:lnTo>
                      <a:pt x="42674" y="117061"/>
                    </a:lnTo>
                    <a:lnTo>
                      <a:pt x="42018" y="113766"/>
                    </a:lnTo>
                    <a:lnTo>
                      <a:pt x="41415" y="113424"/>
                    </a:lnTo>
                    <a:lnTo>
                      <a:pt x="39593" y="111922"/>
                    </a:lnTo>
                    <a:lnTo>
                      <a:pt x="37844" y="109102"/>
                    </a:lnTo>
                    <a:lnTo>
                      <a:pt x="37590" y="108664"/>
                    </a:lnTo>
                    <a:lnTo>
                      <a:pt x="39394" y="108168"/>
                    </a:lnTo>
                    <a:lnTo>
                      <a:pt x="46833" y="108141"/>
                    </a:lnTo>
                    <a:lnTo>
                      <a:pt x="48387" y="107520"/>
                    </a:lnTo>
                    <a:lnTo>
                      <a:pt x="48623" y="107302"/>
                    </a:lnTo>
                    <a:lnTo>
                      <a:pt x="49979" y="105105"/>
                    </a:lnTo>
                    <a:lnTo>
                      <a:pt x="51399" y="101492"/>
                    </a:lnTo>
                    <a:lnTo>
                      <a:pt x="51733" y="99284"/>
                    </a:lnTo>
                    <a:lnTo>
                      <a:pt x="51284" y="98371"/>
                    </a:lnTo>
                    <a:lnTo>
                      <a:pt x="48820" y="96132"/>
                    </a:lnTo>
                    <a:lnTo>
                      <a:pt x="48714" y="95471"/>
                    </a:lnTo>
                    <a:lnTo>
                      <a:pt x="49110" y="94415"/>
                    </a:lnTo>
                    <a:lnTo>
                      <a:pt x="50575" y="93285"/>
                    </a:lnTo>
                    <a:lnTo>
                      <a:pt x="52555" y="92001"/>
                    </a:lnTo>
                    <a:lnTo>
                      <a:pt x="53633" y="90893"/>
                    </a:lnTo>
                    <a:lnTo>
                      <a:pt x="53376" y="90026"/>
                    </a:lnTo>
                    <a:lnTo>
                      <a:pt x="52797" y="89117"/>
                    </a:lnTo>
                    <a:lnTo>
                      <a:pt x="52707" y="88273"/>
                    </a:lnTo>
                    <a:lnTo>
                      <a:pt x="53069" y="87228"/>
                    </a:lnTo>
                    <a:lnTo>
                      <a:pt x="53198" y="83667"/>
                    </a:lnTo>
                    <a:lnTo>
                      <a:pt x="53452" y="82750"/>
                    </a:lnTo>
                    <a:lnTo>
                      <a:pt x="53064" y="79511"/>
                    </a:lnTo>
                    <a:lnTo>
                      <a:pt x="52581" y="76863"/>
                    </a:lnTo>
                    <a:lnTo>
                      <a:pt x="51017" y="73423"/>
                    </a:lnTo>
                    <a:lnTo>
                      <a:pt x="51303" y="72663"/>
                    </a:lnTo>
                    <a:lnTo>
                      <a:pt x="52026" y="72021"/>
                    </a:lnTo>
                    <a:lnTo>
                      <a:pt x="54393" y="70828"/>
                    </a:lnTo>
                    <a:lnTo>
                      <a:pt x="56287" y="68015"/>
                    </a:lnTo>
                    <a:lnTo>
                      <a:pt x="59034" y="65663"/>
                    </a:lnTo>
                    <a:lnTo>
                      <a:pt x="62633" y="63771"/>
                    </a:lnTo>
                    <a:lnTo>
                      <a:pt x="65149" y="61669"/>
                    </a:lnTo>
                    <a:lnTo>
                      <a:pt x="66145" y="60060"/>
                    </a:lnTo>
                    <a:lnTo>
                      <a:pt x="66848" y="59634"/>
                    </a:lnTo>
                    <a:lnTo>
                      <a:pt x="66646" y="58883"/>
                    </a:lnTo>
                    <a:lnTo>
                      <a:pt x="66172" y="57789"/>
                    </a:lnTo>
                    <a:lnTo>
                      <a:pt x="64736" y="56721"/>
                    </a:lnTo>
                    <a:lnTo>
                      <a:pt x="62886" y="56107"/>
                    </a:lnTo>
                    <a:lnTo>
                      <a:pt x="60830" y="56133"/>
                    </a:lnTo>
                    <a:lnTo>
                      <a:pt x="59558" y="55918"/>
                    </a:lnTo>
                    <a:lnTo>
                      <a:pt x="59187" y="55083"/>
                    </a:lnTo>
                    <a:lnTo>
                      <a:pt x="59328" y="52819"/>
                    </a:lnTo>
                    <a:lnTo>
                      <a:pt x="59219" y="50577"/>
                    </a:lnTo>
                    <a:lnTo>
                      <a:pt x="58825" y="49544"/>
                    </a:lnTo>
                    <a:lnTo>
                      <a:pt x="57876" y="48767"/>
                    </a:lnTo>
                    <a:lnTo>
                      <a:pt x="55989" y="48974"/>
                    </a:lnTo>
                    <a:lnTo>
                      <a:pt x="54360" y="48339"/>
                    </a:lnTo>
                    <a:lnTo>
                      <a:pt x="53124" y="48189"/>
                    </a:lnTo>
                    <a:lnTo>
                      <a:pt x="52409" y="48690"/>
                    </a:lnTo>
                    <a:lnTo>
                      <a:pt x="48761" y="48548"/>
                    </a:lnTo>
                    <a:lnTo>
                      <a:pt x="47243" y="48187"/>
                    </a:lnTo>
                    <a:lnTo>
                      <a:pt x="46182" y="47738"/>
                    </a:lnTo>
                    <a:lnTo>
                      <a:pt x="45501" y="47989"/>
                    </a:lnTo>
                    <a:lnTo>
                      <a:pt x="45116" y="48426"/>
                    </a:lnTo>
                    <a:lnTo>
                      <a:pt x="45050" y="49111"/>
                    </a:lnTo>
                    <a:lnTo>
                      <a:pt x="44800" y="50017"/>
                    </a:lnTo>
                    <a:lnTo>
                      <a:pt x="43497" y="50835"/>
                    </a:lnTo>
                    <a:lnTo>
                      <a:pt x="40510" y="51649"/>
                    </a:lnTo>
                    <a:lnTo>
                      <a:pt x="38100" y="51588"/>
                    </a:lnTo>
                    <a:lnTo>
                      <a:pt x="35889" y="51006"/>
                    </a:lnTo>
                    <a:lnTo>
                      <a:pt x="35180" y="50581"/>
                    </a:lnTo>
                    <a:lnTo>
                      <a:pt x="34110" y="50196"/>
                    </a:lnTo>
                    <a:lnTo>
                      <a:pt x="29614" y="50671"/>
                    </a:lnTo>
                    <a:lnTo>
                      <a:pt x="29073" y="50325"/>
                    </a:lnTo>
                    <a:lnTo>
                      <a:pt x="27523" y="51166"/>
                    </a:lnTo>
                    <a:lnTo>
                      <a:pt x="25235" y="52166"/>
                    </a:lnTo>
                    <a:lnTo>
                      <a:pt x="23951" y="52225"/>
                    </a:lnTo>
                    <a:lnTo>
                      <a:pt x="23486" y="52013"/>
                    </a:lnTo>
                    <a:lnTo>
                      <a:pt x="23315" y="51562"/>
                    </a:lnTo>
                    <a:lnTo>
                      <a:pt x="22353" y="50001"/>
                    </a:lnTo>
                    <a:lnTo>
                      <a:pt x="22606" y="49172"/>
                    </a:lnTo>
                    <a:lnTo>
                      <a:pt x="24449" y="46755"/>
                    </a:lnTo>
                    <a:lnTo>
                      <a:pt x="24243" y="46177"/>
                    </a:lnTo>
                    <a:lnTo>
                      <a:pt x="23485" y="45395"/>
                    </a:lnTo>
                    <a:lnTo>
                      <a:pt x="22808" y="44266"/>
                    </a:lnTo>
                    <a:lnTo>
                      <a:pt x="22612" y="43686"/>
                    </a:lnTo>
                    <a:lnTo>
                      <a:pt x="21440" y="43587"/>
                    </a:lnTo>
                    <a:lnTo>
                      <a:pt x="20191" y="44180"/>
                    </a:lnTo>
                    <a:lnTo>
                      <a:pt x="15425" y="45396"/>
                    </a:lnTo>
                    <a:lnTo>
                      <a:pt x="14285" y="45837"/>
                    </a:lnTo>
                    <a:lnTo>
                      <a:pt x="12221" y="47012"/>
                    </a:lnTo>
                    <a:lnTo>
                      <a:pt x="10139" y="48801"/>
                    </a:lnTo>
                    <a:lnTo>
                      <a:pt x="8476" y="49177"/>
                    </a:lnTo>
                    <a:lnTo>
                      <a:pt x="7902" y="48647"/>
                    </a:lnTo>
                    <a:lnTo>
                      <a:pt x="7705" y="44441"/>
                    </a:lnTo>
                    <a:lnTo>
                      <a:pt x="10242" y="41641"/>
                    </a:lnTo>
                    <a:lnTo>
                      <a:pt x="12045" y="39949"/>
                    </a:lnTo>
                    <a:lnTo>
                      <a:pt x="11199" y="39608"/>
                    </a:lnTo>
                    <a:lnTo>
                      <a:pt x="9284" y="39654"/>
                    </a:lnTo>
                    <a:lnTo>
                      <a:pt x="9413" y="38344"/>
                    </a:lnTo>
                    <a:lnTo>
                      <a:pt x="10310" y="37713"/>
                    </a:lnTo>
                    <a:lnTo>
                      <a:pt x="11181" y="36286"/>
                    </a:lnTo>
                    <a:lnTo>
                      <a:pt x="10160" y="35670"/>
                    </a:lnTo>
                    <a:lnTo>
                      <a:pt x="9366" y="34731"/>
                    </a:lnTo>
                    <a:lnTo>
                      <a:pt x="9414" y="32269"/>
                    </a:lnTo>
                    <a:lnTo>
                      <a:pt x="9636" y="31266"/>
                    </a:lnTo>
                    <a:lnTo>
                      <a:pt x="9379" y="30187"/>
                    </a:lnTo>
                    <a:lnTo>
                      <a:pt x="5481" y="31647"/>
                    </a:lnTo>
                    <a:lnTo>
                      <a:pt x="4479" y="31428"/>
                    </a:lnTo>
                    <a:lnTo>
                      <a:pt x="4436" y="29599"/>
                    </a:lnTo>
                    <a:lnTo>
                      <a:pt x="6599" y="26810"/>
                    </a:lnTo>
                    <a:lnTo>
                      <a:pt x="6821" y="25958"/>
                    </a:lnTo>
                    <a:lnTo>
                      <a:pt x="4291" y="25545"/>
                    </a:lnTo>
                    <a:lnTo>
                      <a:pt x="2398" y="24174"/>
                    </a:lnTo>
                    <a:lnTo>
                      <a:pt x="1243" y="22949"/>
                    </a:lnTo>
                    <a:lnTo>
                      <a:pt x="10" y="21184"/>
                    </a:lnTo>
                    <a:lnTo>
                      <a:pt x="0" y="19606"/>
                    </a:lnTo>
                    <a:lnTo>
                      <a:pt x="1273" y="15897"/>
                    </a:lnTo>
                    <a:lnTo>
                      <a:pt x="3098" y="14818"/>
                    </a:lnTo>
                    <a:lnTo>
                      <a:pt x="4669" y="14154"/>
                    </a:lnTo>
                    <a:lnTo>
                      <a:pt x="8004" y="11588"/>
                    </a:lnTo>
                    <a:lnTo>
                      <a:pt x="12605" y="12067"/>
                    </a:lnTo>
                    <a:lnTo>
                      <a:pt x="15448" y="11517"/>
                    </a:lnTo>
                    <a:lnTo>
                      <a:pt x="18001" y="10206"/>
                    </a:lnTo>
                    <a:lnTo>
                      <a:pt x="19463" y="9910"/>
                    </a:lnTo>
                    <a:lnTo>
                      <a:pt x="21819" y="8764"/>
                    </a:lnTo>
                    <a:lnTo>
                      <a:pt x="21745" y="7216"/>
                    </a:lnTo>
                    <a:lnTo>
                      <a:pt x="20936" y="6066"/>
                    </a:lnTo>
                    <a:lnTo>
                      <a:pt x="21646" y="4981"/>
                    </a:lnTo>
                    <a:lnTo>
                      <a:pt x="24290" y="3656"/>
                    </a:lnTo>
                    <a:lnTo>
                      <a:pt x="27219" y="1894"/>
                    </a:lnTo>
                    <a:lnTo>
                      <a:pt x="30580" y="1554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8" name="ee4p_EE_1_15912">
                <a:extLst>
                  <a:ext uri="{FF2B5EF4-FFF2-40B4-BE49-F238E27FC236}">
                    <a16:creationId xmlns:a16="http://schemas.microsoft.com/office/drawing/2014/main" id="{8B58DDB3-1A58-860B-CC2B-2A6B9110E7A0}"/>
                  </a:ext>
                </a:extLst>
              </p:cNvPr>
              <p:cNvSpPr>
                <a:spLocks noChangeAspect="1"/>
              </p:cNvSpPr>
              <p:nvPr>
                <p:custDataLst>
                  <p:tags r:id="rId249"/>
                </p:custDataLst>
              </p:nvPr>
            </p:nvSpPr>
            <p:spPr>
              <a:xfrm>
                <a:off x="5687421" y="3357332"/>
                <a:ext cx="551944" cy="271003"/>
              </a:xfrm>
              <a:custGeom>
                <a:avLst/>
                <a:gdLst>
                  <a:gd name="connsiteX0" fmla="*/ 15312 w 139231"/>
                  <a:gd name="connsiteY0" fmla="*/ 32990 h 68362"/>
                  <a:gd name="connsiteX1" fmla="*/ 16869 w 139231"/>
                  <a:gd name="connsiteY1" fmla="*/ 33189 h 68362"/>
                  <a:gd name="connsiteX2" fmla="*/ 18439 w 139231"/>
                  <a:gd name="connsiteY2" fmla="*/ 33973 h 68362"/>
                  <a:gd name="connsiteX3" fmla="*/ 19886 w 139231"/>
                  <a:gd name="connsiteY3" fmla="*/ 33725 h 68362"/>
                  <a:gd name="connsiteX4" fmla="*/ 21352 w 139231"/>
                  <a:gd name="connsiteY4" fmla="*/ 33180 h 68362"/>
                  <a:gd name="connsiteX5" fmla="*/ 24539 w 139231"/>
                  <a:gd name="connsiteY5" fmla="*/ 33692 h 68362"/>
                  <a:gd name="connsiteX6" fmla="*/ 31805 w 139231"/>
                  <a:gd name="connsiteY6" fmla="*/ 37642 h 68362"/>
                  <a:gd name="connsiteX7" fmla="*/ 32477 w 139231"/>
                  <a:gd name="connsiteY7" fmla="*/ 38697 h 68362"/>
                  <a:gd name="connsiteX8" fmla="*/ 28141 w 139231"/>
                  <a:gd name="connsiteY8" fmla="*/ 39176 h 68362"/>
                  <a:gd name="connsiteX9" fmla="*/ 27156 w 139231"/>
                  <a:gd name="connsiteY9" fmla="*/ 40385 h 68362"/>
                  <a:gd name="connsiteX10" fmla="*/ 26114 w 139231"/>
                  <a:gd name="connsiteY10" fmla="*/ 41230 h 68362"/>
                  <a:gd name="connsiteX11" fmla="*/ 24885 w 139231"/>
                  <a:gd name="connsiteY11" fmla="*/ 41502 h 68362"/>
                  <a:gd name="connsiteX12" fmla="*/ 22790 w 139231"/>
                  <a:gd name="connsiteY12" fmla="*/ 43197 h 68362"/>
                  <a:gd name="connsiteX13" fmla="*/ 19957 w 139231"/>
                  <a:gd name="connsiteY13" fmla="*/ 44819 h 68362"/>
                  <a:gd name="connsiteX14" fmla="*/ 19365 w 139231"/>
                  <a:gd name="connsiteY14" fmla="*/ 45792 h 68362"/>
                  <a:gd name="connsiteX15" fmla="*/ 14239 w 139231"/>
                  <a:gd name="connsiteY15" fmla="*/ 45613 h 68362"/>
                  <a:gd name="connsiteX16" fmla="*/ 11436 w 139231"/>
                  <a:gd name="connsiteY16" fmla="*/ 46227 h 68362"/>
                  <a:gd name="connsiteX17" fmla="*/ 9173 w 139231"/>
                  <a:gd name="connsiteY17" fmla="*/ 48040 h 68362"/>
                  <a:gd name="connsiteX18" fmla="*/ 8244 w 139231"/>
                  <a:gd name="connsiteY18" fmla="*/ 51538 h 68362"/>
                  <a:gd name="connsiteX19" fmla="*/ 6588 w 139231"/>
                  <a:gd name="connsiteY19" fmla="*/ 54265 h 68362"/>
                  <a:gd name="connsiteX20" fmla="*/ 4904 w 139231"/>
                  <a:gd name="connsiteY20" fmla="*/ 55250 h 68362"/>
                  <a:gd name="connsiteX21" fmla="*/ 3148 w 139231"/>
                  <a:gd name="connsiteY21" fmla="*/ 55400 h 68362"/>
                  <a:gd name="connsiteX22" fmla="*/ 2732 w 139231"/>
                  <a:gd name="connsiteY22" fmla="*/ 54377 h 68362"/>
                  <a:gd name="connsiteX23" fmla="*/ 2898 w 139231"/>
                  <a:gd name="connsiteY23" fmla="*/ 53355 h 68362"/>
                  <a:gd name="connsiteX24" fmla="*/ 6599 w 139231"/>
                  <a:gd name="connsiteY24" fmla="*/ 49499 h 68362"/>
                  <a:gd name="connsiteX25" fmla="*/ 7368 w 139231"/>
                  <a:gd name="connsiteY25" fmla="*/ 48246 h 68362"/>
                  <a:gd name="connsiteX26" fmla="*/ 5526 w 139231"/>
                  <a:gd name="connsiteY26" fmla="*/ 47689 h 68362"/>
                  <a:gd name="connsiteX27" fmla="*/ 3982 w 139231"/>
                  <a:gd name="connsiteY27" fmla="*/ 46348 h 68362"/>
                  <a:gd name="connsiteX28" fmla="*/ 611 w 139231"/>
                  <a:gd name="connsiteY28" fmla="*/ 44772 h 68362"/>
                  <a:gd name="connsiteX29" fmla="*/ 0 w 139231"/>
                  <a:gd name="connsiteY29" fmla="*/ 43506 h 68362"/>
                  <a:gd name="connsiteX30" fmla="*/ 808 w 139231"/>
                  <a:gd name="connsiteY30" fmla="*/ 43412 h 68362"/>
                  <a:gd name="connsiteX31" fmla="*/ 1546 w 139231"/>
                  <a:gd name="connsiteY31" fmla="*/ 43049 h 68362"/>
                  <a:gd name="connsiteX32" fmla="*/ 2444 w 139231"/>
                  <a:gd name="connsiteY32" fmla="*/ 41987 h 68362"/>
                  <a:gd name="connsiteX33" fmla="*/ 2865 w 139231"/>
                  <a:gd name="connsiteY33" fmla="*/ 40767 h 68362"/>
                  <a:gd name="connsiteX34" fmla="*/ 173 w 139231"/>
                  <a:gd name="connsiteY34" fmla="*/ 37200 h 68362"/>
                  <a:gd name="connsiteX35" fmla="*/ 1546 w 139231"/>
                  <a:gd name="connsiteY35" fmla="*/ 36648 h 68362"/>
                  <a:gd name="connsiteX36" fmla="*/ 3258 w 139231"/>
                  <a:gd name="connsiteY36" fmla="*/ 36778 h 68362"/>
                  <a:gd name="connsiteX37" fmla="*/ 5016 w 139231"/>
                  <a:gd name="connsiteY37" fmla="*/ 37815 h 68362"/>
                  <a:gd name="connsiteX38" fmla="*/ 6945 w 139231"/>
                  <a:gd name="connsiteY38" fmla="*/ 36598 h 68362"/>
                  <a:gd name="connsiteX39" fmla="*/ 7763 w 139231"/>
                  <a:gd name="connsiteY39" fmla="*/ 36418 h 68362"/>
                  <a:gd name="connsiteX40" fmla="*/ 9113 w 139231"/>
                  <a:gd name="connsiteY40" fmla="*/ 36852 h 68362"/>
                  <a:gd name="connsiteX41" fmla="*/ 10473 w 139231"/>
                  <a:gd name="connsiteY41" fmla="*/ 34496 h 68362"/>
                  <a:gd name="connsiteX42" fmla="*/ 13708 w 139231"/>
                  <a:gd name="connsiteY42" fmla="*/ 33718 h 68362"/>
                  <a:gd name="connsiteX43" fmla="*/ 28987 w 139231"/>
                  <a:gd name="connsiteY43" fmla="*/ 31348 h 68362"/>
                  <a:gd name="connsiteX44" fmla="*/ 32689 w 139231"/>
                  <a:gd name="connsiteY44" fmla="*/ 32304 h 68362"/>
                  <a:gd name="connsiteX45" fmla="*/ 33211 w 139231"/>
                  <a:gd name="connsiteY45" fmla="*/ 34668 h 68362"/>
                  <a:gd name="connsiteX46" fmla="*/ 32926 w 139231"/>
                  <a:gd name="connsiteY46" fmla="*/ 35482 h 68362"/>
                  <a:gd name="connsiteX47" fmla="*/ 31086 w 139231"/>
                  <a:gd name="connsiteY47" fmla="*/ 35817 h 68362"/>
                  <a:gd name="connsiteX48" fmla="*/ 26733 w 139231"/>
                  <a:gd name="connsiteY48" fmla="*/ 33518 h 68362"/>
                  <a:gd name="connsiteX49" fmla="*/ 27742 w 139231"/>
                  <a:gd name="connsiteY49" fmla="*/ 31960 h 68362"/>
                  <a:gd name="connsiteX50" fmla="*/ 17577 w 139231"/>
                  <a:gd name="connsiteY50" fmla="*/ 18061 h 68362"/>
                  <a:gd name="connsiteX51" fmla="*/ 18746 w 139231"/>
                  <a:gd name="connsiteY51" fmla="*/ 18475 h 68362"/>
                  <a:gd name="connsiteX52" fmla="*/ 18966 w 139231"/>
                  <a:gd name="connsiteY52" fmla="*/ 19857 h 68362"/>
                  <a:gd name="connsiteX53" fmla="*/ 19260 w 139231"/>
                  <a:gd name="connsiteY53" fmla="*/ 20406 h 68362"/>
                  <a:gd name="connsiteX54" fmla="*/ 23337 w 139231"/>
                  <a:gd name="connsiteY54" fmla="*/ 21184 h 68362"/>
                  <a:gd name="connsiteX55" fmla="*/ 24924 w 139231"/>
                  <a:gd name="connsiteY55" fmla="*/ 23505 h 68362"/>
                  <a:gd name="connsiteX56" fmla="*/ 25522 w 139231"/>
                  <a:gd name="connsiteY56" fmla="*/ 26295 h 68362"/>
                  <a:gd name="connsiteX57" fmla="*/ 23643 w 139231"/>
                  <a:gd name="connsiteY57" fmla="*/ 26524 h 68362"/>
                  <a:gd name="connsiteX58" fmla="*/ 21829 w 139231"/>
                  <a:gd name="connsiteY58" fmla="*/ 28128 h 68362"/>
                  <a:gd name="connsiteX59" fmla="*/ 20749 w 139231"/>
                  <a:gd name="connsiteY59" fmla="*/ 27487 h 68362"/>
                  <a:gd name="connsiteX60" fmla="*/ 20184 w 139231"/>
                  <a:gd name="connsiteY60" fmla="*/ 26718 h 68362"/>
                  <a:gd name="connsiteX61" fmla="*/ 17843 w 139231"/>
                  <a:gd name="connsiteY61" fmla="*/ 30342 h 68362"/>
                  <a:gd name="connsiteX62" fmla="*/ 15206 w 139231"/>
                  <a:gd name="connsiteY62" fmla="*/ 30963 h 68362"/>
                  <a:gd name="connsiteX63" fmla="*/ 13669 w 139231"/>
                  <a:gd name="connsiteY63" fmla="*/ 30248 h 68362"/>
                  <a:gd name="connsiteX64" fmla="*/ 13807 w 139231"/>
                  <a:gd name="connsiteY64" fmla="*/ 28895 h 68362"/>
                  <a:gd name="connsiteX65" fmla="*/ 12306 w 139231"/>
                  <a:gd name="connsiteY65" fmla="*/ 25339 h 68362"/>
                  <a:gd name="connsiteX66" fmla="*/ 10015 w 139231"/>
                  <a:gd name="connsiteY66" fmla="*/ 24297 h 68362"/>
                  <a:gd name="connsiteX67" fmla="*/ 6798 w 139231"/>
                  <a:gd name="connsiteY67" fmla="*/ 24199 h 68362"/>
                  <a:gd name="connsiteX68" fmla="*/ 4461 w 139231"/>
                  <a:gd name="connsiteY68" fmla="*/ 22732 h 68362"/>
                  <a:gd name="connsiteX69" fmla="*/ 13446 w 139231"/>
                  <a:gd name="connsiteY69" fmla="*/ 21733 h 68362"/>
                  <a:gd name="connsiteX70" fmla="*/ 14375 w 139231"/>
                  <a:gd name="connsiteY70" fmla="*/ 20036 h 68362"/>
                  <a:gd name="connsiteX71" fmla="*/ 16202 w 139231"/>
                  <a:gd name="connsiteY71" fmla="*/ 18254 h 68362"/>
                  <a:gd name="connsiteX72" fmla="*/ 80815 w 139231"/>
                  <a:gd name="connsiteY72" fmla="*/ 0 h 68362"/>
                  <a:gd name="connsiteX73" fmla="*/ 83169 w 139231"/>
                  <a:gd name="connsiteY73" fmla="*/ 377 h 68362"/>
                  <a:gd name="connsiteX74" fmla="*/ 87105 w 139231"/>
                  <a:gd name="connsiteY74" fmla="*/ 143 h 68362"/>
                  <a:gd name="connsiteX75" fmla="*/ 101856 w 139231"/>
                  <a:gd name="connsiteY75" fmla="*/ 2795 h 68362"/>
                  <a:gd name="connsiteX76" fmla="*/ 105486 w 139231"/>
                  <a:gd name="connsiteY76" fmla="*/ 2795 h 68362"/>
                  <a:gd name="connsiteX77" fmla="*/ 110506 w 139231"/>
                  <a:gd name="connsiteY77" fmla="*/ 5489 h 68362"/>
                  <a:gd name="connsiteX78" fmla="*/ 113219 w 139231"/>
                  <a:gd name="connsiteY78" fmla="*/ 6182 h 68362"/>
                  <a:gd name="connsiteX79" fmla="*/ 121204 w 139231"/>
                  <a:gd name="connsiteY79" fmla="*/ 6187 h 68362"/>
                  <a:gd name="connsiteX80" fmla="*/ 133515 w 139231"/>
                  <a:gd name="connsiteY80" fmla="*/ 7375 h 68362"/>
                  <a:gd name="connsiteX81" fmla="*/ 135931 w 139231"/>
                  <a:gd name="connsiteY81" fmla="*/ 5553 h 68362"/>
                  <a:gd name="connsiteX82" fmla="*/ 136166 w 139231"/>
                  <a:gd name="connsiteY82" fmla="*/ 5079 h 68362"/>
                  <a:gd name="connsiteX83" fmla="*/ 137345 w 139231"/>
                  <a:gd name="connsiteY83" fmla="*/ 6099 h 68362"/>
                  <a:gd name="connsiteX84" fmla="*/ 138831 w 139231"/>
                  <a:gd name="connsiteY84" fmla="*/ 7740 h 68362"/>
                  <a:gd name="connsiteX85" fmla="*/ 139231 w 139231"/>
                  <a:gd name="connsiteY85" fmla="*/ 8678 h 68362"/>
                  <a:gd name="connsiteX86" fmla="*/ 138728 w 139231"/>
                  <a:gd name="connsiteY86" fmla="*/ 9229 h 68362"/>
                  <a:gd name="connsiteX87" fmla="*/ 137246 w 139231"/>
                  <a:gd name="connsiteY87" fmla="*/ 9697 h 68362"/>
                  <a:gd name="connsiteX88" fmla="*/ 136909 w 139231"/>
                  <a:gd name="connsiteY88" fmla="*/ 10202 h 68362"/>
                  <a:gd name="connsiteX89" fmla="*/ 136253 w 139231"/>
                  <a:gd name="connsiteY89" fmla="*/ 11056 h 68362"/>
                  <a:gd name="connsiteX90" fmla="*/ 134523 w 139231"/>
                  <a:gd name="connsiteY90" fmla="*/ 11210 h 68362"/>
                  <a:gd name="connsiteX91" fmla="*/ 133627 w 139231"/>
                  <a:gd name="connsiteY91" fmla="*/ 11843 h 68362"/>
                  <a:gd name="connsiteX92" fmla="*/ 132562 w 139231"/>
                  <a:gd name="connsiteY92" fmla="*/ 14618 h 68362"/>
                  <a:gd name="connsiteX93" fmla="*/ 130530 w 139231"/>
                  <a:gd name="connsiteY93" fmla="*/ 19205 h 68362"/>
                  <a:gd name="connsiteX94" fmla="*/ 127527 w 139231"/>
                  <a:gd name="connsiteY94" fmla="*/ 22688 h 68362"/>
                  <a:gd name="connsiteX95" fmla="*/ 125123 w 139231"/>
                  <a:gd name="connsiteY95" fmla="*/ 24595 h 68362"/>
                  <a:gd name="connsiteX96" fmla="*/ 124048 w 139231"/>
                  <a:gd name="connsiteY96" fmla="*/ 26056 h 68362"/>
                  <a:gd name="connsiteX97" fmla="*/ 123378 w 139231"/>
                  <a:gd name="connsiteY97" fmla="*/ 27810 h 68362"/>
                  <a:gd name="connsiteX98" fmla="*/ 123221 w 139231"/>
                  <a:gd name="connsiteY98" fmla="*/ 29568 h 68362"/>
                  <a:gd name="connsiteX99" fmla="*/ 125527 w 139231"/>
                  <a:gd name="connsiteY99" fmla="*/ 39200 h 68362"/>
                  <a:gd name="connsiteX100" fmla="*/ 125499 w 139231"/>
                  <a:gd name="connsiteY100" fmla="*/ 40934 h 68362"/>
                  <a:gd name="connsiteX101" fmla="*/ 124957 w 139231"/>
                  <a:gd name="connsiteY101" fmla="*/ 42713 h 68362"/>
                  <a:gd name="connsiteX102" fmla="*/ 124564 w 139231"/>
                  <a:gd name="connsiteY102" fmla="*/ 44524 h 68362"/>
                  <a:gd name="connsiteX103" fmla="*/ 124888 w 139231"/>
                  <a:gd name="connsiteY103" fmla="*/ 46092 h 68362"/>
                  <a:gd name="connsiteX104" fmla="*/ 126406 w 139231"/>
                  <a:gd name="connsiteY104" fmla="*/ 48768 h 68362"/>
                  <a:gd name="connsiteX105" fmla="*/ 128021 w 139231"/>
                  <a:gd name="connsiteY105" fmla="*/ 52754 h 68362"/>
                  <a:gd name="connsiteX106" fmla="*/ 128669 w 139231"/>
                  <a:gd name="connsiteY106" fmla="*/ 55296 h 68362"/>
                  <a:gd name="connsiteX107" fmla="*/ 129742 w 139231"/>
                  <a:gd name="connsiteY107" fmla="*/ 56229 h 68362"/>
                  <a:gd name="connsiteX108" fmla="*/ 130776 w 139231"/>
                  <a:gd name="connsiteY108" fmla="*/ 56912 h 68362"/>
                  <a:gd name="connsiteX109" fmla="*/ 130993 w 139231"/>
                  <a:gd name="connsiteY109" fmla="*/ 57342 h 68362"/>
                  <a:gd name="connsiteX110" fmla="*/ 130958 w 139231"/>
                  <a:gd name="connsiteY110" fmla="*/ 57789 h 68362"/>
                  <a:gd name="connsiteX111" fmla="*/ 130425 w 139231"/>
                  <a:gd name="connsiteY111" fmla="*/ 58292 h 68362"/>
                  <a:gd name="connsiteX112" fmla="*/ 125765 w 139231"/>
                  <a:gd name="connsiteY112" fmla="*/ 59622 h 68362"/>
                  <a:gd name="connsiteX113" fmla="*/ 125160 w 139231"/>
                  <a:gd name="connsiteY113" fmla="*/ 60748 h 68362"/>
                  <a:gd name="connsiteX114" fmla="*/ 124657 w 139231"/>
                  <a:gd name="connsiteY114" fmla="*/ 62002 h 68362"/>
                  <a:gd name="connsiteX115" fmla="*/ 122623 w 139231"/>
                  <a:gd name="connsiteY115" fmla="*/ 63858 h 68362"/>
                  <a:gd name="connsiteX116" fmla="*/ 121999 w 139231"/>
                  <a:gd name="connsiteY116" fmla="*/ 65588 h 68362"/>
                  <a:gd name="connsiteX117" fmla="*/ 121612 w 139231"/>
                  <a:gd name="connsiteY117" fmla="*/ 67573 h 68362"/>
                  <a:gd name="connsiteX118" fmla="*/ 121560 w 139231"/>
                  <a:gd name="connsiteY118" fmla="*/ 68279 h 68362"/>
                  <a:gd name="connsiteX119" fmla="*/ 120999 w 139231"/>
                  <a:gd name="connsiteY119" fmla="*/ 68362 h 68362"/>
                  <a:gd name="connsiteX120" fmla="*/ 117915 w 139231"/>
                  <a:gd name="connsiteY120" fmla="*/ 67954 h 68362"/>
                  <a:gd name="connsiteX121" fmla="*/ 114517 w 139231"/>
                  <a:gd name="connsiteY121" fmla="*/ 66666 h 68362"/>
                  <a:gd name="connsiteX122" fmla="*/ 113026 w 139231"/>
                  <a:gd name="connsiteY122" fmla="*/ 65698 h 68362"/>
                  <a:gd name="connsiteX123" fmla="*/ 111563 w 139231"/>
                  <a:gd name="connsiteY123" fmla="*/ 65708 h 68362"/>
                  <a:gd name="connsiteX124" fmla="*/ 109792 w 139231"/>
                  <a:gd name="connsiteY124" fmla="*/ 66348 h 68362"/>
                  <a:gd name="connsiteX125" fmla="*/ 103443 w 139231"/>
                  <a:gd name="connsiteY125" fmla="*/ 68187 h 68362"/>
                  <a:gd name="connsiteX126" fmla="*/ 101884 w 139231"/>
                  <a:gd name="connsiteY126" fmla="*/ 67758 h 68362"/>
                  <a:gd name="connsiteX127" fmla="*/ 98256 w 139231"/>
                  <a:gd name="connsiteY127" fmla="*/ 65954 h 68362"/>
                  <a:gd name="connsiteX128" fmla="*/ 96421 w 139231"/>
                  <a:gd name="connsiteY128" fmla="*/ 63988 h 68362"/>
                  <a:gd name="connsiteX129" fmla="*/ 92337 w 139231"/>
                  <a:gd name="connsiteY129" fmla="*/ 60066 h 68362"/>
                  <a:gd name="connsiteX130" fmla="*/ 92003 w 139231"/>
                  <a:gd name="connsiteY130" fmla="*/ 59132 h 68362"/>
                  <a:gd name="connsiteX131" fmla="*/ 91469 w 139231"/>
                  <a:gd name="connsiteY131" fmla="*/ 58383 h 68362"/>
                  <a:gd name="connsiteX132" fmla="*/ 87105 w 139231"/>
                  <a:gd name="connsiteY132" fmla="*/ 57411 h 68362"/>
                  <a:gd name="connsiteX133" fmla="*/ 85494 w 139231"/>
                  <a:gd name="connsiteY133" fmla="*/ 55962 h 68362"/>
                  <a:gd name="connsiteX134" fmla="*/ 84151 w 139231"/>
                  <a:gd name="connsiteY134" fmla="*/ 55759 h 68362"/>
                  <a:gd name="connsiteX135" fmla="*/ 82186 w 139231"/>
                  <a:gd name="connsiteY135" fmla="*/ 55035 h 68362"/>
                  <a:gd name="connsiteX136" fmla="*/ 77073 w 139231"/>
                  <a:gd name="connsiteY136" fmla="*/ 51935 h 68362"/>
                  <a:gd name="connsiteX137" fmla="*/ 75803 w 139231"/>
                  <a:gd name="connsiteY137" fmla="*/ 51645 h 68362"/>
                  <a:gd name="connsiteX138" fmla="*/ 75494 w 139231"/>
                  <a:gd name="connsiteY138" fmla="*/ 52167 h 68362"/>
                  <a:gd name="connsiteX139" fmla="*/ 75583 w 139231"/>
                  <a:gd name="connsiteY139" fmla="*/ 52900 h 68362"/>
                  <a:gd name="connsiteX140" fmla="*/ 75265 w 139231"/>
                  <a:gd name="connsiteY140" fmla="*/ 53324 h 68362"/>
                  <a:gd name="connsiteX141" fmla="*/ 74611 w 139231"/>
                  <a:gd name="connsiteY141" fmla="*/ 53310 h 68362"/>
                  <a:gd name="connsiteX142" fmla="*/ 73428 w 139231"/>
                  <a:gd name="connsiteY142" fmla="*/ 52170 h 68362"/>
                  <a:gd name="connsiteX143" fmla="*/ 72009 w 139231"/>
                  <a:gd name="connsiteY143" fmla="*/ 51166 h 68362"/>
                  <a:gd name="connsiteX144" fmla="*/ 67593 w 139231"/>
                  <a:gd name="connsiteY144" fmla="*/ 53053 h 68362"/>
                  <a:gd name="connsiteX145" fmla="*/ 65995 w 139231"/>
                  <a:gd name="connsiteY145" fmla="*/ 53562 h 68362"/>
                  <a:gd name="connsiteX146" fmla="*/ 64596 w 139231"/>
                  <a:gd name="connsiteY146" fmla="*/ 53673 h 68362"/>
                  <a:gd name="connsiteX147" fmla="*/ 57589 w 139231"/>
                  <a:gd name="connsiteY147" fmla="*/ 56153 h 68362"/>
                  <a:gd name="connsiteX148" fmla="*/ 55457 w 139231"/>
                  <a:gd name="connsiteY148" fmla="*/ 57488 h 68362"/>
                  <a:gd name="connsiteX149" fmla="*/ 54574 w 139231"/>
                  <a:gd name="connsiteY149" fmla="*/ 57345 h 68362"/>
                  <a:gd name="connsiteX150" fmla="*/ 54783 w 139231"/>
                  <a:gd name="connsiteY150" fmla="*/ 56092 h 68362"/>
                  <a:gd name="connsiteX151" fmla="*/ 57699 w 139231"/>
                  <a:gd name="connsiteY151" fmla="*/ 49800 h 68362"/>
                  <a:gd name="connsiteX152" fmla="*/ 58221 w 139231"/>
                  <a:gd name="connsiteY152" fmla="*/ 44795 h 68362"/>
                  <a:gd name="connsiteX153" fmla="*/ 59288 w 139231"/>
                  <a:gd name="connsiteY153" fmla="*/ 44107 h 68362"/>
                  <a:gd name="connsiteX154" fmla="*/ 59597 w 139231"/>
                  <a:gd name="connsiteY154" fmla="*/ 43412 h 68362"/>
                  <a:gd name="connsiteX155" fmla="*/ 59141 w 139231"/>
                  <a:gd name="connsiteY155" fmla="*/ 41812 h 68362"/>
                  <a:gd name="connsiteX156" fmla="*/ 56114 w 139231"/>
                  <a:gd name="connsiteY156" fmla="*/ 40786 h 68362"/>
                  <a:gd name="connsiteX157" fmla="*/ 54892 w 139231"/>
                  <a:gd name="connsiteY157" fmla="*/ 40937 h 68362"/>
                  <a:gd name="connsiteX158" fmla="*/ 53792 w 139231"/>
                  <a:gd name="connsiteY158" fmla="*/ 42657 h 68362"/>
                  <a:gd name="connsiteX159" fmla="*/ 52652 w 139231"/>
                  <a:gd name="connsiteY159" fmla="*/ 43896 h 68362"/>
                  <a:gd name="connsiteX160" fmla="*/ 49981 w 139231"/>
                  <a:gd name="connsiteY160" fmla="*/ 44651 h 68362"/>
                  <a:gd name="connsiteX161" fmla="*/ 47684 w 139231"/>
                  <a:gd name="connsiteY161" fmla="*/ 43346 h 68362"/>
                  <a:gd name="connsiteX162" fmla="*/ 42302 w 139231"/>
                  <a:gd name="connsiteY162" fmla="*/ 41600 h 68362"/>
                  <a:gd name="connsiteX163" fmla="*/ 40942 w 139231"/>
                  <a:gd name="connsiteY163" fmla="*/ 39272 h 68362"/>
                  <a:gd name="connsiteX164" fmla="*/ 40620 w 139231"/>
                  <a:gd name="connsiteY164" fmla="*/ 36928 h 68362"/>
                  <a:gd name="connsiteX165" fmla="*/ 37774 w 139231"/>
                  <a:gd name="connsiteY165" fmla="*/ 34658 h 68362"/>
                  <a:gd name="connsiteX166" fmla="*/ 36591 w 139231"/>
                  <a:gd name="connsiteY166" fmla="*/ 31982 h 68362"/>
                  <a:gd name="connsiteX167" fmla="*/ 37064 w 139231"/>
                  <a:gd name="connsiteY167" fmla="*/ 30112 h 68362"/>
                  <a:gd name="connsiteX168" fmla="*/ 39646 w 139231"/>
                  <a:gd name="connsiteY168" fmla="*/ 28884 h 68362"/>
                  <a:gd name="connsiteX169" fmla="*/ 40383 w 139231"/>
                  <a:gd name="connsiteY169" fmla="*/ 27813 h 68362"/>
                  <a:gd name="connsiteX170" fmla="*/ 37128 w 139231"/>
                  <a:gd name="connsiteY170" fmla="*/ 27983 h 68362"/>
                  <a:gd name="connsiteX171" fmla="*/ 36466 w 139231"/>
                  <a:gd name="connsiteY171" fmla="*/ 27726 h 68362"/>
                  <a:gd name="connsiteX172" fmla="*/ 36323 w 139231"/>
                  <a:gd name="connsiteY172" fmla="*/ 26763 h 68362"/>
                  <a:gd name="connsiteX173" fmla="*/ 34883 w 139231"/>
                  <a:gd name="connsiteY173" fmla="*/ 23478 h 68362"/>
                  <a:gd name="connsiteX174" fmla="*/ 36157 w 139231"/>
                  <a:gd name="connsiteY174" fmla="*/ 22183 h 68362"/>
                  <a:gd name="connsiteX175" fmla="*/ 36718 w 139231"/>
                  <a:gd name="connsiteY175" fmla="*/ 20923 h 68362"/>
                  <a:gd name="connsiteX176" fmla="*/ 35673 w 139231"/>
                  <a:gd name="connsiteY176" fmla="*/ 19850 h 68362"/>
                  <a:gd name="connsiteX177" fmla="*/ 35947 w 139231"/>
                  <a:gd name="connsiteY177" fmla="*/ 18629 h 68362"/>
                  <a:gd name="connsiteX178" fmla="*/ 36761 w 139231"/>
                  <a:gd name="connsiteY178" fmla="*/ 17394 h 68362"/>
                  <a:gd name="connsiteX179" fmla="*/ 36262 w 139231"/>
                  <a:gd name="connsiteY179" fmla="*/ 14521 h 68362"/>
                  <a:gd name="connsiteX180" fmla="*/ 39493 w 139231"/>
                  <a:gd name="connsiteY180" fmla="*/ 12997 h 68362"/>
                  <a:gd name="connsiteX181" fmla="*/ 42633 w 139231"/>
                  <a:gd name="connsiteY181" fmla="*/ 11924 h 68362"/>
                  <a:gd name="connsiteX182" fmla="*/ 49286 w 139231"/>
                  <a:gd name="connsiteY182" fmla="*/ 11377 h 68362"/>
                  <a:gd name="connsiteX183" fmla="*/ 48627 w 139231"/>
                  <a:gd name="connsiteY183" fmla="*/ 8747 h 68362"/>
                  <a:gd name="connsiteX184" fmla="*/ 51320 w 139231"/>
                  <a:gd name="connsiteY184" fmla="*/ 8628 h 68362"/>
                  <a:gd name="connsiteX185" fmla="*/ 55852 w 139231"/>
                  <a:gd name="connsiteY185" fmla="*/ 5460 h 68362"/>
                  <a:gd name="connsiteX186" fmla="*/ 60346 w 139231"/>
                  <a:gd name="connsiteY186" fmla="*/ 6017 h 68362"/>
                  <a:gd name="connsiteX187" fmla="*/ 66846 w 139231"/>
                  <a:gd name="connsiteY187" fmla="*/ 3840 h 68362"/>
                  <a:gd name="connsiteX188" fmla="*/ 79366 w 139231"/>
                  <a:gd name="connsiteY188" fmla="*/ 3870 h 68362"/>
                  <a:gd name="connsiteX189" fmla="*/ 81072 w 139231"/>
                  <a:gd name="connsiteY189" fmla="*/ 2612 h 68362"/>
                  <a:gd name="connsiteX190" fmla="*/ 80774 w 139231"/>
                  <a:gd name="connsiteY190" fmla="*/ 1348 h 68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</a:cxnLst>
                <a:rect l="l" t="t" r="r" b="b"/>
                <a:pathLst>
                  <a:path w="139231" h="68362">
                    <a:moveTo>
                      <a:pt x="15312" y="32990"/>
                    </a:moveTo>
                    <a:lnTo>
                      <a:pt x="16869" y="33189"/>
                    </a:lnTo>
                    <a:lnTo>
                      <a:pt x="18439" y="33973"/>
                    </a:lnTo>
                    <a:lnTo>
                      <a:pt x="19886" y="33725"/>
                    </a:lnTo>
                    <a:lnTo>
                      <a:pt x="21352" y="33180"/>
                    </a:lnTo>
                    <a:lnTo>
                      <a:pt x="24539" y="33692"/>
                    </a:lnTo>
                    <a:lnTo>
                      <a:pt x="31805" y="37642"/>
                    </a:lnTo>
                    <a:lnTo>
                      <a:pt x="32477" y="38697"/>
                    </a:lnTo>
                    <a:lnTo>
                      <a:pt x="28141" y="39176"/>
                    </a:lnTo>
                    <a:lnTo>
                      <a:pt x="27156" y="40385"/>
                    </a:lnTo>
                    <a:lnTo>
                      <a:pt x="26114" y="41230"/>
                    </a:lnTo>
                    <a:lnTo>
                      <a:pt x="24885" y="41502"/>
                    </a:lnTo>
                    <a:lnTo>
                      <a:pt x="22790" y="43197"/>
                    </a:lnTo>
                    <a:lnTo>
                      <a:pt x="19957" y="44819"/>
                    </a:lnTo>
                    <a:lnTo>
                      <a:pt x="19365" y="45792"/>
                    </a:lnTo>
                    <a:lnTo>
                      <a:pt x="14239" y="45613"/>
                    </a:lnTo>
                    <a:lnTo>
                      <a:pt x="11436" y="46227"/>
                    </a:lnTo>
                    <a:lnTo>
                      <a:pt x="9173" y="48040"/>
                    </a:lnTo>
                    <a:lnTo>
                      <a:pt x="8244" y="51538"/>
                    </a:lnTo>
                    <a:lnTo>
                      <a:pt x="6588" y="54265"/>
                    </a:lnTo>
                    <a:lnTo>
                      <a:pt x="4904" y="55250"/>
                    </a:lnTo>
                    <a:lnTo>
                      <a:pt x="3148" y="55400"/>
                    </a:lnTo>
                    <a:lnTo>
                      <a:pt x="2732" y="54377"/>
                    </a:lnTo>
                    <a:lnTo>
                      <a:pt x="2898" y="53355"/>
                    </a:lnTo>
                    <a:lnTo>
                      <a:pt x="6599" y="49499"/>
                    </a:lnTo>
                    <a:lnTo>
                      <a:pt x="7368" y="48246"/>
                    </a:lnTo>
                    <a:lnTo>
                      <a:pt x="5526" y="47689"/>
                    </a:lnTo>
                    <a:lnTo>
                      <a:pt x="3982" y="46348"/>
                    </a:lnTo>
                    <a:lnTo>
                      <a:pt x="611" y="44772"/>
                    </a:lnTo>
                    <a:lnTo>
                      <a:pt x="0" y="43506"/>
                    </a:lnTo>
                    <a:lnTo>
                      <a:pt x="808" y="43412"/>
                    </a:lnTo>
                    <a:lnTo>
                      <a:pt x="1546" y="43049"/>
                    </a:lnTo>
                    <a:lnTo>
                      <a:pt x="2444" y="41987"/>
                    </a:lnTo>
                    <a:lnTo>
                      <a:pt x="2865" y="40767"/>
                    </a:lnTo>
                    <a:lnTo>
                      <a:pt x="173" y="37200"/>
                    </a:lnTo>
                    <a:lnTo>
                      <a:pt x="1546" y="36648"/>
                    </a:lnTo>
                    <a:lnTo>
                      <a:pt x="3258" y="36778"/>
                    </a:lnTo>
                    <a:lnTo>
                      <a:pt x="5016" y="37815"/>
                    </a:lnTo>
                    <a:lnTo>
                      <a:pt x="6945" y="36598"/>
                    </a:lnTo>
                    <a:lnTo>
                      <a:pt x="7763" y="36418"/>
                    </a:lnTo>
                    <a:lnTo>
                      <a:pt x="9113" y="36852"/>
                    </a:lnTo>
                    <a:lnTo>
                      <a:pt x="10473" y="34496"/>
                    </a:lnTo>
                    <a:lnTo>
                      <a:pt x="13708" y="33718"/>
                    </a:lnTo>
                    <a:close/>
                    <a:moveTo>
                      <a:pt x="28987" y="31348"/>
                    </a:moveTo>
                    <a:lnTo>
                      <a:pt x="32689" y="32304"/>
                    </a:lnTo>
                    <a:lnTo>
                      <a:pt x="33211" y="34668"/>
                    </a:lnTo>
                    <a:lnTo>
                      <a:pt x="32926" y="35482"/>
                    </a:lnTo>
                    <a:lnTo>
                      <a:pt x="31086" y="35817"/>
                    </a:lnTo>
                    <a:lnTo>
                      <a:pt x="26733" y="33518"/>
                    </a:lnTo>
                    <a:lnTo>
                      <a:pt x="27742" y="31960"/>
                    </a:lnTo>
                    <a:close/>
                    <a:moveTo>
                      <a:pt x="17577" y="18061"/>
                    </a:moveTo>
                    <a:lnTo>
                      <a:pt x="18746" y="18475"/>
                    </a:lnTo>
                    <a:lnTo>
                      <a:pt x="18966" y="19857"/>
                    </a:lnTo>
                    <a:lnTo>
                      <a:pt x="19260" y="20406"/>
                    </a:lnTo>
                    <a:lnTo>
                      <a:pt x="23337" y="21184"/>
                    </a:lnTo>
                    <a:lnTo>
                      <a:pt x="24924" y="23505"/>
                    </a:lnTo>
                    <a:lnTo>
                      <a:pt x="25522" y="26295"/>
                    </a:lnTo>
                    <a:lnTo>
                      <a:pt x="23643" y="26524"/>
                    </a:lnTo>
                    <a:lnTo>
                      <a:pt x="21829" y="28128"/>
                    </a:lnTo>
                    <a:lnTo>
                      <a:pt x="20749" y="27487"/>
                    </a:lnTo>
                    <a:lnTo>
                      <a:pt x="20184" y="26718"/>
                    </a:lnTo>
                    <a:lnTo>
                      <a:pt x="17843" y="30342"/>
                    </a:lnTo>
                    <a:lnTo>
                      <a:pt x="15206" y="30963"/>
                    </a:lnTo>
                    <a:lnTo>
                      <a:pt x="13669" y="30248"/>
                    </a:lnTo>
                    <a:lnTo>
                      <a:pt x="13807" y="28895"/>
                    </a:lnTo>
                    <a:lnTo>
                      <a:pt x="12306" y="25339"/>
                    </a:lnTo>
                    <a:lnTo>
                      <a:pt x="10015" y="24297"/>
                    </a:lnTo>
                    <a:lnTo>
                      <a:pt x="6798" y="24199"/>
                    </a:lnTo>
                    <a:lnTo>
                      <a:pt x="4461" y="22732"/>
                    </a:lnTo>
                    <a:lnTo>
                      <a:pt x="13446" y="21733"/>
                    </a:lnTo>
                    <a:lnTo>
                      <a:pt x="14375" y="20036"/>
                    </a:lnTo>
                    <a:lnTo>
                      <a:pt x="16202" y="18254"/>
                    </a:lnTo>
                    <a:close/>
                    <a:moveTo>
                      <a:pt x="80815" y="0"/>
                    </a:moveTo>
                    <a:lnTo>
                      <a:pt x="83169" y="377"/>
                    </a:lnTo>
                    <a:lnTo>
                      <a:pt x="87105" y="143"/>
                    </a:lnTo>
                    <a:lnTo>
                      <a:pt x="101856" y="2795"/>
                    </a:lnTo>
                    <a:lnTo>
                      <a:pt x="105486" y="2795"/>
                    </a:lnTo>
                    <a:lnTo>
                      <a:pt x="110506" y="5489"/>
                    </a:lnTo>
                    <a:lnTo>
                      <a:pt x="113219" y="6182"/>
                    </a:lnTo>
                    <a:lnTo>
                      <a:pt x="121204" y="6187"/>
                    </a:lnTo>
                    <a:lnTo>
                      <a:pt x="133515" y="7375"/>
                    </a:lnTo>
                    <a:lnTo>
                      <a:pt x="135931" y="5553"/>
                    </a:lnTo>
                    <a:lnTo>
                      <a:pt x="136166" y="5079"/>
                    </a:lnTo>
                    <a:lnTo>
                      <a:pt x="137345" y="6099"/>
                    </a:lnTo>
                    <a:lnTo>
                      <a:pt x="138831" y="7740"/>
                    </a:lnTo>
                    <a:lnTo>
                      <a:pt x="139231" y="8678"/>
                    </a:lnTo>
                    <a:lnTo>
                      <a:pt x="138728" y="9229"/>
                    </a:lnTo>
                    <a:lnTo>
                      <a:pt x="137246" y="9697"/>
                    </a:lnTo>
                    <a:lnTo>
                      <a:pt x="136909" y="10202"/>
                    </a:lnTo>
                    <a:lnTo>
                      <a:pt x="136253" y="11056"/>
                    </a:lnTo>
                    <a:lnTo>
                      <a:pt x="134523" y="11210"/>
                    </a:lnTo>
                    <a:lnTo>
                      <a:pt x="133627" y="11843"/>
                    </a:lnTo>
                    <a:lnTo>
                      <a:pt x="132562" y="14618"/>
                    </a:lnTo>
                    <a:lnTo>
                      <a:pt x="130530" y="19205"/>
                    </a:lnTo>
                    <a:lnTo>
                      <a:pt x="127527" y="22688"/>
                    </a:lnTo>
                    <a:lnTo>
                      <a:pt x="125123" y="24595"/>
                    </a:lnTo>
                    <a:lnTo>
                      <a:pt x="124048" y="26056"/>
                    </a:lnTo>
                    <a:lnTo>
                      <a:pt x="123378" y="27810"/>
                    </a:lnTo>
                    <a:lnTo>
                      <a:pt x="123221" y="29568"/>
                    </a:lnTo>
                    <a:lnTo>
                      <a:pt x="125527" y="39200"/>
                    </a:lnTo>
                    <a:lnTo>
                      <a:pt x="125499" y="40934"/>
                    </a:lnTo>
                    <a:lnTo>
                      <a:pt x="124957" y="42713"/>
                    </a:lnTo>
                    <a:lnTo>
                      <a:pt x="124564" y="44524"/>
                    </a:lnTo>
                    <a:lnTo>
                      <a:pt x="124888" y="46092"/>
                    </a:lnTo>
                    <a:lnTo>
                      <a:pt x="126406" y="48768"/>
                    </a:lnTo>
                    <a:lnTo>
                      <a:pt x="128021" y="52754"/>
                    </a:lnTo>
                    <a:lnTo>
                      <a:pt x="128669" y="55296"/>
                    </a:lnTo>
                    <a:lnTo>
                      <a:pt x="129742" y="56229"/>
                    </a:lnTo>
                    <a:lnTo>
                      <a:pt x="130776" y="56912"/>
                    </a:lnTo>
                    <a:lnTo>
                      <a:pt x="130993" y="57342"/>
                    </a:lnTo>
                    <a:lnTo>
                      <a:pt x="130958" y="57789"/>
                    </a:lnTo>
                    <a:lnTo>
                      <a:pt x="130425" y="58292"/>
                    </a:lnTo>
                    <a:lnTo>
                      <a:pt x="125765" y="59622"/>
                    </a:lnTo>
                    <a:lnTo>
                      <a:pt x="125160" y="60748"/>
                    </a:lnTo>
                    <a:lnTo>
                      <a:pt x="124657" y="62002"/>
                    </a:lnTo>
                    <a:lnTo>
                      <a:pt x="122623" y="63858"/>
                    </a:lnTo>
                    <a:lnTo>
                      <a:pt x="121999" y="65588"/>
                    </a:lnTo>
                    <a:lnTo>
                      <a:pt x="121612" y="67573"/>
                    </a:lnTo>
                    <a:lnTo>
                      <a:pt x="121560" y="68279"/>
                    </a:lnTo>
                    <a:lnTo>
                      <a:pt x="120999" y="68362"/>
                    </a:lnTo>
                    <a:lnTo>
                      <a:pt x="117915" y="67954"/>
                    </a:lnTo>
                    <a:lnTo>
                      <a:pt x="114517" y="66666"/>
                    </a:lnTo>
                    <a:lnTo>
                      <a:pt x="113026" y="65698"/>
                    </a:lnTo>
                    <a:lnTo>
                      <a:pt x="111563" y="65708"/>
                    </a:lnTo>
                    <a:lnTo>
                      <a:pt x="109792" y="66348"/>
                    </a:lnTo>
                    <a:lnTo>
                      <a:pt x="103443" y="68187"/>
                    </a:lnTo>
                    <a:lnTo>
                      <a:pt x="101884" y="67758"/>
                    </a:lnTo>
                    <a:lnTo>
                      <a:pt x="98256" y="65954"/>
                    </a:lnTo>
                    <a:lnTo>
                      <a:pt x="96421" y="63988"/>
                    </a:lnTo>
                    <a:lnTo>
                      <a:pt x="92337" y="60066"/>
                    </a:lnTo>
                    <a:lnTo>
                      <a:pt x="92003" y="59132"/>
                    </a:lnTo>
                    <a:lnTo>
                      <a:pt x="91469" y="58383"/>
                    </a:lnTo>
                    <a:lnTo>
                      <a:pt x="87105" y="57411"/>
                    </a:lnTo>
                    <a:lnTo>
                      <a:pt x="85494" y="55962"/>
                    </a:lnTo>
                    <a:lnTo>
                      <a:pt x="84151" y="55759"/>
                    </a:lnTo>
                    <a:lnTo>
                      <a:pt x="82186" y="55035"/>
                    </a:lnTo>
                    <a:lnTo>
                      <a:pt x="77073" y="51935"/>
                    </a:lnTo>
                    <a:lnTo>
                      <a:pt x="75803" y="51645"/>
                    </a:lnTo>
                    <a:lnTo>
                      <a:pt x="75494" y="52167"/>
                    </a:lnTo>
                    <a:lnTo>
                      <a:pt x="75583" y="52900"/>
                    </a:lnTo>
                    <a:lnTo>
                      <a:pt x="75265" y="53324"/>
                    </a:lnTo>
                    <a:lnTo>
                      <a:pt x="74611" y="53310"/>
                    </a:lnTo>
                    <a:lnTo>
                      <a:pt x="73428" y="52170"/>
                    </a:lnTo>
                    <a:lnTo>
                      <a:pt x="72009" y="51166"/>
                    </a:lnTo>
                    <a:lnTo>
                      <a:pt x="67593" y="53053"/>
                    </a:lnTo>
                    <a:lnTo>
                      <a:pt x="65995" y="53562"/>
                    </a:lnTo>
                    <a:lnTo>
                      <a:pt x="64596" y="53673"/>
                    </a:lnTo>
                    <a:lnTo>
                      <a:pt x="57589" y="56153"/>
                    </a:lnTo>
                    <a:lnTo>
                      <a:pt x="55457" y="57488"/>
                    </a:lnTo>
                    <a:lnTo>
                      <a:pt x="54574" y="57345"/>
                    </a:lnTo>
                    <a:lnTo>
                      <a:pt x="54783" y="56092"/>
                    </a:lnTo>
                    <a:lnTo>
                      <a:pt x="57699" y="49800"/>
                    </a:lnTo>
                    <a:lnTo>
                      <a:pt x="58221" y="44795"/>
                    </a:lnTo>
                    <a:lnTo>
                      <a:pt x="59288" y="44107"/>
                    </a:lnTo>
                    <a:lnTo>
                      <a:pt x="59597" y="43412"/>
                    </a:lnTo>
                    <a:lnTo>
                      <a:pt x="59141" y="41812"/>
                    </a:lnTo>
                    <a:lnTo>
                      <a:pt x="56114" y="40786"/>
                    </a:lnTo>
                    <a:lnTo>
                      <a:pt x="54892" y="40937"/>
                    </a:lnTo>
                    <a:lnTo>
                      <a:pt x="53792" y="42657"/>
                    </a:lnTo>
                    <a:lnTo>
                      <a:pt x="52652" y="43896"/>
                    </a:lnTo>
                    <a:lnTo>
                      <a:pt x="49981" y="44651"/>
                    </a:lnTo>
                    <a:lnTo>
                      <a:pt x="47684" y="43346"/>
                    </a:lnTo>
                    <a:lnTo>
                      <a:pt x="42302" y="41600"/>
                    </a:lnTo>
                    <a:lnTo>
                      <a:pt x="40942" y="39272"/>
                    </a:lnTo>
                    <a:lnTo>
                      <a:pt x="40620" y="36928"/>
                    </a:lnTo>
                    <a:lnTo>
                      <a:pt x="37774" y="34658"/>
                    </a:lnTo>
                    <a:lnTo>
                      <a:pt x="36591" y="31982"/>
                    </a:lnTo>
                    <a:lnTo>
                      <a:pt x="37064" y="30112"/>
                    </a:lnTo>
                    <a:lnTo>
                      <a:pt x="39646" y="28884"/>
                    </a:lnTo>
                    <a:lnTo>
                      <a:pt x="40383" y="27813"/>
                    </a:lnTo>
                    <a:lnTo>
                      <a:pt x="37128" y="27983"/>
                    </a:lnTo>
                    <a:lnTo>
                      <a:pt x="36466" y="27726"/>
                    </a:lnTo>
                    <a:lnTo>
                      <a:pt x="36323" y="26763"/>
                    </a:lnTo>
                    <a:lnTo>
                      <a:pt x="34883" y="23478"/>
                    </a:lnTo>
                    <a:lnTo>
                      <a:pt x="36157" y="22183"/>
                    </a:lnTo>
                    <a:lnTo>
                      <a:pt x="36718" y="20923"/>
                    </a:lnTo>
                    <a:lnTo>
                      <a:pt x="35673" y="19850"/>
                    </a:lnTo>
                    <a:lnTo>
                      <a:pt x="35947" y="18629"/>
                    </a:lnTo>
                    <a:lnTo>
                      <a:pt x="36761" y="17394"/>
                    </a:lnTo>
                    <a:lnTo>
                      <a:pt x="36262" y="14521"/>
                    </a:lnTo>
                    <a:lnTo>
                      <a:pt x="39493" y="12997"/>
                    </a:lnTo>
                    <a:lnTo>
                      <a:pt x="42633" y="11924"/>
                    </a:lnTo>
                    <a:lnTo>
                      <a:pt x="49286" y="11377"/>
                    </a:lnTo>
                    <a:lnTo>
                      <a:pt x="48627" y="8747"/>
                    </a:lnTo>
                    <a:lnTo>
                      <a:pt x="51320" y="8628"/>
                    </a:lnTo>
                    <a:lnTo>
                      <a:pt x="55852" y="5460"/>
                    </a:lnTo>
                    <a:lnTo>
                      <a:pt x="60346" y="6017"/>
                    </a:lnTo>
                    <a:lnTo>
                      <a:pt x="66846" y="3840"/>
                    </a:lnTo>
                    <a:lnTo>
                      <a:pt x="79366" y="3870"/>
                    </a:lnTo>
                    <a:lnTo>
                      <a:pt x="81072" y="2612"/>
                    </a:lnTo>
                    <a:lnTo>
                      <a:pt x="80774" y="1348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19" name="ee4p_FI_1_15912">
                <a:extLst>
                  <a:ext uri="{FF2B5EF4-FFF2-40B4-BE49-F238E27FC236}">
                    <a16:creationId xmlns:a16="http://schemas.microsoft.com/office/drawing/2014/main" id="{F9DD2A4A-13F0-B92D-068E-868796583816}"/>
                  </a:ext>
                </a:extLst>
              </p:cNvPr>
              <p:cNvSpPr>
                <a:spLocks noChangeAspect="1"/>
              </p:cNvSpPr>
              <p:nvPr>
                <p:custDataLst>
                  <p:tags r:id="rId250"/>
                </p:custDataLst>
              </p:nvPr>
            </p:nvSpPr>
            <p:spPr>
              <a:xfrm>
                <a:off x="5482697" y="1871234"/>
                <a:ext cx="1053423" cy="1463011"/>
              </a:xfrm>
              <a:custGeom>
                <a:avLst/>
                <a:gdLst>
                  <a:gd name="connsiteX0" fmla="*/ 21473 w 265732"/>
                  <a:gd name="connsiteY0" fmla="*/ 360506 h 369053"/>
                  <a:gd name="connsiteX1" fmla="*/ 23220 w 265732"/>
                  <a:gd name="connsiteY1" fmla="*/ 360680 h 369053"/>
                  <a:gd name="connsiteX2" fmla="*/ 24153 w 265732"/>
                  <a:gd name="connsiteY2" fmla="*/ 361638 h 369053"/>
                  <a:gd name="connsiteX3" fmla="*/ 23978 w 265732"/>
                  <a:gd name="connsiteY3" fmla="*/ 362422 h 369053"/>
                  <a:gd name="connsiteX4" fmla="*/ 22173 w 265732"/>
                  <a:gd name="connsiteY4" fmla="*/ 362597 h 369053"/>
                  <a:gd name="connsiteX5" fmla="*/ 21415 w 265732"/>
                  <a:gd name="connsiteY5" fmla="*/ 361899 h 369053"/>
                  <a:gd name="connsiteX6" fmla="*/ 19728 w 265732"/>
                  <a:gd name="connsiteY6" fmla="*/ 361986 h 369053"/>
                  <a:gd name="connsiteX7" fmla="*/ 19435 w 265732"/>
                  <a:gd name="connsiteY7" fmla="*/ 361638 h 369053"/>
                  <a:gd name="connsiteX8" fmla="*/ 20134 w 265732"/>
                  <a:gd name="connsiteY8" fmla="*/ 360942 h 369053"/>
                  <a:gd name="connsiteX9" fmla="*/ 45306 w 265732"/>
                  <a:gd name="connsiteY9" fmla="*/ 357280 h 369053"/>
                  <a:gd name="connsiteX10" fmla="*/ 46768 w 265732"/>
                  <a:gd name="connsiteY10" fmla="*/ 357390 h 369053"/>
                  <a:gd name="connsiteX11" fmla="*/ 47079 w 265732"/>
                  <a:gd name="connsiteY11" fmla="*/ 358322 h 369053"/>
                  <a:gd name="connsiteX12" fmla="*/ 46641 w 265732"/>
                  <a:gd name="connsiteY12" fmla="*/ 359417 h 369053"/>
                  <a:gd name="connsiteX13" fmla="*/ 44702 w 265732"/>
                  <a:gd name="connsiteY13" fmla="*/ 359744 h 369053"/>
                  <a:gd name="connsiteX14" fmla="*/ 43494 w 265732"/>
                  <a:gd name="connsiteY14" fmla="*/ 358787 h 369053"/>
                  <a:gd name="connsiteX15" fmla="*/ 43953 w 265732"/>
                  <a:gd name="connsiteY15" fmla="*/ 358075 h 369053"/>
                  <a:gd name="connsiteX16" fmla="*/ 51860 w 265732"/>
                  <a:gd name="connsiteY16" fmla="*/ 356303 h 369053"/>
                  <a:gd name="connsiteX17" fmla="*/ 51171 w 265732"/>
                  <a:gd name="connsiteY17" fmla="*/ 358333 h 369053"/>
                  <a:gd name="connsiteX18" fmla="*/ 48958 w 265732"/>
                  <a:gd name="connsiteY18" fmla="*/ 359471 h 369053"/>
                  <a:gd name="connsiteX19" fmla="*/ 48115 w 265732"/>
                  <a:gd name="connsiteY19" fmla="*/ 359200 h 369053"/>
                  <a:gd name="connsiteX20" fmla="*/ 48332 w 265732"/>
                  <a:gd name="connsiteY20" fmla="*/ 357280 h 369053"/>
                  <a:gd name="connsiteX21" fmla="*/ 49647 w 265732"/>
                  <a:gd name="connsiteY21" fmla="*/ 356401 h 369053"/>
                  <a:gd name="connsiteX22" fmla="*/ 2428 w 265732"/>
                  <a:gd name="connsiteY22" fmla="*/ 354834 h 369053"/>
                  <a:gd name="connsiteX23" fmla="*/ 3168 w 265732"/>
                  <a:gd name="connsiteY23" fmla="*/ 356788 h 369053"/>
                  <a:gd name="connsiteX24" fmla="*/ 3283 w 265732"/>
                  <a:gd name="connsiteY24" fmla="*/ 357531 h 369053"/>
                  <a:gd name="connsiteX25" fmla="*/ 2436 w 265732"/>
                  <a:gd name="connsiteY25" fmla="*/ 357345 h 369053"/>
                  <a:gd name="connsiteX26" fmla="*/ 1786 w 265732"/>
                  <a:gd name="connsiteY26" fmla="*/ 357599 h 369053"/>
                  <a:gd name="connsiteX27" fmla="*/ 1345 w 265732"/>
                  <a:gd name="connsiteY27" fmla="*/ 358514 h 369053"/>
                  <a:gd name="connsiteX28" fmla="*/ 387 w 265732"/>
                  <a:gd name="connsiteY28" fmla="*/ 358186 h 369053"/>
                  <a:gd name="connsiteX29" fmla="*/ 0 w 265732"/>
                  <a:gd name="connsiteY29" fmla="*/ 356874 h 369053"/>
                  <a:gd name="connsiteX30" fmla="*/ 715 w 265732"/>
                  <a:gd name="connsiteY30" fmla="*/ 354909 h 369053"/>
                  <a:gd name="connsiteX31" fmla="*/ 58731 w 265732"/>
                  <a:gd name="connsiteY31" fmla="*/ 350695 h 369053"/>
                  <a:gd name="connsiteX32" fmla="*/ 61532 w 265732"/>
                  <a:gd name="connsiteY32" fmla="*/ 351466 h 369053"/>
                  <a:gd name="connsiteX33" fmla="*/ 62709 w 265732"/>
                  <a:gd name="connsiteY33" fmla="*/ 351190 h 369053"/>
                  <a:gd name="connsiteX34" fmla="*/ 64047 w 265732"/>
                  <a:gd name="connsiteY34" fmla="*/ 352933 h 369053"/>
                  <a:gd name="connsiteX35" fmla="*/ 61778 w 265732"/>
                  <a:gd name="connsiteY35" fmla="*/ 354042 h 369053"/>
                  <a:gd name="connsiteX36" fmla="*/ 61620 w 265732"/>
                  <a:gd name="connsiteY36" fmla="*/ 355416 h 369053"/>
                  <a:gd name="connsiteX37" fmla="*/ 62517 w 265732"/>
                  <a:gd name="connsiteY37" fmla="*/ 356269 h 369053"/>
                  <a:gd name="connsiteX38" fmla="*/ 62832 w 265732"/>
                  <a:gd name="connsiteY38" fmla="*/ 357503 h 369053"/>
                  <a:gd name="connsiteX39" fmla="*/ 60571 w 265732"/>
                  <a:gd name="connsiteY39" fmla="*/ 357502 h 369053"/>
                  <a:gd name="connsiteX40" fmla="*/ 59489 w 265732"/>
                  <a:gd name="connsiteY40" fmla="*/ 356463 h 369053"/>
                  <a:gd name="connsiteX41" fmla="*/ 59018 w 265732"/>
                  <a:gd name="connsiteY41" fmla="*/ 355144 h 369053"/>
                  <a:gd name="connsiteX42" fmla="*/ 57967 w 265732"/>
                  <a:gd name="connsiteY42" fmla="*/ 354210 h 369053"/>
                  <a:gd name="connsiteX43" fmla="*/ 56565 w 265732"/>
                  <a:gd name="connsiteY43" fmla="*/ 353499 h 369053"/>
                  <a:gd name="connsiteX44" fmla="*/ 57252 w 265732"/>
                  <a:gd name="connsiteY44" fmla="*/ 352551 h 369053"/>
                  <a:gd name="connsiteX45" fmla="*/ 57643 w 265732"/>
                  <a:gd name="connsiteY45" fmla="*/ 351190 h 369053"/>
                  <a:gd name="connsiteX46" fmla="*/ 8165 w 265732"/>
                  <a:gd name="connsiteY46" fmla="*/ 349529 h 369053"/>
                  <a:gd name="connsiteX47" fmla="*/ 9409 w 265732"/>
                  <a:gd name="connsiteY47" fmla="*/ 351135 h 369053"/>
                  <a:gd name="connsiteX48" fmla="*/ 10404 w 265732"/>
                  <a:gd name="connsiteY48" fmla="*/ 351345 h 369053"/>
                  <a:gd name="connsiteX49" fmla="*/ 11082 w 265732"/>
                  <a:gd name="connsiteY49" fmla="*/ 351355 h 369053"/>
                  <a:gd name="connsiteX50" fmla="*/ 11384 w 265732"/>
                  <a:gd name="connsiteY50" fmla="*/ 351075 h 369053"/>
                  <a:gd name="connsiteX51" fmla="*/ 12568 w 265732"/>
                  <a:gd name="connsiteY51" fmla="*/ 351271 h 369053"/>
                  <a:gd name="connsiteX52" fmla="*/ 14347 w 265732"/>
                  <a:gd name="connsiteY52" fmla="*/ 352557 h 369053"/>
                  <a:gd name="connsiteX53" fmla="*/ 14705 w 265732"/>
                  <a:gd name="connsiteY53" fmla="*/ 353253 h 369053"/>
                  <a:gd name="connsiteX54" fmla="*/ 15932 w 265732"/>
                  <a:gd name="connsiteY54" fmla="*/ 353609 h 369053"/>
                  <a:gd name="connsiteX55" fmla="*/ 16360 w 265732"/>
                  <a:gd name="connsiteY55" fmla="*/ 354330 h 369053"/>
                  <a:gd name="connsiteX56" fmla="*/ 14941 w 265732"/>
                  <a:gd name="connsiteY56" fmla="*/ 356576 h 369053"/>
                  <a:gd name="connsiteX57" fmla="*/ 14064 w 265732"/>
                  <a:gd name="connsiteY57" fmla="*/ 356618 h 369053"/>
                  <a:gd name="connsiteX58" fmla="*/ 13410 w 265732"/>
                  <a:gd name="connsiteY58" fmla="*/ 356334 h 369053"/>
                  <a:gd name="connsiteX59" fmla="*/ 12255 w 265732"/>
                  <a:gd name="connsiteY59" fmla="*/ 356579 h 369053"/>
                  <a:gd name="connsiteX60" fmla="*/ 11577 w 265732"/>
                  <a:gd name="connsiteY60" fmla="*/ 357004 h 369053"/>
                  <a:gd name="connsiteX61" fmla="*/ 11350 w 265732"/>
                  <a:gd name="connsiteY61" fmla="*/ 357937 h 369053"/>
                  <a:gd name="connsiteX62" fmla="*/ 11387 w 265732"/>
                  <a:gd name="connsiteY62" fmla="*/ 359888 h 369053"/>
                  <a:gd name="connsiteX63" fmla="*/ 6208 w 265732"/>
                  <a:gd name="connsiteY63" fmla="*/ 360279 h 369053"/>
                  <a:gd name="connsiteX64" fmla="*/ 5018 w 265732"/>
                  <a:gd name="connsiteY64" fmla="*/ 359709 h 369053"/>
                  <a:gd name="connsiteX65" fmla="*/ 3388 w 265732"/>
                  <a:gd name="connsiteY65" fmla="*/ 355268 h 369053"/>
                  <a:gd name="connsiteX66" fmla="*/ 3712 w 265732"/>
                  <a:gd name="connsiteY66" fmla="*/ 354120 h 369053"/>
                  <a:gd name="connsiteX67" fmla="*/ 4809 w 265732"/>
                  <a:gd name="connsiteY67" fmla="*/ 353630 h 369053"/>
                  <a:gd name="connsiteX68" fmla="*/ 5749 w 265732"/>
                  <a:gd name="connsiteY68" fmla="*/ 353525 h 369053"/>
                  <a:gd name="connsiteX69" fmla="*/ 5887 w 265732"/>
                  <a:gd name="connsiteY69" fmla="*/ 355919 h 369053"/>
                  <a:gd name="connsiteX70" fmla="*/ 7266 w 265732"/>
                  <a:gd name="connsiteY70" fmla="*/ 355681 h 369053"/>
                  <a:gd name="connsiteX71" fmla="*/ 7699 w 265732"/>
                  <a:gd name="connsiteY71" fmla="*/ 354103 h 369053"/>
                  <a:gd name="connsiteX72" fmla="*/ 7795 w 265732"/>
                  <a:gd name="connsiteY72" fmla="*/ 352992 h 369053"/>
                  <a:gd name="connsiteX73" fmla="*/ 7422 w 265732"/>
                  <a:gd name="connsiteY73" fmla="*/ 352431 h 369053"/>
                  <a:gd name="connsiteX74" fmla="*/ 6485 w 265732"/>
                  <a:gd name="connsiteY74" fmla="*/ 351996 h 369053"/>
                  <a:gd name="connsiteX75" fmla="*/ 5943 w 265732"/>
                  <a:gd name="connsiteY75" fmla="*/ 351250 h 369053"/>
                  <a:gd name="connsiteX76" fmla="*/ 6722 w 265732"/>
                  <a:gd name="connsiteY76" fmla="*/ 350049 h 369053"/>
                  <a:gd name="connsiteX77" fmla="*/ 51039 w 265732"/>
                  <a:gd name="connsiteY77" fmla="*/ 347396 h 369053"/>
                  <a:gd name="connsiteX78" fmla="*/ 52799 w 265732"/>
                  <a:gd name="connsiteY78" fmla="*/ 348443 h 369053"/>
                  <a:gd name="connsiteX79" fmla="*/ 53760 w 265732"/>
                  <a:gd name="connsiteY79" fmla="*/ 349666 h 369053"/>
                  <a:gd name="connsiteX80" fmla="*/ 52821 w 265732"/>
                  <a:gd name="connsiteY80" fmla="*/ 349950 h 369053"/>
                  <a:gd name="connsiteX81" fmla="*/ 54412 w 265732"/>
                  <a:gd name="connsiteY81" fmla="*/ 351211 h 369053"/>
                  <a:gd name="connsiteX82" fmla="*/ 54732 w 265732"/>
                  <a:gd name="connsiteY82" fmla="*/ 351827 h 369053"/>
                  <a:gd name="connsiteX83" fmla="*/ 53123 w 265732"/>
                  <a:gd name="connsiteY83" fmla="*/ 351973 h 369053"/>
                  <a:gd name="connsiteX84" fmla="*/ 50849 w 265732"/>
                  <a:gd name="connsiteY84" fmla="*/ 350326 h 369053"/>
                  <a:gd name="connsiteX85" fmla="*/ 50562 w 265732"/>
                  <a:gd name="connsiteY85" fmla="*/ 349682 h 369053"/>
                  <a:gd name="connsiteX86" fmla="*/ 51454 w 265732"/>
                  <a:gd name="connsiteY86" fmla="*/ 349308 h 369053"/>
                  <a:gd name="connsiteX87" fmla="*/ 50865 w 265732"/>
                  <a:gd name="connsiteY87" fmla="*/ 347983 h 369053"/>
                  <a:gd name="connsiteX88" fmla="*/ 38675 w 265732"/>
                  <a:gd name="connsiteY88" fmla="*/ 341784 h 369053"/>
                  <a:gd name="connsiteX89" fmla="*/ 39409 w 265732"/>
                  <a:gd name="connsiteY89" fmla="*/ 343210 h 369053"/>
                  <a:gd name="connsiteX90" fmla="*/ 42717 w 265732"/>
                  <a:gd name="connsiteY90" fmla="*/ 345409 h 369053"/>
                  <a:gd name="connsiteX91" fmla="*/ 42408 w 265732"/>
                  <a:gd name="connsiteY91" fmla="*/ 346959 h 369053"/>
                  <a:gd name="connsiteX92" fmla="*/ 40908 w 265732"/>
                  <a:gd name="connsiteY92" fmla="*/ 346787 h 369053"/>
                  <a:gd name="connsiteX93" fmla="*/ 39381 w 265732"/>
                  <a:gd name="connsiteY93" fmla="*/ 347068 h 369053"/>
                  <a:gd name="connsiteX94" fmla="*/ 38150 w 265732"/>
                  <a:gd name="connsiteY94" fmla="*/ 345529 h 369053"/>
                  <a:gd name="connsiteX95" fmla="*/ 37491 w 265732"/>
                  <a:gd name="connsiteY95" fmla="*/ 342933 h 369053"/>
                  <a:gd name="connsiteX96" fmla="*/ 37716 w 265732"/>
                  <a:gd name="connsiteY96" fmla="*/ 342374 h 369053"/>
                  <a:gd name="connsiteX97" fmla="*/ 37973 w 265732"/>
                  <a:gd name="connsiteY97" fmla="*/ 251776 h 369053"/>
                  <a:gd name="connsiteX98" fmla="*/ 37651 w 265732"/>
                  <a:gd name="connsiteY98" fmla="*/ 252424 h 369053"/>
                  <a:gd name="connsiteX99" fmla="*/ 37563 w 265732"/>
                  <a:gd name="connsiteY99" fmla="*/ 253045 h 369053"/>
                  <a:gd name="connsiteX100" fmla="*/ 37800 w 265732"/>
                  <a:gd name="connsiteY100" fmla="*/ 253695 h 369053"/>
                  <a:gd name="connsiteX101" fmla="*/ 39096 w 265732"/>
                  <a:gd name="connsiteY101" fmla="*/ 253516 h 369053"/>
                  <a:gd name="connsiteX102" fmla="*/ 40841 w 265732"/>
                  <a:gd name="connsiteY102" fmla="*/ 252332 h 369053"/>
                  <a:gd name="connsiteX103" fmla="*/ 42078 w 265732"/>
                  <a:gd name="connsiteY103" fmla="*/ 252885 h 369053"/>
                  <a:gd name="connsiteX104" fmla="*/ 41938 w 265732"/>
                  <a:gd name="connsiteY104" fmla="*/ 254575 h 369053"/>
                  <a:gd name="connsiteX105" fmla="*/ 41098 w 265732"/>
                  <a:gd name="connsiteY105" fmla="*/ 254511 h 369053"/>
                  <a:gd name="connsiteX106" fmla="*/ 40867 w 265732"/>
                  <a:gd name="connsiteY106" fmla="*/ 254232 h 369053"/>
                  <a:gd name="connsiteX107" fmla="*/ 39789 w 265732"/>
                  <a:gd name="connsiteY107" fmla="*/ 255197 h 369053"/>
                  <a:gd name="connsiteX108" fmla="*/ 39597 w 265732"/>
                  <a:gd name="connsiteY108" fmla="*/ 255781 h 369053"/>
                  <a:gd name="connsiteX109" fmla="*/ 38351 w 265732"/>
                  <a:gd name="connsiteY109" fmla="*/ 256154 h 369053"/>
                  <a:gd name="connsiteX110" fmla="*/ 36049 w 265732"/>
                  <a:gd name="connsiteY110" fmla="*/ 254502 h 369053"/>
                  <a:gd name="connsiteX111" fmla="*/ 34602 w 265732"/>
                  <a:gd name="connsiteY111" fmla="*/ 251783 h 369053"/>
                  <a:gd name="connsiteX112" fmla="*/ 116464 w 265732"/>
                  <a:gd name="connsiteY112" fmla="*/ 187740 h 369053"/>
                  <a:gd name="connsiteX113" fmla="*/ 120546 w 265732"/>
                  <a:gd name="connsiteY113" fmla="*/ 188858 h 369053"/>
                  <a:gd name="connsiteX114" fmla="*/ 121142 w 265732"/>
                  <a:gd name="connsiteY114" fmla="*/ 189455 h 369053"/>
                  <a:gd name="connsiteX115" fmla="*/ 118803 w 265732"/>
                  <a:gd name="connsiteY115" fmla="*/ 189902 h 369053"/>
                  <a:gd name="connsiteX116" fmla="*/ 117840 w 265732"/>
                  <a:gd name="connsiteY116" fmla="*/ 191169 h 369053"/>
                  <a:gd name="connsiteX117" fmla="*/ 114539 w 265732"/>
                  <a:gd name="connsiteY117" fmla="*/ 192361 h 369053"/>
                  <a:gd name="connsiteX118" fmla="*/ 111878 w 265732"/>
                  <a:gd name="connsiteY118" fmla="*/ 191616 h 369053"/>
                  <a:gd name="connsiteX119" fmla="*/ 111832 w 265732"/>
                  <a:gd name="connsiteY119" fmla="*/ 189306 h 369053"/>
                  <a:gd name="connsiteX120" fmla="*/ 113482 w 265732"/>
                  <a:gd name="connsiteY120" fmla="*/ 188187 h 369053"/>
                  <a:gd name="connsiteX121" fmla="*/ 181957 w 265732"/>
                  <a:gd name="connsiteY121" fmla="*/ 0 h 369053"/>
                  <a:gd name="connsiteX122" fmla="*/ 185099 w 265732"/>
                  <a:gd name="connsiteY122" fmla="*/ 126 h 369053"/>
                  <a:gd name="connsiteX123" fmla="*/ 188577 w 265732"/>
                  <a:gd name="connsiteY123" fmla="*/ 3686 h 369053"/>
                  <a:gd name="connsiteX124" fmla="*/ 193483 w 265732"/>
                  <a:gd name="connsiteY124" fmla="*/ 7643 h 369053"/>
                  <a:gd name="connsiteX125" fmla="*/ 196636 w 265732"/>
                  <a:gd name="connsiteY125" fmla="*/ 9562 h 369053"/>
                  <a:gd name="connsiteX126" fmla="*/ 205230 w 265732"/>
                  <a:gd name="connsiteY126" fmla="*/ 13154 h 369053"/>
                  <a:gd name="connsiteX127" fmla="*/ 212775 w 265732"/>
                  <a:gd name="connsiteY127" fmla="*/ 15515 h 369053"/>
                  <a:gd name="connsiteX128" fmla="*/ 217016 w 265732"/>
                  <a:gd name="connsiteY128" fmla="*/ 23292 h 369053"/>
                  <a:gd name="connsiteX129" fmla="*/ 214926 w 265732"/>
                  <a:gd name="connsiteY129" fmla="*/ 26382 h 369053"/>
                  <a:gd name="connsiteX130" fmla="*/ 213885 w 265732"/>
                  <a:gd name="connsiteY130" fmla="*/ 27446 h 369053"/>
                  <a:gd name="connsiteX131" fmla="*/ 210195 w 265732"/>
                  <a:gd name="connsiteY131" fmla="*/ 30516 h 369053"/>
                  <a:gd name="connsiteX132" fmla="*/ 206245 w 265732"/>
                  <a:gd name="connsiteY132" fmla="*/ 34840 h 369053"/>
                  <a:gd name="connsiteX133" fmla="*/ 205943 w 265732"/>
                  <a:gd name="connsiteY133" fmla="*/ 37090 h 369053"/>
                  <a:gd name="connsiteX134" fmla="*/ 207254 w 265732"/>
                  <a:gd name="connsiteY134" fmla="*/ 39357 h 369053"/>
                  <a:gd name="connsiteX135" fmla="*/ 208889 w 265732"/>
                  <a:gd name="connsiteY135" fmla="*/ 40855 h 369053"/>
                  <a:gd name="connsiteX136" fmla="*/ 207409 w 265732"/>
                  <a:gd name="connsiteY136" fmla="*/ 41332 h 369053"/>
                  <a:gd name="connsiteX137" fmla="*/ 202838 w 265732"/>
                  <a:gd name="connsiteY137" fmla="*/ 43215 h 369053"/>
                  <a:gd name="connsiteX138" fmla="*/ 200048 w 265732"/>
                  <a:gd name="connsiteY138" fmla="*/ 44485 h 369053"/>
                  <a:gd name="connsiteX139" fmla="*/ 196688 w 265732"/>
                  <a:gd name="connsiteY139" fmla="*/ 45416 h 369053"/>
                  <a:gd name="connsiteX140" fmla="*/ 197560 w 265732"/>
                  <a:gd name="connsiteY140" fmla="*/ 46649 h 369053"/>
                  <a:gd name="connsiteX141" fmla="*/ 203142 w 265732"/>
                  <a:gd name="connsiteY141" fmla="*/ 46910 h 369053"/>
                  <a:gd name="connsiteX142" fmla="*/ 204002 w 265732"/>
                  <a:gd name="connsiteY142" fmla="*/ 47260 h 369053"/>
                  <a:gd name="connsiteX143" fmla="*/ 204621 w 265732"/>
                  <a:gd name="connsiteY143" fmla="*/ 47894 h 369053"/>
                  <a:gd name="connsiteX144" fmla="*/ 204727 w 265732"/>
                  <a:gd name="connsiteY144" fmla="*/ 48907 h 369053"/>
                  <a:gd name="connsiteX145" fmla="*/ 204161 w 265732"/>
                  <a:gd name="connsiteY145" fmla="*/ 50542 h 369053"/>
                  <a:gd name="connsiteX146" fmla="*/ 198130 w 265732"/>
                  <a:gd name="connsiteY146" fmla="*/ 59538 h 369053"/>
                  <a:gd name="connsiteX147" fmla="*/ 197940 w 265732"/>
                  <a:gd name="connsiteY147" fmla="*/ 61428 h 369053"/>
                  <a:gd name="connsiteX148" fmla="*/ 199918 w 265732"/>
                  <a:gd name="connsiteY148" fmla="*/ 66676 h 369053"/>
                  <a:gd name="connsiteX149" fmla="*/ 202682 w 265732"/>
                  <a:gd name="connsiteY149" fmla="*/ 72845 h 369053"/>
                  <a:gd name="connsiteX150" fmla="*/ 211037 w 265732"/>
                  <a:gd name="connsiteY150" fmla="*/ 75582 h 369053"/>
                  <a:gd name="connsiteX151" fmla="*/ 217247 w 265732"/>
                  <a:gd name="connsiteY151" fmla="*/ 77717 h 369053"/>
                  <a:gd name="connsiteX152" fmla="*/ 221236 w 265732"/>
                  <a:gd name="connsiteY152" fmla="*/ 82760 h 369053"/>
                  <a:gd name="connsiteX153" fmla="*/ 227811 w 265732"/>
                  <a:gd name="connsiteY153" fmla="*/ 89390 h 369053"/>
                  <a:gd name="connsiteX154" fmla="*/ 231297 w 265732"/>
                  <a:gd name="connsiteY154" fmla="*/ 91862 h 369053"/>
                  <a:gd name="connsiteX155" fmla="*/ 231493 w 265732"/>
                  <a:gd name="connsiteY155" fmla="*/ 92629 h 369053"/>
                  <a:gd name="connsiteX156" fmla="*/ 230456 w 265732"/>
                  <a:gd name="connsiteY156" fmla="*/ 97183 h 369053"/>
                  <a:gd name="connsiteX157" fmla="*/ 226241 w 265732"/>
                  <a:gd name="connsiteY157" fmla="*/ 101735 h 369053"/>
                  <a:gd name="connsiteX158" fmla="*/ 222298 w 265732"/>
                  <a:gd name="connsiteY158" fmla="*/ 105565 h 369053"/>
                  <a:gd name="connsiteX159" fmla="*/ 218217 w 265732"/>
                  <a:gd name="connsiteY159" fmla="*/ 110170 h 369053"/>
                  <a:gd name="connsiteX160" fmla="*/ 215025 w 265732"/>
                  <a:gd name="connsiteY160" fmla="*/ 114087 h 369053"/>
                  <a:gd name="connsiteX161" fmla="*/ 211568 w 265732"/>
                  <a:gd name="connsiteY161" fmla="*/ 118772 h 369053"/>
                  <a:gd name="connsiteX162" fmla="*/ 211171 w 265732"/>
                  <a:gd name="connsiteY162" fmla="*/ 120288 h 369053"/>
                  <a:gd name="connsiteX163" fmla="*/ 211108 w 265732"/>
                  <a:gd name="connsiteY163" fmla="*/ 121719 h 369053"/>
                  <a:gd name="connsiteX164" fmla="*/ 211702 w 265732"/>
                  <a:gd name="connsiteY164" fmla="*/ 123300 h 369053"/>
                  <a:gd name="connsiteX165" fmla="*/ 216129 w 265732"/>
                  <a:gd name="connsiteY165" fmla="*/ 129002 h 369053"/>
                  <a:gd name="connsiteX166" fmla="*/ 217852 w 265732"/>
                  <a:gd name="connsiteY166" fmla="*/ 131908 h 369053"/>
                  <a:gd name="connsiteX167" fmla="*/ 219912 w 265732"/>
                  <a:gd name="connsiteY167" fmla="*/ 135045 h 369053"/>
                  <a:gd name="connsiteX168" fmla="*/ 221680 w 265732"/>
                  <a:gd name="connsiteY168" fmla="*/ 138458 h 369053"/>
                  <a:gd name="connsiteX169" fmla="*/ 222706 w 265732"/>
                  <a:gd name="connsiteY169" fmla="*/ 141510 h 369053"/>
                  <a:gd name="connsiteX170" fmla="*/ 224479 w 265732"/>
                  <a:gd name="connsiteY170" fmla="*/ 144480 h 369053"/>
                  <a:gd name="connsiteX171" fmla="*/ 225581 w 265732"/>
                  <a:gd name="connsiteY171" fmla="*/ 145996 h 369053"/>
                  <a:gd name="connsiteX172" fmla="*/ 227411 w 265732"/>
                  <a:gd name="connsiteY172" fmla="*/ 148118 h 369053"/>
                  <a:gd name="connsiteX173" fmla="*/ 229621 w 265732"/>
                  <a:gd name="connsiteY173" fmla="*/ 151271 h 369053"/>
                  <a:gd name="connsiteX174" fmla="*/ 230355 w 265732"/>
                  <a:gd name="connsiteY174" fmla="*/ 153765 h 369053"/>
                  <a:gd name="connsiteX175" fmla="*/ 233691 w 265732"/>
                  <a:gd name="connsiteY175" fmla="*/ 162396 h 369053"/>
                  <a:gd name="connsiteX176" fmla="*/ 234028 w 265732"/>
                  <a:gd name="connsiteY176" fmla="*/ 164590 h 369053"/>
                  <a:gd name="connsiteX177" fmla="*/ 233864 w 265732"/>
                  <a:gd name="connsiteY177" fmla="*/ 166212 h 369053"/>
                  <a:gd name="connsiteX178" fmla="*/ 232398 w 265732"/>
                  <a:gd name="connsiteY178" fmla="*/ 166611 h 369053"/>
                  <a:gd name="connsiteX179" fmla="*/ 229161 w 265732"/>
                  <a:gd name="connsiteY179" fmla="*/ 166869 h 369053"/>
                  <a:gd name="connsiteX180" fmla="*/ 225652 w 265732"/>
                  <a:gd name="connsiteY180" fmla="*/ 167931 h 369053"/>
                  <a:gd name="connsiteX181" fmla="*/ 225475 w 265732"/>
                  <a:gd name="connsiteY181" fmla="*/ 168288 h 369053"/>
                  <a:gd name="connsiteX182" fmla="*/ 227764 w 265732"/>
                  <a:gd name="connsiteY182" fmla="*/ 170314 h 369053"/>
                  <a:gd name="connsiteX183" fmla="*/ 225742 w 265732"/>
                  <a:gd name="connsiteY183" fmla="*/ 173770 h 369053"/>
                  <a:gd name="connsiteX184" fmla="*/ 225451 w 265732"/>
                  <a:gd name="connsiteY184" fmla="*/ 178707 h 369053"/>
                  <a:gd name="connsiteX185" fmla="*/ 223292 w 265732"/>
                  <a:gd name="connsiteY185" fmla="*/ 181294 h 369053"/>
                  <a:gd name="connsiteX186" fmla="*/ 223088 w 265732"/>
                  <a:gd name="connsiteY186" fmla="*/ 181895 h 369053"/>
                  <a:gd name="connsiteX187" fmla="*/ 223186 w 265732"/>
                  <a:gd name="connsiteY187" fmla="*/ 182397 h 369053"/>
                  <a:gd name="connsiteX188" fmla="*/ 223568 w 265732"/>
                  <a:gd name="connsiteY188" fmla="*/ 182789 h 369053"/>
                  <a:gd name="connsiteX189" fmla="*/ 227567 w 265732"/>
                  <a:gd name="connsiteY189" fmla="*/ 183479 h 369053"/>
                  <a:gd name="connsiteX190" fmla="*/ 227913 w 265732"/>
                  <a:gd name="connsiteY190" fmla="*/ 184180 h 369053"/>
                  <a:gd name="connsiteX191" fmla="*/ 227930 w 265732"/>
                  <a:gd name="connsiteY191" fmla="*/ 185629 h 369053"/>
                  <a:gd name="connsiteX192" fmla="*/ 227573 w 265732"/>
                  <a:gd name="connsiteY192" fmla="*/ 186967 h 369053"/>
                  <a:gd name="connsiteX193" fmla="*/ 225565 w 265732"/>
                  <a:gd name="connsiteY193" fmla="*/ 187959 h 369053"/>
                  <a:gd name="connsiteX194" fmla="*/ 223408 w 265732"/>
                  <a:gd name="connsiteY194" fmla="*/ 189427 h 369053"/>
                  <a:gd name="connsiteX195" fmla="*/ 222931 w 265732"/>
                  <a:gd name="connsiteY195" fmla="*/ 190776 h 369053"/>
                  <a:gd name="connsiteX196" fmla="*/ 223004 w 265732"/>
                  <a:gd name="connsiteY196" fmla="*/ 191980 h 369053"/>
                  <a:gd name="connsiteX197" fmla="*/ 223741 w 265732"/>
                  <a:gd name="connsiteY197" fmla="*/ 194013 h 369053"/>
                  <a:gd name="connsiteX198" fmla="*/ 225159 w 265732"/>
                  <a:gd name="connsiteY198" fmla="*/ 196379 h 369053"/>
                  <a:gd name="connsiteX199" fmla="*/ 226963 w 265732"/>
                  <a:gd name="connsiteY199" fmla="*/ 197863 h 369053"/>
                  <a:gd name="connsiteX200" fmla="*/ 233367 w 265732"/>
                  <a:gd name="connsiteY200" fmla="*/ 199267 h 369053"/>
                  <a:gd name="connsiteX201" fmla="*/ 234194 w 265732"/>
                  <a:gd name="connsiteY201" fmla="*/ 200428 h 369053"/>
                  <a:gd name="connsiteX202" fmla="*/ 234546 w 265732"/>
                  <a:gd name="connsiteY202" fmla="*/ 202018 h 369053"/>
                  <a:gd name="connsiteX203" fmla="*/ 234412 w 265732"/>
                  <a:gd name="connsiteY203" fmla="*/ 203569 h 369053"/>
                  <a:gd name="connsiteX204" fmla="*/ 231437 w 265732"/>
                  <a:gd name="connsiteY204" fmla="*/ 206669 h 369053"/>
                  <a:gd name="connsiteX205" fmla="*/ 231460 w 265732"/>
                  <a:gd name="connsiteY205" fmla="*/ 207860 h 369053"/>
                  <a:gd name="connsiteX206" fmla="*/ 232682 w 265732"/>
                  <a:gd name="connsiteY206" fmla="*/ 210740 h 369053"/>
                  <a:gd name="connsiteX207" fmla="*/ 234147 w 265732"/>
                  <a:gd name="connsiteY207" fmla="*/ 213485 h 369053"/>
                  <a:gd name="connsiteX208" fmla="*/ 240394 w 265732"/>
                  <a:gd name="connsiteY208" fmla="*/ 216455 h 369053"/>
                  <a:gd name="connsiteX209" fmla="*/ 242545 w 265732"/>
                  <a:gd name="connsiteY209" fmla="*/ 218082 h 369053"/>
                  <a:gd name="connsiteX210" fmla="*/ 243117 w 265732"/>
                  <a:gd name="connsiteY210" fmla="*/ 219376 h 369053"/>
                  <a:gd name="connsiteX211" fmla="*/ 243430 w 265732"/>
                  <a:gd name="connsiteY211" fmla="*/ 221460 h 369053"/>
                  <a:gd name="connsiteX212" fmla="*/ 243389 w 265732"/>
                  <a:gd name="connsiteY212" fmla="*/ 223717 h 369053"/>
                  <a:gd name="connsiteX213" fmla="*/ 242899 w 265732"/>
                  <a:gd name="connsiteY213" fmla="*/ 225719 h 369053"/>
                  <a:gd name="connsiteX214" fmla="*/ 240940 w 265732"/>
                  <a:gd name="connsiteY214" fmla="*/ 228298 h 369053"/>
                  <a:gd name="connsiteX215" fmla="*/ 236406 w 265732"/>
                  <a:gd name="connsiteY215" fmla="*/ 233375 h 369053"/>
                  <a:gd name="connsiteX216" fmla="*/ 231847 w 265732"/>
                  <a:gd name="connsiteY216" fmla="*/ 235344 h 369053"/>
                  <a:gd name="connsiteX217" fmla="*/ 231569 w 265732"/>
                  <a:gd name="connsiteY217" fmla="*/ 235771 h 369053"/>
                  <a:gd name="connsiteX218" fmla="*/ 232981 w 265732"/>
                  <a:gd name="connsiteY218" fmla="*/ 237391 h 369053"/>
                  <a:gd name="connsiteX219" fmla="*/ 241011 w 265732"/>
                  <a:gd name="connsiteY219" fmla="*/ 243873 h 369053"/>
                  <a:gd name="connsiteX220" fmla="*/ 246246 w 265732"/>
                  <a:gd name="connsiteY220" fmla="*/ 246900 h 369053"/>
                  <a:gd name="connsiteX221" fmla="*/ 253311 w 265732"/>
                  <a:gd name="connsiteY221" fmla="*/ 250978 h 369053"/>
                  <a:gd name="connsiteX222" fmla="*/ 257868 w 265732"/>
                  <a:gd name="connsiteY222" fmla="*/ 254194 h 369053"/>
                  <a:gd name="connsiteX223" fmla="*/ 259340 w 265732"/>
                  <a:gd name="connsiteY223" fmla="*/ 256505 h 369053"/>
                  <a:gd name="connsiteX224" fmla="*/ 261314 w 265732"/>
                  <a:gd name="connsiteY224" fmla="*/ 259071 h 369053"/>
                  <a:gd name="connsiteX225" fmla="*/ 263532 w 265732"/>
                  <a:gd name="connsiteY225" fmla="*/ 261166 h 369053"/>
                  <a:gd name="connsiteX226" fmla="*/ 265130 w 265732"/>
                  <a:gd name="connsiteY226" fmla="*/ 262982 h 369053"/>
                  <a:gd name="connsiteX227" fmla="*/ 265732 w 265732"/>
                  <a:gd name="connsiteY227" fmla="*/ 264150 h 369053"/>
                  <a:gd name="connsiteX228" fmla="*/ 265676 w 265732"/>
                  <a:gd name="connsiteY228" fmla="*/ 265405 h 369053"/>
                  <a:gd name="connsiteX229" fmla="*/ 263538 w 265732"/>
                  <a:gd name="connsiteY229" fmla="*/ 269185 h 369053"/>
                  <a:gd name="connsiteX230" fmla="*/ 262324 w 265732"/>
                  <a:gd name="connsiteY230" fmla="*/ 272102 h 369053"/>
                  <a:gd name="connsiteX231" fmla="*/ 260185 w 265732"/>
                  <a:gd name="connsiteY231" fmla="*/ 276371 h 369053"/>
                  <a:gd name="connsiteX232" fmla="*/ 257997 w 265732"/>
                  <a:gd name="connsiteY232" fmla="*/ 279345 h 369053"/>
                  <a:gd name="connsiteX233" fmla="*/ 252448 w 265732"/>
                  <a:gd name="connsiteY233" fmla="*/ 284759 h 369053"/>
                  <a:gd name="connsiteX234" fmla="*/ 244264 w 265732"/>
                  <a:gd name="connsiteY234" fmla="*/ 291477 h 369053"/>
                  <a:gd name="connsiteX235" fmla="*/ 242363 w 265732"/>
                  <a:gd name="connsiteY235" fmla="*/ 293506 h 369053"/>
                  <a:gd name="connsiteX236" fmla="*/ 238533 w 265732"/>
                  <a:gd name="connsiteY236" fmla="*/ 297034 h 369053"/>
                  <a:gd name="connsiteX237" fmla="*/ 231977 w 265732"/>
                  <a:gd name="connsiteY237" fmla="*/ 304096 h 369053"/>
                  <a:gd name="connsiteX238" fmla="*/ 230279 w 265732"/>
                  <a:gd name="connsiteY238" fmla="*/ 305652 h 369053"/>
                  <a:gd name="connsiteX239" fmla="*/ 224905 w 265732"/>
                  <a:gd name="connsiteY239" fmla="*/ 311263 h 369053"/>
                  <a:gd name="connsiteX240" fmla="*/ 222456 w 265732"/>
                  <a:gd name="connsiteY240" fmla="*/ 313045 h 369053"/>
                  <a:gd name="connsiteX241" fmla="*/ 220532 w 265732"/>
                  <a:gd name="connsiteY241" fmla="*/ 314710 h 369053"/>
                  <a:gd name="connsiteX242" fmla="*/ 215209 w 265732"/>
                  <a:gd name="connsiteY242" fmla="*/ 319993 h 369053"/>
                  <a:gd name="connsiteX243" fmla="*/ 209489 w 265732"/>
                  <a:gd name="connsiteY243" fmla="*/ 323994 h 369053"/>
                  <a:gd name="connsiteX244" fmla="*/ 203874 w 265732"/>
                  <a:gd name="connsiteY244" fmla="*/ 327703 h 369053"/>
                  <a:gd name="connsiteX245" fmla="*/ 202190 w 265732"/>
                  <a:gd name="connsiteY245" fmla="*/ 329581 h 369053"/>
                  <a:gd name="connsiteX246" fmla="*/ 200095 w 265732"/>
                  <a:gd name="connsiteY246" fmla="*/ 331012 h 369053"/>
                  <a:gd name="connsiteX247" fmla="*/ 197595 w 265732"/>
                  <a:gd name="connsiteY247" fmla="*/ 332372 h 369053"/>
                  <a:gd name="connsiteX248" fmla="*/ 196541 w 265732"/>
                  <a:gd name="connsiteY248" fmla="*/ 333134 h 369053"/>
                  <a:gd name="connsiteX249" fmla="*/ 190892 w 265732"/>
                  <a:gd name="connsiteY249" fmla="*/ 338191 h 369053"/>
                  <a:gd name="connsiteX250" fmla="*/ 183058 w 265732"/>
                  <a:gd name="connsiteY250" fmla="*/ 345191 h 369053"/>
                  <a:gd name="connsiteX251" fmla="*/ 182261 w 265732"/>
                  <a:gd name="connsiteY251" fmla="*/ 345300 h 369053"/>
                  <a:gd name="connsiteX252" fmla="*/ 180221 w 265732"/>
                  <a:gd name="connsiteY252" fmla="*/ 346429 h 369053"/>
                  <a:gd name="connsiteX253" fmla="*/ 177031 w 265732"/>
                  <a:gd name="connsiteY253" fmla="*/ 346702 h 369053"/>
                  <a:gd name="connsiteX254" fmla="*/ 175645 w 265732"/>
                  <a:gd name="connsiteY254" fmla="*/ 347565 h 369053"/>
                  <a:gd name="connsiteX255" fmla="*/ 170769 w 265732"/>
                  <a:gd name="connsiteY255" fmla="*/ 345106 h 369053"/>
                  <a:gd name="connsiteX256" fmla="*/ 169959 w 265732"/>
                  <a:gd name="connsiteY256" fmla="*/ 344947 h 369053"/>
                  <a:gd name="connsiteX257" fmla="*/ 167092 w 265732"/>
                  <a:gd name="connsiteY257" fmla="*/ 345557 h 369053"/>
                  <a:gd name="connsiteX258" fmla="*/ 164340 w 265732"/>
                  <a:gd name="connsiteY258" fmla="*/ 347344 h 369053"/>
                  <a:gd name="connsiteX259" fmla="*/ 159261 w 265732"/>
                  <a:gd name="connsiteY259" fmla="*/ 347890 h 369053"/>
                  <a:gd name="connsiteX260" fmla="*/ 156739 w 265732"/>
                  <a:gd name="connsiteY260" fmla="*/ 348469 h 369053"/>
                  <a:gd name="connsiteX261" fmla="*/ 155131 w 265732"/>
                  <a:gd name="connsiteY261" fmla="*/ 349294 h 369053"/>
                  <a:gd name="connsiteX262" fmla="*/ 154800 w 265732"/>
                  <a:gd name="connsiteY262" fmla="*/ 347341 h 369053"/>
                  <a:gd name="connsiteX263" fmla="*/ 155495 w 265732"/>
                  <a:gd name="connsiteY263" fmla="*/ 344862 h 369053"/>
                  <a:gd name="connsiteX264" fmla="*/ 156614 w 265732"/>
                  <a:gd name="connsiteY264" fmla="*/ 343208 h 369053"/>
                  <a:gd name="connsiteX265" fmla="*/ 156718 w 265732"/>
                  <a:gd name="connsiteY265" fmla="*/ 342130 h 369053"/>
                  <a:gd name="connsiteX266" fmla="*/ 155897 w 265732"/>
                  <a:gd name="connsiteY266" fmla="*/ 342242 h 369053"/>
                  <a:gd name="connsiteX267" fmla="*/ 154271 w 265732"/>
                  <a:gd name="connsiteY267" fmla="*/ 344669 h 369053"/>
                  <a:gd name="connsiteX268" fmla="*/ 153401 w 265732"/>
                  <a:gd name="connsiteY268" fmla="*/ 347500 h 369053"/>
                  <a:gd name="connsiteX269" fmla="*/ 151660 w 265732"/>
                  <a:gd name="connsiteY269" fmla="*/ 348922 h 369053"/>
                  <a:gd name="connsiteX270" fmla="*/ 147834 w 265732"/>
                  <a:gd name="connsiteY270" fmla="*/ 349503 h 369053"/>
                  <a:gd name="connsiteX271" fmla="*/ 144105 w 265732"/>
                  <a:gd name="connsiteY271" fmla="*/ 347230 h 369053"/>
                  <a:gd name="connsiteX272" fmla="*/ 142334 w 265732"/>
                  <a:gd name="connsiteY272" fmla="*/ 347253 h 369053"/>
                  <a:gd name="connsiteX273" fmla="*/ 143446 w 265732"/>
                  <a:gd name="connsiteY273" fmla="*/ 348881 h 369053"/>
                  <a:gd name="connsiteX274" fmla="*/ 144198 w 265732"/>
                  <a:gd name="connsiteY274" fmla="*/ 350667 h 369053"/>
                  <a:gd name="connsiteX275" fmla="*/ 144100 w 265732"/>
                  <a:gd name="connsiteY275" fmla="*/ 351667 h 369053"/>
                  <a:gd name="connsiteX276" fmla="*/ 142112 w 265732"/>
                  <a:gd name="connsiteY276" fmla="*/ 351491 h 369053"/>
                  <a:gd name="connsiteX277" fmla="*/ 139898 w 265732"/>
                  <a:gd name="connsiteY277" fmla="*/ 352561 h 369053"/>
                  <a:gd name="connsiteX278" fmla="*/ 137957 w 265732"/>
                  <a:gd name="connsiteY278" fmla="*/ 354123 h 369053"/>
                  <a:gd name="connsiteX279" fmla="*/ 137015 w 265732"/>
                  <a:gd name="connsiteY279" fmla="*/ 354126 h 369053"/>
                  <a:gd name="connsiteX280" fmla="*/ 135711 w 265732"/>
                  <a:gd name="connsiteY280" fmla="*/ 351943 h 369053"/>
                  <a:gd name="connsiteX281" fmla="*/ 133318 w 265732"/>
                  <a:gd name="connsiteY281" fmla="*/ 352962 h 369053"/>
                  <a:gd name="connsiteX282" fmla="*/ 131274 w 265732"/>
                  <a:gd name="connsiteY282" fmla="*/ 354332 h 369053"/>
                  <a:gd name="connsiteX283" fmla="*/ 127119 w 265732"/>
                  <a:gd name="connsiteY283" fmla="*/ 354760 h 369053"/>
                  <a:gd name="connsiteX284" fmla="*/ 124642 w 265732"/>
                  <a:gd name="connsiteY284" fmla="*/ 356559 h 369053"/>
                  <a:gd name="connsiteX285" fmla="*/ 120259 w 265732"/>
                  <a:gd name="connsiteY285" fmla="*/ 357772 h 369053"/>
                  <a:gd name="connsiteX286" fmla="*/ 117851 w 265732"/>
                  <a:gd name="connsiteY286" fmla="*/ 357743 h 369053"/>
                  <a:gd name="connsiteX287" fmla="*/ 112362 w 265732"/>
                  <a:gd name="connsiteY287" fmla="*/ 359203 h 369053"/>
                  <a:gd name="connsiteX288" fmla="*/ 110537 w 265732"/>
                  <a:gd name="connsiteY288" fmla="*/ 361452 h 369053"/>
                  <a:gd name="connsiteX289" fmla="*/ 108937 w 265732"/>
                  <a:gd name="connsiteY289" fmla="*/ 362279 h 369053"/>
                  <a:gd name="connsiteX290" fmla="*/ 106659 w 265732"/>
                  <a:gd name="connsiteY290" fmla="*/ 361583 h 369053"/>
                  <a:gd name="connsiteX291" fmla="*/ 99641 w 265732"/>
                  <a:gd name="connsiteY291" fmla="*/ 362679 h 369053"/>
                  <a:gd name="connsiteX292" fmla="*/ 92932 w 265732"/>
                  <a:gd name="connsiteY292" fmla="*/ 364116 h 369053"/>
                  <a:gd name="connsiteX293" fmla="*/ 90077 w 265732"/>
                  <a:gd name="connsiteY293" fmla="*/ 364034 h 369053"/>
                  <a:gd name="connsiteX294" fmla="*/ 87222 w 265732"/>
                  <a:gd name="connsiteY294" fmla="*/ 363437 h 369053"/>
                  <a:gd name="connsiteX295" fmla="*/ 84197 w 265732"/>
                  <a:gd name="connsiteY295" fmla="*/ 365433 h 369053"/>
                  <a:gd name="connsiteX296" fmla="*/ 80984 w 265732"/>
                  <a:gd name="connsiteY296" fmla="*/ 368101 h 369053"/>
                  <a:gd name="connsiteX297" fmla="*/ 77442 w 265732"/>
                  <a:gd name="connsiteY297" fmla="*/ 369053 h 369053"/>
                  <a:gd name="connsiteX298" fmla="*/ 76173 w 265732"/>
                  <a:gd name="connsiteY298" fmla="*/ 368712 h 369053"/>
                  <a:gd name="connsiteX299" fmla="*/ 77187 w 265732"/>
                  <a:gd name="connsiteY299" fmla="*/ 367314 h 369053"/>
                  <a:gd name="connsiteX300" fmla="*/ 79531 w 265732"/>
                  <a:gd name="connsiteY300" fmla="*/ 365865 h 369053"/>
                  <a:gd name="connsiteX301" fmla="*/ 81139 w 265732"/>
                  <a:gd name="connsiteY301" fmla="*/ 363900 h 369053"/>
                  <a:gd name="connsiteX302" fmla="*/ 81360 w 265732"/>
                  <a:gd name="connsiteY302" fmla="*/ 362261 h 369053"/>
                  <a:gd name="connsiteX303" fmla="*/ 80254 w 265732"/>
                  <a:gd name="connsiteY303" fmla="*/ 361617 h 369053"/>
                  <a:gd name="connsiteX304" fmla="*/ 78744 w 265732"/>
                  <a:gd name="connsiteY304" fmla="*/ 361420 h 369053"/>
                  <a:gd name="connsiteX305" fmla="*/ 76842 w 265732"/>
                  <a:gd name="connsiteY305" fmla="*/ 359723 h 369053"/>
                  <a:gd name="connsiteX306" fmla="*/ 75019 w 265732"/>
                  <a:gd name="connsiteY306" fmla="*/ 356041 h 369053"/>
                  <a:gd name="connsiteX307" fmla="*/ 74032 w 265732"/>
                  <a:gd name="connsiteY307" fmla="*/ 355838 h 369053"/>
                  <a:gd name="connsiteX308" fmla="*/ 73532 w 265732"/>
                  <a:gd name="connsiteY308" fmla="*/ 356806 h 369053"/>
                  <a:gd name="connsiteX309" fmla="*/ 72972 w 265732"/>
                  <a:gd name="connsiteY309" fmla="*/ 359630 h 369053"/>
                  <a:gd name="connsiteX310" fmla="*/ 72404 w 265732"/>
                  <a:gd name="connsiteY310" fmla="*/ 360443 h 369053"/>
                  <a:gd name="connsiteX311" fmla="*/ 71439 w 265732"/>
                  <a:gd name="connsiteY311" fmla="*/ 361089 h 369053"/>
                  <a:gd name="connsiteX312" fmla="*/ 70280 w 265732"/>
                  <a:gd name="connsiteY312" fmla="*/ 361739 h 369053"/>
                  <a:gd name="connsiteX313" fmla="*/ 69148 w 265732"/>
                  <a:gd name="connsiteY313" fmla="*/ 362056 h 369053"/>
                  <a:gd name="connsiteX314" fmla="*/ 65091 w 265732"/>
                  <a:gd name="connsiteY314" fmla="*/ 362017 h 369053"/>
                  <a:gd name="connsiteX315" fmla="*/ 64557 w 265732"/>
                  <a:gd name="connsiteY315" fmla="*/ 360593 h 369053"/>
                  <a:gd name="connsiteX316" fmla="*/ 64557 w 265732"/>
                  <a:gd name="connsiteY316" fmla="*/ 359997 h 369053"/>
                  <a:gd name="connsiteX317" fmla="*/ 65276 w 265732"/>
                  <a:gd name="connsiteY317" fmla="*/ 358120 h 369053"/>
                  <a:gd name="connsiteX318" fmla="*/ 64648 w 265732"/>
                  <a:gd name="connsiteY318" fmla="*/ 357792 h 369053"/>
                  <a:gd name="connsiteX319" fmla="*/ 65246 w 265732"/>
                  <a:gd name="connsiteY319" fmla="*/ 356319 h 369053"/>
                  <a:gd name="connsiteX320" fmla="*/ 66203 w 265732"/>
                  <a:gd name="connsiteY320" fmla="*/ 356398 h 369053"/>
                  <a:gd name="connsiteX321" fmla="*/ 67336 w 265732"/>
                  <a:gd name="connsiteY321" fmla="*/ 356180 h 369053"/>
                  <a:gd name="connsiteX322" fmla="*/ 67904 w 265732"/>
                  <a:gd name="connsiteY322" fmla="*/ 355422 h 369053"/>
                  <a:gd name="connsiteX323" fmla="*/ 67861 w 265732"/>
                  <a:gd name="connsiteY323" fmla="*/ 354517 h 369053"/>
                  <a:gd name="connsiteX324" fmla="*/ 66285 w 265732"/>
                  <a:gd name="connsiteY324" fmla="*/ 354282 h 369053"/>
                  <a:gd name="connsiteX325" fmla="*/ 66188 w 265732"/>
                  <a:gd name="connsiteY325" fmla="*/ 353664 h 369053"/>
                  <a:gd name="connsiteX326" fmla="*/ 67593 w 265732"/>
                  <a:gd name="connsiteY326" fmla="*/ 351083 h 369053"/>
                  <a:gd name="connsiteX327" fmla="*/ 67794 w 265732"/>
                  <a:gd name="connsiteY327" fmla="*/ 350369 h 369053"/>
                  <a:gd name="connsiteX328" fmla="*/ 67250 w 265732"/>
                  <a:gd name="connsiteY328" fmla="*/ 350221 h 369053"/>
                  <a:gd name="connsiteX329" fmla="*/ 66369 w 265732"/>
                  <a:gd name="connsiteY329" fmla="*/ 350502 h 369053"/>
                  <a:gd name="connsiteX330" fmla="*/ 60562 w 265732"/>
                  <a:gd name="connsiteY330" fmla="*/ 349692 h 369053"/>
                  <a:gd name="connsiteX331" fmla="*/ 53400 w 265732"/>
                  <a:gd name="connsiteY331" fmla="*/ 346385 h 369053"/>
                  <a:gd name="connsiteX332" fmla="*/ 51638 w 265732"/>
                  <a:gd name="connsiteY332" fmla="*/ 346214 h 369053"/>
                  <a:gd name="connsiteX333" fmla="*/ 50554 w 265732"/>
                  <a:gd name="connsiteY333" fmla="*/ 343257 h 369053"/>
                  <a:gd name="connsiteX334" fmla="*/ 48826 w 265732"/>
                  <a:gd name="connsiteY334" fmla="*/ 343632 h 369053"/>
                  <a:gd name="connsiteX335" fmla="*/ 46308 w 265732"/>
                  <a:gd name="connsiteY335" fmla="*/ 345363 h 369053"/>
                  <a:gd name="connsiteX336" fmla="*/ 44419 w 265732"/>
                  <a:gd name="connsiteY336" fmla="*/ 344048 h 369053"/>
                  <a:gd name="connsiteX337" fmla="*/ 42389 w 265732"/>
                  <a:gd name="connsiteY337" fmla="*/ 343182 h 369053"/>
                  <a:gd name="connsiteX338" fmla="*/ 41827 w 265732"/>
                  <a:gd name="connsiteY338" fmla="*/ 341828 h 369053"/>
                  <a:gd name="connsiteX339" fmla="*/ 41856 w 265732"/>
                  <a:gd name="connsiteY339" fmla="*/ 339829 h 369053"/>
                  <a:gd name="connsiteX340" fmla="*/ 41681 w 265732"/>
                  <a:gd name="connsiteY340" fmla="*/ 337469 h 369053"/>
                  <a:gd name="connsiteX341" fmla="*/ 41126 w 265732"/>
                  <a:gd name="connsiteY341" fmla="*/ 334704 h 369053"/>
                  <a:gd name="connsiteX342" fmla="*/ 40720 w 265732"/>
                  <a:gd name="connsiteY342" fmla="*/ 330768 h 369053"/>
                  <a:gd name="connsiteX343" fmla="*/ 41100 w 265732"/>
                  <a:gd name="connsiteY343" fmla="*/ 327687 h 369053"/>
                  <a:gd name="connsiteX344" fmla="*/ 42719 w 265732"/>
                  <a:gd name="connsiteY344" fmla="*/ 325403 h 369053"/>
                  <a:gd name="connsiteX345" fmla="*/ 43341 w 265732"/>
                  <a:gd name="connsiteY345" fmla="*/ 323944 h 369053"/>
                  <a:gd name="connsiteX346" fmla="*/ 44101 w 265732"/>
                  <a:gd name="connsiteY346" fmla="*/ 320215 h 369053"/>
                  <a:gd name="connsiteX347" fmla="*/ 44272 w 265732"/>
                  <a:gd name="connsiteY347" fmla="*/ 315839 h 369053"/>
                  <a:gd name="connsiteX348" fmla="*/ 43842 w 265732"/>
                  <a:gd name="connsiteY348" fmla="*/ 314347 h 369053"/>
                  <a:gd name="connsiteX349" fmla="*/ 43950 w 265732"/>
                  <a:gd name="connsiteY349" fmla="*/ 313354 h 369053"/>
                  <a:gd name="connsiteX350" fmla="*/ 45242 w 265732"/>
                  <a:gd name="connsiteY350" fmla="*/ 313354 h 369053"/>
                  <a:gd name="connsiteX351" fmla="*/ 44961 w 265732"/>
                  <a:gd name="connsiteY351" fmla="*/ 312502 h 369053"/>
                  <a:gd name="connsiteX352" fmla="*/ 44393 w 265732"/>
                  <a:gd name="connsiteY352" fmla="*/ 312035 h 369053"/>
                  <a:gd name="connsiteX353" fmla="*/ 43765 w 265732"/>
                  <a:gd name="connsiteY353" fmla="*/ 311065 h 369053"/>
                  <a:gd name="connsiteX354" fmla="*/ 44300 w 265732"/>
                  <a:gd name="connsiteY354" fmla="*/ 310551 h 369053"/>
                  <a:gd name="connsiteX355" fmla="*/ 45846 w 265732"/>
                  <a:gd name="connsiteY355" fmla="*/ 310514 h 369053"/>
                  <a:gd name="connsiteX356" fmla="*/ 45971 w 265732"/>
                  <a:gd name="connsiteY356" fmla="*/ 310187 h 369053"/>
                  <a:gd name="connsiteX357" fmla="*/ 46146 w 265732"/>
                  <a:gd name="connsiteY357" fmla="*/ 309723 h 369053"/>
                  <a:gd name="connsiteX358" fmla="*/ 44950 w 265732"/>
                  <a:gd name="connsiteY358" fmla="*/ 307170 h 369053"/>
                  <a:gd name="connsiteX359" fmla="*/ 44812 w 265732"/>
                  <a:gd name="connsiteY359" fmla="*/ 305952 h 369053"/>
                  <a:gd name="connsiteX360" fmla="*/ 43151 w 265732"/>
                  <a:gd name="connsiteY360" fmla="*/ 302250 h 369053"/>
                  <a:gd name="connsiteX361" fmla="*/ 41257 w 265732"/>
                  <a:gd name="connsiteY361" fmla="*/ 298735 h 369053"/>
                  <a:gd name="connsiteX362" fmla="*/ 38407 w 265732"/>
                  <a:gd name="connsiteY362" fmla="*/ 296188 h 369053"/>
                  <a:gd name="connsiteX363" fmla="*/ 39418 w 265732"/>
                  <a:gd name="connsiteY363" fmla="*/ 291988 h 369053"/>
                  <a:gd name="connsiteX364" fmla="*/ 40569 w 265732"/>
                  <a:gd name="connsiteY364" fmla="*/ 288184 h 369053"/>
                  <a:gd name="connsiteX365" fmla="*/ 40340 w 265732"/>
                  <a:gd name="connsiteY365" fmla="*/ 286349 h 369053"/>
                  <a:gd name="connsiteX366" fmla="*/ 39899 w 265732"/>
                  <a:gd name="connsiteY366" fmla="*/ 284114 h 369053"/>
                  <a:gd name="connsiteX367" fmla="*/ 36410 w 265732"/>
                  <a:gd name="connsiteY367" fmla="*/ 281660 h 369053"/>
                  <a:gd name="connsiteX368" fmla="*/ 35891 w 265732"/>
                  <a:gd name="connsiteY368" fmla="*/ 278196 h 369053"/>
                  <a:gd name="connsiteX369" fmla="*/ 35038 w 265732"/>
                  <a:gd name="connsiteY369" fmla="*/ 274472 h 369053"/>
                  <a:gd name="connsiteX370" fmla="*/ 35360 w 265732"/>
                  <a:gd name="connsiteY370" fmla="*/ 272185 h 369053"/>
                  <a:gd name="connsiteX371" fmla="*/ 35928 w 265732"/>
                  <a:gd name="connsiteY371" fmla="*/ 270433 h 369053"/>
                  <a:gd name="connsiteX372" fmla="*/ 37075 w 265732"/>
                  <a:gd name="connsiteY372" fmla="*/ 268687 h 369053"/>
                  <a:gd name="connsiteX373" fmla="*/ 42864 w 265732"/>
                  <a:gd name="connsiteY373" fmla="*/ 263167 h 369053"/>
                  <a:gd name="connsiteX374" fmla="*/ 43218 w 265732"/>
                  <a:gd name="connsiteY374" fmla="*/ 260279 h 369053"/>
                  <a:gd name="connsiteX375" fmla="*/ 47142 w 265732"/>
                  <a:gd name="connsiteY375" fmla="*/ 260069 h 369053"/>
                  <a:gd name="connsiteX376" fmla="*/ 45321 w 265732"/>
                  <a:gd name="connsiteY376" fmla="*/ 257484 h 369053"/>
                  <a:gd name="connsiteX377" fmla="*/ 44892 w 265732"/>
                  <a:gd name="connsiteY377" fmla="*/ 256031 h 369053"/>
                  <a:gd name="connsiteX378" fmla="*/ 44801 w 265732"/>
                  <a:gd name="connsiteY378" fmla="*/ 254334 h 369053"/>
                  <a:gd name="connsiteX379" fmla="*/ 50446 w 265732"/>
                  <a:gd name="connsiteY379" fmla="*/ 253171 h 369053"/>
                  <a:gd name="connsiteX380" fmla="*/ 52553 w 265732"/>
                  <a:gd name="connsiteY380" fmla="*/ 254126 h 369053"/>
                  <a:gd name="connsiteX381" fmla="*/ 57520 w 265732"/>
                  <a:gd name="connsiteY381" fmla="*/ 252946 h 369053"/>
                  <a:gd name="connsiteX382" fmla="*/ 61929 w 265732"/>
                  <a:gd name="connsiteY382" fmla="*/ 250636 h 369053"/>
                  <a:gd name="connsiteX383" fmla="*/ 61851 w 265732"/>
                  <a:gd name="connsiteY383" fmla="*/ 249407 h 369053"/>
                  <a:gd name="connsiteX384" fmla="*/ 61174 w 265732"/>
                  <a:gd name="connsiteY384" fmla="*/ 248306 h 369053"/>
                  <a:gd name="connsiteX385" fmla="*/ 60238 w 265732"/>
                  <a:gd name="connsiteY385" fmla="*/ 246185 h 369053"/>
                  <a:gd name="connsiteX386" fmla="*/ 60901 w 265732"/>
                  <a:gd name="connsiteY386" fmla="*/ 245596 h 369053"/>
                  <a:gd name="connsiteX387" fmla="*/ 62510 w 265732"/>
                  <a:gd name="connsiteY387" fmla="*/ 246029 h 369053"/>
                  <a:gd name="connsiteX388" fmla="*/ 61772 w 265732"/>
                  <a:gd name="connsiteY388" fmla="*/ 244974 h 369053"/>
                  <a:gd name="connsiteX389" fmla="*/ 61906 w 265732"/>
                  <a:gd name="connsiteY389" fmla="*/ 243861 h 369053"/>
                  <a:gd name="connsiteX390" fmla="*/ 63661 w 265732"/>
                  <a:gd name="connsiteY390" fmla="*/ 244324 h 369053"/>
                  <a:gd name="connsiteX391" fmla="*/ 66527 w 265732"/>
                  <a:gd name="connsiteY391" fmla="*/ 241214 h 369053"/>
                  <a:gd name="connsiteX392" fmla="*/ 66630 w 265732"/>
                  <a:gd name="connsiteY392" fmla="*/ 238835 h 369053"/>
                  <a:gd name="connsiteX393" fmla="*/ 71582 w 265732"/>
                  <a:gd name="connsiteY393" fmla="*/ 237590 h 369053"/>
                  <a:gd name="connsiteX394" fmla="*/ 77291 w 265732"/>
                  <a:gd name="connsiteY394" fmla="*/ 232724 h 369053"/>
                  <a:gd name="connsiteX395" fmla="*/ 79926 w 265732"/>
                  <a:gd name="connsiteY395" fmla="*/ 231207 h 369053"/>
                  <a:gd name="connsiteX396" fmla="*/ 82471 w 265732"/>
                  <a:gd name="connsiteY396" fmla="*/ 230108 h 369053"/>
                  <a:gd name="connsiteX397" fmla="*/ 87894 w 265732"/>
                  <a:gd name="connsiteY397" fmla="*/ 225229 h 369053"/>
                  <a:gd name="connsiteX398" fmla="*/ 90215 w 265732"/>
                  <a:gd name="connsiteY398" fmla="*/ 225002 h 369053"/>
                  <a:gd name="connsiteX399" fmla="*/ 91409 w 265732"/>
                  <a:gd name="connsiteY399" fmla="*/ 221706 h 369053"/>
                  <a:gd name="connsiteX400" fmla="*/ 96020 w 265732"/>
                  <a:gd name="connsiteY400" fmla="*/ 217312 h 369053"/>
                  <a:gd name="connsiteX401" fmla="*/ 97421 w 265732"/>
                  <a:gd name="connsiteY401" fmla="*/ 216749 h 369053"/>
                  <a:gd name="connsiteX402" fmla="*/ 99576 w 265732"/>
                  <a:gd name="connsiteY402" fmla="*/ 212779 h 369053"/>
                  <a:gd name="connsiteX403" fmla="*/ 105238 w 265732"/>
                  <a:gd name="connsiteY403" fmla="*/ 208180 h 369053"/>
                  <a:gd name="connsiteX404" fmla="*/ 108827 w 265732"/>
                  <a:gd name="connsiteY404" fmla="*/ 202302 h 369053"/>
                  <a:gd name="connsiteX405" fmla="*/ 110807 w 265732"/>
                  <a:gd name="connsiteY405" fmla="*/ 200210 h 369053"/>
                  <a:gd name="connsiteX406" fmla="*/ 111420 w 265732"/>
                  <a:gd name="connsiteY406" fmla="*/ 197980 h 369053"/>
                  <a:gd name="connsiteX407" fmla="*/ 113625 w 265732"/>
                  <a:gd name="connsiteY407" fmla="*/ 197791 h 369053"/>
                  <a:gd name="connsiteX408" fmla="*/ 115614 w 265732"/>
                  <a:gd name="connsiteY408" fmla="*/ 196151 h 369053"/>
                  <a:gd name="connsiteX409" fmla="*/ 119917 w 265732"/>
                  <a:gd name="connsiteY409" fmla="*/ 195007 h 369053"/>
                  <a:gd name="connsiteX410" fmla="*/ 124165 w 265732"/>
                  <a:gd name="connsiteY410" fmla="*/ 195324 h 369053"/>
                  <a:gd name="connsiteX411" fmla="*/ 125934 w 265732"/>
                  <a:gd name="connsiteY411" fmla="*/ 196102 h 369053"/>
                  <a:gd name="connsiteX412" fmla="*/ 127568 w 265732"/>
                  <a:gd name="connsiteY412" fmla="*/ 195855 h 369053"/>
                  <a:gd name="connsiteX413" fmla="*/ 127404 w 265732"/>
                  <a:gd name="connsiteY413" fmla="*/ 193846 h 369053"/>
                  <a:gd name="connsiteX414" fmla="*/ 126238 w 265732"/>
                  <a:gd name="connsiteY414" fmla="*/ 192604 h 369053"/>
                  <a:gd name="connsiteX415" fmla="*/ 127190 w 265732"/>
                  <a:gd name="connsiteY415" fmla="*/ 191411 h 369053"/>
                  <a:gd name="connsiteX416" fmla="*/ 129436 w 265732"/>
                  <a:gd name="connsiteY416" fmla="*/ 190506 h 369053"/>
                  <a:gd name="connsiteX417" fmla="*/ 129207 w 265732"/>
                  <a:gd name="connsiteY417" fmla="*/ 188505 h 369053"/>
                  <a:gd name="connsiteX418" fmla="*/ 128719 w 265732"/>
                  <a:gd name="connsiteY418" fmla="*/ 187300 h 369053"/>
                  <a:gd name="connsiteX419" fmla="*/ 126853 w 265732"/>
                  <a:gd name="connsiteY419" fmla="*/ 185694 h 369053"/>
                  <a:gd name="connsiteX420" fmla="*/ 127782 w 265732"/>
                  <a:gd name="connsiteY420" fmla="*/ 182092 h 369053"/>
                  <a:gd name="connsiteX421" fmla="*/ 128004 w 265732"/>
                  <a:gd name="connsiteY421" fmla="*/ 178137 h 369053"/>
                  <a:gd name="connsiteX422" fmla="*/ 128888 w 265732"/>
                  <a:gd name="connsiteY422" fmla="*/ 173559 h 369053"/>
                  <a:gd name="connsiteX423" fmla="*/ 126542 w 265732"/>
                  <a:gd name="connsiteY423" fmla="*/ 171129 h 369053"/>
                  <a:gd name="connsiteX424" fmla="*/ 117644 w 265732"/>
                  <a:gd name="connsiteY424" fmla="*/ 166987 h 369053"/>
                  <a:gd name="connsiteX425" fmla="*/ 115983 w 265732"/>
                  <a:gd name="connsiteY425" fmla="*/ 167131 h 369053"/>
                  <a:gd name="connsiteX426" fmla="*/ 114007 w 265732"/>
                  <a:gd name="connsiteY426" fmla="*/ 166611 h 369053"/>
                  <a:gd name="connsiteX427" fmla="*/ 111943 w 265732"/>
                  <a:gd name="connsiteY427" fmla="*/ 163467 h 369053"/>
                  <a:gd name="connsiteX428" fmla="*/ 112865 w 265732"/>
                  <a:gd name="connsiteY428" fmla="*/ 160750 h 369053"/>
                  <a:gd name="connsiteX429" fmla="*/ 112971 w 265732"/>
                  <a:gd name="connsiteY429" fmla="*/ 159748 h 369053"/>
                  <a:gd name="connsiteX430" fmla="*/ 112165 w 265732"/>
                  <a:gd name="connsiteY430" fmla="*/ 159778 h 369053"/>
                  <a:gd name="connsiteX431" fmla="*/ 110861 w 265732"/>
                  <a:gd name="connsiteY431" fmla="*/ 161103 h 369053"/>
                  <a:gd name="connsiteX432" fmla="*/ 108023 w 265732"/>
                  <a:gd name="connsiteY432" fmla="*/ 162617 h 369053"/>
                  <a:gd name="connsiteX433" fmla="*/ 104335 w 265732"/>
                  <a:gd name="connsiteY433" fmla="*/ 161455 h 369053"/>
                  <a:gd name="connsiteX434" fmla="*/ 102521 w 265732"/>
                  <a:gd name="connsiteY434" fmla="*/ 161713 h 369053"/>
                  <a:gd name="connsiteX435" fmla="*/ 100168 w 265732"/>
                  <a:gd name="connsiteY435" fmla="*/ 154976 h 369053"/>
                  <a:gd name="connsiteX436" fmla="*/ 98965 w 265732"/>
                  <a:gd name="connsiteY436" fmla="*/ 152396 h 369053"/>
                  <a:gd name="connsiteX437" fmla="*/ 97035 w 265732"/>
                  <a:gd name="connsiteY437" fmla="*/ 149175 h 369053"/>
                  <a:gd name="connsiteX438" fmla="*/ 93588 w 265732"/>
                  <a:gd name="connsiteY438" fmla="*/ 147600 h 369053"/>
                  <a:gd name="connsiteX439" fmla="*/ 92914 w 265732"/>
                  <a:gd name="connsiteY439" fmla="*/ 146709 h 369053"/>
                  <a:gd name="connsiteX440" fmla="*/ 92457 w 265732"/>
                  <a:gd name="connsiteY440" fmla="*/ 145343 h 369053"/>
                  <a:gd name="connsiteX441" fmla="*/ 92307 w 265732"/>
                  <a:gd name="connsiteY441" fmla="*/ 143444 h 369053"/>
                  <a:gd name="connsiteX442" fmla="*/ 91871 w 265732"/>
                  <a:gd name="connsiteY442" fmla="*/ 140631 h 369053"/>
                  <a:gd name="connsiteX443" fmla="*/ 92053 w 265732"/>
                  <a:gd name="connsiteY443" fmla="*/ 138321 h 369053"/>
                  <a:gd name="connsiteX444" fmla="*/ 92476 w 265732"/>
                  <a:gd name="connsiteY444" fmla="*/ 136943 h 369053"/>
                  <a:gd name="connsiteX445" fmla="*/ 93961 w 265732"/>
                  <a:gd name="connsiteY445" fmla="*/ 136017 h 369053"/>
                  <a:gd name="connsiteX446" fmla="*/ 96110 w 265732"/>
                  <a:gd name="connsiteY446" fmla="*/ 133403 h 369053"/>
                  <a:gd name="connsiteX447" fmla="*/ 96559 w 265732"/>
                  <a:gd name="connsiteY447" fmla="*/ 131501 h 369053"/>
                  <a:gd name="connsiteX448" fmla="*/ 96743 w 265732"/>
                  <a:gd name="connsiteY448" fmla="*/ 128581 h 369053"/>
                  <a:gd name="connsiteX449" fmla="*/ 97732 w 265732"/>
                  <a:gd name="connsiteY449" fmla="*/ 126028 h 369053"/>
                  <a:gd name="connsiteX450" fmla="*/ 98831 w 265732"/>
                  <a:gd name="connsiteY450" fmla="*/ 124736 h 369053"/>
                  <a:gd name="connsiteX451" fmla="*/ 98555 w 265732"/>
                  <a:gd name="connsiteY451" fmla="*/ 123708 h 369053"/>
                  <a:gd name="connsiteX452" fmla="*/ 97797 w 265732"/>
                  <a:gd name="connsiteY452" fmla="*/ 122236 h 369053"/>
                  <a:gd name="connsiteX453" fmla="*/ 96194 w 265732"/>
                  <a:gd name="connsiteY453" fmla="*/ 120145 h 369053"/>
                  <a:gd name="connsiteX454" fmla="*/ 93754 w 265732"/>
                  <a:gd name="connsiteY454" fmla="*/ 117593 h 369053"/>
                  <a:gd name="connsiteX455" fmla="*/ 91949 w 265732"/>
                  <a:gd name="connsiteY455" fmla="*/ 115149 h 369053"/>
                  <a:gd name="connsiteX456" fmla="*/ 91157 w 265732"/>
                  <a:gd name="connsiteY456" fmla="*/ 112862 h 369053"/>
                  <a:gd name="connsiteX457" fmla="*/ 90749 w 265732"/>
                  <a:gd name="connsiteY457" fmla="*/ 110816 h 369053"/>
                  <a:gd name="connsiteX458" fmla="*/ 90815 w 265732"/>
                  <a:gd name="connsiteY458" fmla="*/ 108953 h 369053"/>
                  <a:gd name="connsiteX459" fmla="*/ 91491 w 265732"/>
                  <a:gd name="connsiteY459" fmla="*/ 107684 h 369053"/>
                  <a:gd name="connsiteX460" fmla="*/ 93798 w 265732"/>
                  <a:gd name="connsiteY460" fmla="*/ 106085 h 369053"/>
                  <a:gd name="connsiteX461" fmla="*/ 94106 w 265732"/>
                  <a:gd name="connsiteY461" fmla="*/ 105406 h 369053"/>
                  <a:gd name="connsiteX462" fmla="*/ 93193 w 265732"/>
                  <a:gd name="connsiteY462" fmla="*/ 101868 h 369053"/>
                  <a:gd name="connsiteX463" fmla="*/ 91584 w 265732"/>
                  <a:gd name="connsiteY463" fmla="*/ 101223 h 369053"/>
                  <a:gd name="connsiteX464" fmla="*/ 88848 w 265732"/>
                  <a:gd name="connsiteY464" fmla="*/ 100880 h 369053"/>
                  <a:gd name="connsiteX465" fmla="*/ 87322 w 265732"/>
                  <a:gd name="connsiteY465" fmla="*/ 100851 h 369053"/>
                  <a:gd name="connsiteX466" fmla="*/ 87030 w 265732"/>
                  <a:gd name="connsiteY466" fmla="*/ 100464 h 369053"/>
                  <a:gd name="connsiteX467" fmla="*/ 86955 w 265732"/>
                  <a:gd name="connsiteY467" fmla="*/ 99751 h 369053"/>
                  <a:gd name="connsiteX468" fmla="*/ 87263 w 265732"/>
                  <a:gd name="connsiteY468" fmla="*/ 98297 h 369053"/>
                  <a:gd name="connsiteX469" fmla="*/ 88127 w 265732"/>
                  <a:gd name="connsiteY469" fmla="*/ 96629 h 369053"/>
                  <a:gd name="connsiteX470" fmla="*/ 88846 w 265732"/>
                  <a:gd name="connsiteY470" fmla="*/ 95566 h 369053"/>
                  <a:gd name="connsiteX471" fmla="*/ 88941 w 265732"/>
                  <a:gd name="connsiteY471" fmla="*/ 94664 h 369053"/>
                  <a:gd name="connsiteX472" fmla="*/ 88032 w 265732"/>
                  <a:gd name="connsiteY472" fmla="*/ 91575 h 369053"/>
                  <a:gd name="connsiteX473" fmla="*/ 87758 w 265732"/>
                  <a:gd name="connsiteY473" fmla="*/ 87780 h 369053"/>
                  <a:gd name="connsiteX474" fmla="*/ 88069 w 265732"/>
                  <a:gd name="connsiteY474" fmla="*/ 84803 h 369053"/>
                  <a:gd name="connsiteX475" fmla="*/ 90967 w 265732"/>
                  <a:gd name="connsiteY475" fmla="*/ 82604 h 369053"/>
                  <a:gd name="connsiteX476" fmla="*/ 91098 w 265732"/>
                  <a:gd name="connsiteY476" fmla="*/ 81800 h 369053"/>
                  <a:gd name="connsiteX477" fmla="*/ 87458 w 265732"/>
                  <a:gd name="connsiteY477" fmla="*/ 79410 h 369053"/>
                  <a:gd name="connsiteX478" fmla="*/ 84832 w 265732"/>
                  <a:gd name="connsiteY478" fmla="*/ 76697 h 369053"/>
                  <a:gd name="connsiteX479" fmla="*/ 84016 w 265732"/>
                  <a:gd name="connsiteY479" fmla="*/ 75112 h 369053"/>
                  <a:gd name="connsiteX480" fmla="*/ 81007 w 265732"/>
                  <a:gd name="connsiteY480" fmla="*/ 74872 h 369053"/>
                  <a:gd name="connsiteX481" fmla="*/ 79135 w 265732"/>
                  <a:gd name="connsiteY481" fmla="*/ 70260 h 369053"/>
                  <a:gd name="connsiteX482" fmla="*/ 76427 w 265732"/>
                  <a:gd name="connsiteY482" fmla="*/ 68010 h 369053"/>
                  <a:gd name="connsiteX483" fmla="*/ 73745 w 265732"/>
                  <a:gd name="connsiteY483" fmla="*/ 66065 h 369053"/>
                  <a:gd name="connsiteX484" fmla="*/ 72160 w 265732"/>
                  <a:gd name="connsiteY484" fmla="*/ 65159 h 369053"/>
                  <a:gd name="connsiteX485" fmla="*/ 62866 w 265732"/>
                  <a:gd name="connsiteY485" fmla="*/ 62360 h 369053"/>
                  <a:gd name="connsiteX486" fmla="*/ 59174 w 265732"/>
                  <a:gd name="connsiteY486" fmla="*/ 61827 h 369053"/>
                  <a:gd name="connsiteX487" fmla="*/ 54803 w 265732"/>
                  <a:gd name="connsiteY487" fmla="*/ 60192 h 369053"/>
                  <a:gd name="connsiteX488" fmla="*/ 51547 w 265732"/>
                  <a:gd name="connsiteY488" fmla="*/ 58137 h 369053"/>
                  <a:gd name="connsiteX489" fmla="*/ 48757 w 265732"/>
                  <a:gd name="connsiteY489" fmla="*/ 56814 h 369053"/>
                  <a:gd name="connsiteX490" fmla="*/ 46369 w 265732"/>
                  <a:gd name="connsiteY490" fmla="*/ 55182 h 369053"/>
                  <a:gd name="connsiteX491" fmla="*/ 43039 w 265732"/>
                  <a:gd name="connsiteY491" fmla="*/ 53654 h 369053"/>
                  <a:gd name="connsiteX492" fmla="*/ 42087 w 265732"/>
                  <a:gd name="connsiteY492" fmla="*/ 52347 h 369053"/>
                  <a:gd name="connsiteX493" fmla="*/ 38491 w 265732"/>
                  <a:gd name="connsiteY493" fmla="*/ 49924 h 369053"/>
                  <a:gd name="connsiteX494" fmla="*/ 36803 w 265732"/>
                  <a:gd name="connsiteY494" fmla="*/ 48328 h 369053"/>
                  <a:gd name="connsiteX495" fmla="*/ 30946 w 265732"/>
                  <a:gd name="connsiteY495" fmla="*/ 45309 h 369053"/>
                  <a:gd name="connsiteX496" fmla="*/ 30735 w 265732"/>
                  <a:gd name="connsiteY496" fmla="*/ 44117 h 369053"/>
                  <a:gd name="connsiteX497" fmla="*/ 30692 w 265732"/>
                  <a:gd name="connsiteY497" fmla="*/ 42966 h 369053"/>
                  <a:gd name="connsiteX498" fmla="*/ 30428 w 265732"/>
                  <a:gd name="connsiteY498" fmla="*/ 42488 h 369053"/>
                  <a:gd name="connsiteX499" fmla="*/ 24392 w 265732"/>
                  <a:gd name="connsiteY499" fmla="*/ 40278 h 369053"/>
                  <a:gd name="connsiteX500" fmla="*/ 25580 w 265732"/>
                  <a:gd name="connsiteY500" fmla="*/ 39013 h 369053"/>
                  <a:gd name="connsiteX501" fmla="*/ 30299 w 265732"/>
                  <a:gd name="connsiteY501" fmla="*/ 38937 h 369053"/>
                  <a:gd name="connsiteX502" fmla="*/ 34201 w 265732"/>
                  <a:gd name="connsiteY502" fmla="*/ 40088 h 369053"/>
                  <a:gd name="connsiteX503" fmla="*/ 35058 w 265732"/>
                  <a:gd name="connsiteY503" fmla="*/ 39596 h 369053"/>
                  <a:gd name="connsiteX504" fmla="*/ 35574 w 265732"/>
                  <a:gd name="connsiteY504" fmla="*/ 38573 h 369053"/>
                  <a:gd name="connsiteX505" fmla="*/ 33911 w 265732"/>
                  <a:gd name="connsiteY505" fmla="*/ 34464 h 369053"/>
                  <a:gd name="connsiteX506" fmla="*/ 34209 w 265732"/>
                  <a:gd name="connsiteY506" fmla="*/ 33393 h 369053"/>
                  <a:gd name="connsiteX507" fmla="*/ 35926 w 265732"/>
                  <a:gd name="connsiteY507" fmla="*/ 32102 h 369053"/>
                  <a:gd name="connsiteX508" fmla="*/ 38647 w 265732"/>
                  <a:gd name="connsiteY508" fmla="*/ 31074 h 369053"/>
                  <a:gd name="connsiteX509" fmla="*/ 42946 w 265732"/>
                  <a:gd name="connsiteY509" fmla="*/ 30925 h 369053"/>
                  <a:gd name="connsiteX510" fmla="*/ 45876 w 265732"/>
                  <a:gd name="connsiteY510" fmla="*/ 31077 h 369053"/>
                  <a:gd name="connsiteX511" fmla="*/ 46496 w 265732"/>
                  <a:gd name="connsiteY511" fmla="*/ 31189 h 369053"/>
                  <a:gd name="connsiteX512" fmla="*/ 50873 w 265732"/>
                  <a:gd name="connsiteY512" fmla="*/ 35711 h 369053"/>
                  <a:gd name="connsiteX513" fmla="*/ 54626 w 265732"/>
                  <a:gd name="connsiteY513" fmla="*/ 40113 h 369053"/>
                  <a:gd name="connsiteX514" fmla="*/ 56622 w 265732"/>
                  <a:gd name="connsiteY514" fmla="*/ 41986 h 369053"/>
                  <a:gd name="connsiteX515" fmla="*/ 61502 w 265732"/>
                  <a:gd name="connsiteY515" fmla="*/ 47283 h 369053"/>
                  <a:gd name="connsiteX516" fmla="*/ 63327 w 265732"/>
                  <a:gd name="connsiteY516" fmla="*/ 50342 h 369053"/>
                  <a:gd name="connsiteX517" fmla="*/ 63946 w 265732"/>
                  <a:gd name="connsiteY517" fmla="*/ 52530 h 369053"/>
                  <a:gd name="connsiteX518" fmla="*/ 65931 w 265732"/>
                  <a:gd name="connsiteY518" fmla="*/ 52516 h 369053"/>
                  <a:gd name="connsiteX519" fmla="*/ 72793 w 265732"/>
                  <a:gd name="connsiteY519" fmla="*/ 53475 h 369053"/>
                  <a:gd name="connsiteX520" fmla="*/ 78557 w 265732"/>
                  <a:gd name="connsiteY520" fmla="*/ 54282 h 369053"/>
                  <a:gd name="connsiteX521" fmla="*/ 80163 w 265732"/>
                  <a:gd name="connsiteY521" fmla="*/ 55505 h 369053"/>
                  <a:gd name="connsiteX522" fmla="*/ 84137 w 265732"/>
                  <a:gd name="connsiteY522" fmla="*/ 55259 h 369053"/>
                  <a:gd name="connsiteX523" fmla="*/ 87198 w 265732"/>
                  <a:gd name="connsiteY523" fmla="*/ 54156 h 369053"/>
                  <a:gd name="connsiteX524" fmla="*/ 92605 w 265732"/>
                  <a:gd name="connsiteY524" fmla="*/ 52761 h 369053"/>
                  <a:gd name="connsiteX525" fmla="*/ 94055 w 265732"/>
                  <a:gd name="connsiteY525" fmla="*/ 51044 h 369053"/>
                  <a:gd name="connsiteX526" fmla="*/ 95855 w 265732"/>
                  <a:gd name="connsiteY526" fmla="*/ 49212 h 369053"/>
                  <a:gd name="connsiteX527" fmla="*/ 99026 w 265732"/>
                  <a:gd name="connsiteY527" fmla="*/ 49500 h 369053"/>
                  <a:gd name="connsiteX528" fmla="*/ 102491 w 265732"/>
                  <a:gd name="connsiteY528" fmla="*/ 50949 h 369053"/>
                  <a:gd name="connsiteX529" fmla="*/ 106425 w 265732"/>
                  <a:gd name="connsiteY529" fmla="*/ 52851 h 369053"/>
                  <a:gd name="connsiteX530" fmla="*/ 109930 w 265732"/>
                  <a:gd name="connsiteY530" fmla="*/ 53731 h 369053"/>
                  <a:gd name="connsiteX531" fmla="*/ 114633 w 265732"/>
                  <a:gd name="connsiteY531" fmla="*/ 55111 h 369053"/>
                  <a:gd name="connsiteX532" fmla="*/ 116827 w 265732"/>
                  <a:gd name="connsiteY532" fmla="*/ 56893 h 369053"/>
                  <a:gd name="connsiteX533" fmla="*/ 119900 w 265732"/>
                  <a:gd name="connsiteY533" fmla="*/ 57401 h 369053"/>
                  <a:gd name="connsiteX534" fmla="*/ 123117 w 265732"/>
                  <a:gd name="connsiteY534" fmla="*/ 55620 h 369053"/>
                  <a:gd name="connsiteX535" fmla="*/ 125018 w 265732"/>
                  <a:gd name="connsiteY535" fmla="*/ 50779 h 369053"/>
                  <a:gd name="connsiteX536" fmla="*/ 126704 w 265732"/>
                  <a:gd name="connsiteY536" fmla="*/ 48616 h 369053"/>
                  <a:gd name="connsiteX537" fmla="*/ 129093 w 265732"/>
                  <a:gd name="connsiteY537" fmla="*/ 47028 h 369053"/>
                  <a:gd name="connsiteX538" fmla="*/ 131829 w 265732"/>
                  <a:gd name="connsiteY538" fmla="*/ 46327 h 369053"/>
                  <a:gd name="connsiteX539" fmla="*/ 133917 w 265732"/>
                  <a:gd name="connsiteY539" fmla="*/ 46073 h 369053"/>
                  <a:gd name="connsiteX540" fmla="*/ 135495 w 265732"/>
                  <a:gd name="connsiteY540" fmla="*/ 44837 h 369053"/>
                  <a:gd name="connsiteX541" fmla="*/ 137743 w 265732"/>
                  <a:gd name="connsiteY541" fmla="*/ 42089 h 369053"/>
                  <a:gd name="connsiteX542" fmla="*/ 138182 w 265732"/>
                  <a:gd name="connsiteY542" fmla="*/ 38755 h 369053"/>
                  <a:gd name="connsiteX543" fmla="*/ 137750 w 265732"/>
                  <a:gd name="connsiteY543" fmla="*/ 32718 h 369053"/>
                  <a:gd name="connsiteX544" fmla="*/ 138160 w 265732"/>
                  <a:gd name="connsiteY544" fmla="*/ 30723 h 369053"/>
                  <a:gd name="connsiteX545" fmla="*/ 139996 w 265732"/>
                  <a:gd name="connsiteY545" fmla="*/ 27454 h 369053"/>
                  <a:gd name="connsiteX546" fmla="*/ 142457 w 265732"/>
                  <a:gd name="connsiteY546" fmla="*/ 18764 h 369053"/>
                  <a:gd name="connsiteX547" fmla="*/ 143563 w 265732"/>
                  <a:gd name="connsiteY547" fmla="*/ 16253 h 369053"/>
                  <a:gd name="connsiteX548" fmla="*/ 144910 w 265732"/>
                  <a:gd name="connsiteY548" fmla="*/ 14724 h 369053"/>
                  <a:gd name="connsiteX549" fmla="*/ 146761 w 265732"/>
                  <a:gd name="connsiteY549" fmla="*/ 13814 h 369053"/>
                  <a:gd name="connsiteX550" fmla="*/ 150123 w 265732"/>
                  <a:gd name="connsiteY550" fmla="*/ 11169 h 369053"/>
                  <a:gd name="connsiteX551" fmla="*/ 154925 w 265732"/>
                  <a:gd name="connsiteY551" fmla="*/ 5923 h 369053"/>
                  <a:gd name="connsiteX552" fmla="*/ 156227 w 265732"/>
                  <a:gd name="connsiteY552" fmla="*/ 5477 h 369053"/>
                  <a:gd name="connsiteX553" fmla="*/ 159676 w 265732"/>
                  <a:gd name="connsiteY553" fmla="*/ 5211 h 369053"/>
                  <a:gd name="connsiteX554" fmla="*/ 163967 w 265732"/>
                  <a:gd name="connsiteY554" fmla="*/ 5406 h 369053"/>
                  <a:gd name="connsiteX555" fmla="*/ 167823 w 265732"/>
                  <a:gd name="connsiteY555" fmla="*/ 6331 h 369053"/>
                  <a:gd name="connsiteX556" fmla="*/ 168240 w 265732"/>
                  <a:gd name="connsiteY556" fmla="*/ 6260 h 369053"/>
                  <a:gd name="connsiteX557" fmla="*/ 169968 w 265732"/>
                  <a:gd name="connsiteY557" fmla="*/ 5778 h 369053"/>
                  <a:gd name="connsiteX558" fmla="*/ 173116 w 265732"/>
                  <a:gd name="connsiteY558" fmla="*/ 4145 h 369053"/>
                  <a:gd name="connsiteX559" fmla="*/ 178504 w 265732"/>
                  <a:gd name="connsiteY559" fmla="*/ 895 h 369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</a:cxnLst>
                <a:rect l="l" t="t" r="r" b="b"/>
                <a:pathLst>
                  <a:path w="265732" h="369053">
                    <a:moveTo>
                      <a:pt x="21473" y="360506"/>
                    </a:moveTo>
                    <a:lnTo>
                      <a:pt x="23220" y="360680"/>
                    </a:lnTo>
                    <a:lnTo>
                      <a:pt x="24153" y="361638"/>
                    </a:lnTo>
                    <a:lnTo>
                      <a:pt x="23978" y="362422"/>
                    </a:lnTo>
                    <a:lnTo>
                      <a:pt x="22173" y="362597"/>
                    </a:lnTo>
                    <a:lnTo>
                      <a:pt x="21415" y="361899"/>
                    </a:lnTo>
                    <a:lnTo>
                      <a:pt x="19728" y="361986"/>
                    </a:lnTo>
                    <a:lnTo>
                      <a:pt x="19435" y="361638"/>
                    </a:lnTo>
                    <a:lnTo>
                      <a:pt x="20134" y="360942"/>
                    </a:lnTo>
                    <a:close/>
                    <a:moveTo>
                      <a:pt x="45306" y="357280"/>
                    </a:moveTo>
                    <a:lnTo>
                      <a:pt x="46768" y="357390"/>
                    </a:lnTo>
                    <a:lnTo>
                      <a:pt x="47079" y="358322"/>
                    </a:lnTo>
                    <a:lnTo>
                      <a:pt x="46641" y="359417"/>
                    </a:lnTo>
                    <a:lnTo>
                      <a:pt x="44702" y="359744"/>
                    </a:lnTo>
                    <a:lnTo>
                      <a:pt x="43494" y="358787"/>
                    </a:lnTo>
                    <a:lnTo>
                      <a:pt x="43953" y="358075"/>
                    </a:lnTo>
                    <a:close/>
                    <a:moveTo>
                      <a:pt x="51860" y="356303"/>
                    </a:moveTo>
                    <a:lnTo>
                      <a:pt x="51171" y="358333"/>
                    </a:lnTo>
                    <a:lnTo>
                      <a:pt x="48958" y="359471"/>
                    </a:lnTo>
                    <a:lnTo>
                      <a:pt x="48115" y="359200"/>
                    </a:lnTo>
                    <a:lnTo>
                      <a:pt x="48332" y="357280"/>
                    </a:lnTo>
                    <a:lnTo>
                      <a:pt x="49647" y="356401"/>
                    </a:lnTo>
                    <a:close/>
                    <a:moveTo>
                      <a:pt x="2428" y="354834"/>
                    </a:moveTo>
                    <a:lnTo>
                      <a:pt x="3168" y="356788"/>
                    </a:lnTo>
                    <a:lnTo>
                      <a:pt x="3283" y="357531"/>
                    </a:lnTo>
                    <a:lnTo>
                      <a:pt x="2436" y="357345"/>
                    </a:lnTo>
                    <a:lnTo>
                      <a:pt x="1786" y="357599"/>
                    </a:lnTo>
                    <a:lnTo>
                      <a:pt x="1345" y="358514"/>
                    </a:lnTo>
                    <a:lnTo>
                      <a:pt x="387" y="358186"/>
                    </a:lnTo>
                    <a:lnTo>
                      <a:pt x="0" y="356874"/>
                    </a:lnTo>
                    <a:lnTo>
                      <a:pt x="715" y="354909"/>
                    </a:lnTo>
                    <a:close/>
                    <a:moveTo>
                      <a:pt x="58731" y="350695"/>
                    </a:moveTo>
                    <a:lnTo>
                      <a:pt x="61532" y="351466"/>
                    </a:lnTo>
                    <a:lnTo>
                      <a:pt x="62709" y="351190"/>
                    </a:lnTo>
                    <a:lnTo>
                      <a:pt x="64047" y="352933"/>
                    </a:lnTo>
                    <a:lnTo>
                      <a:pt x="61778" y="354042"/>
                    </a:lnTo>
                    <a:lnTo>
                      <a:pt x="61620" y="355416"/>
                    </a:lnTo>
                    <a:lnTo>
                      <a:pt x="62517" y="356269"/>
                    </a:lnTo>
                    <a:lnTo>
                      <a:pt x="62832" y="357503"/>
                    </a:lnTo>
                    <a:lnTo>
                      <a:pt x="60571" y="357502"/>
                    </a:lnTo>
                    <a:lnTo>
                      <a:pt x="59489" y="356463"/>
                    </a:lnTo>
                    <a:lnTo>
                      <a:pt x="59018" y="355144"/>
                    </a:lnTo>
                    <a:lnTo>
                      <a:pt x="57967" y="354210"/>
                    </a:lnTo>
                    <a:lnTo>
                      <a:pt x="56565" y="353499"/>
                    </a:lnTo>
                    <a:lnTo>
                      <a:pt x="57252" y="352551"/>
                    </a:lnTo>
                    <a:lnTo>
                      <a:pt x="57643" y="351190"/>
                    </a:lnTo>
                    <a:close/>
                    <a:moveTo>
                      <a:pt x="8165" y="349529"/>
                    </a:moveTo>
                    <a:lnTo>
                      <a:pt x="9409" y="351135"/>
                    </a:lnTo>
                    <a:lnTo>
                      <a:pt x="10404" y="351345"/>
                    </a:lnTo>
                    <a:lnTo>
                      <a:pt x="11082" y="351355"/>
                    </a:lnTo>
                    <a:lnTo>
                      <a:pt x="11384" y="351075"/>
                    </a:lnTo>
                    <a:lnTo>
                      <a:pt x="12568" y="351271"/>
                    </a:lnTo>
                    <a:lnTo>
                      <a:pt x="14347" y="352557"/>
                    </a:lnTo>
                    <a:lnTo>
                      <a:pt x="14705" y="353253"/>
                    </a:lnTo>
                    <a:lnTo>
                      <a:pt x="15932" y="353609"/>
                    </a:lnTo>
                    <a:lnTo>
                      <a:pt x="16360" y="354330"/>
                    </a:lnTo>
                    <a:lnTo>
                      <a:pt x="14941" y="356576"/>
                    </a:lnTo>
                    <a:lnTo>
                      <a:pt x="14064" y="356618"/>
                    </a:lnTo>
                    <a:lnTo>
                      <a:pt x="13410" y="356334"/>
                    </a:lnTo>
                    <a:lnTo>
                      <a:pt x="12255" y="356579"/>
                    </a:lnTo>
                    <a:lnTo>
                      <a:pt x="11577" y="357004"/>
                    </a:lnTo>
                    <a:lnTo>
                      <a:pt x="11350" y="357937"/>
                    </a:lnTo>
                    <a:lnTo>
                      <a:pt x="11387" y="359888"/>
                    </a:lnTo>
                    <a:lnTo>
                      <a:pt x="6208" y="360279"/>
                    </a:lnTo>
                    <a:lnTo>
                      <a:pt x="5018" y="359709"/>
                    </a:lnTo>
                    <a:lnTo>
                      <a:pt x="3388" y="355268"/>
                    </a:lnTo>
                    <a:lnTo>
                      <a:pt x="3712" y="354120"/>
                    </a:lnTo>
                    <a:lnTo>
                      <a:pt x="4809" y="353630"/>
                    </a:lnTo>
                    <a:lnTo>
                      <a:pt x="5749" y="353525"/>
                    </a:lnTo>
                    <a:lnTo>
                      <a:pt x="5887" y="355919"/>
                    </a:lnTo>
                    <a:lnTo>
                      <a:pt x="7266" y="355681"/>
                    </a:lnTo>
                    <a:lnTo>
                      <a:pt x="7699" y="354103"/>
                    </a:lnTo>
                    <a:lnTo>
                      <a:pt x="7795" y="352992"/>
                    </a:lnTo>
                    <a:lnTo>
                      <a:pt x="7422" y="352431"/>
                    </a:lnTo>
                    <a:lnTo>
                      <a:pt x="6485" y="351996"/>
                    </a:lnTo>
                    <a:lnTo>
                      <a:pt x="5943" y="351250"/>
                    </a:lnTo>
                    <a:lnTo>
                      <a:pt x="6722" y="350049"/>
                    </a:lnTo>
                    <a:close/>
                    <a:moveTo>
                      <a:pt x="51039" y="347396"/>
                    </a:moveTo>
                    <a:lnTo>
                      <a:pt x="52799" y="348443"/>
                    </a:lnTo>
                    <a:lnTo>
                      <a:pt x="53760" y="349666"/>
                    </a:lnTo>
                    <a:lnTo>
                      <a:pt x="52821" y="349950"/>
                    </a:lnTo>
                    <a:lnTo>
                      <a:pt x="54412" y="351211"/>
                    </a:lnTo>
                    <a:lnTo>
                      <a:pt x="54732" y="351827"/>
                    </a:lnTo>
                    <a:lnTo>
                      <a:pt x="53123" y="351973"/>
                    </a:lnTo>
                    <a:lnTo>
                      <a:pt x="50849" y="350326"/>
                    </a:lnTo>
                    <a:lnTo>
                      <a:pt x="50562" y="349682"/>
                    </a:lnTo>
                    <a:lnTo>
                      <a:pt x="51454" y="349308"/>
                    </a:lnTo>
                    <a:lnTo>
                      <a:pt x="50865" y="347983"/>
                    </a:lnTo>
                    <a:close/>
                    <a:moveTo>
                      <a:pt x="38675" y="341784"/>
                    </a:moveTo>
                    <a:lnTo>
                      <a:pt x="39409" y="343210"/>
                    </a:lnTo>
                    <a:lnTo>
                      <a:pt x="42717" y="345409"/>
                    </a:lnTo>
                    <a:lnTo>
                      <a:pt x="42408" y="346959"/>
                    </a:lnTo>
                    <a:lnTo>
                      <a:pt x="40908" y="346787"/>
                    </a:lnTo>
                    <a:lnTo>
                      <a:pt x="39381" y="347068"/>
                    </a:lnTo>
                    <a:lnTo>
                      <a:pt x="38150" y="345529"/>
                    </a:lnTo>
                    <a:lnTo>
                      <a:pt x="37491" y="342933"/>
                    </a:lnTo>
                    <a:lnTo>
                      <a:pt x="37716" y="342374"/>
                    </a:lnTo>
                    <a:close/>
                    <a:moveTo>
                      <a:pt x="37973" y="251776"/>
                    </a:moveTo>
                    <a:lnTo>
                      <a:pt x="37651" y="252424"/>
                    </a:lnTo>
                    <a:lnTo>
                      <a:pt x="37563" y="253045"/>
                    </a:lnTo>
                    <a:lnTo>
                      <a:pt x="37800" y="253695"/>
                    </a:lnTo>
                    <a:lnTo>
                      <a:pt x="39096" y="253516"/>
                    </a:lnTo>
                    <a:lnTo>
                      <a:pt x="40841" y="252332"/>
                    </a:lnTo>
                    <a:lnTo>
                      <a:pt x="42078" y="252885"/>
                    </a:lnTo>
                    <a:lnTo>
                      <a:pt x="41938" y="254575"/>
                    </a:lnTo>
                    <a:lnTo>
                      <a:pt x="41098" y="254511"/>
                    </a:lnTo>
                    <a:lnTo>
                      <a:pt x="40867" y="254232"/>
                    </a:lnTo>
                    <a:lnTo>
                      <a:pt x="39789" y="255197"/>
                    </a:lnTo>
                    <a:lnTo>
                      <a:pt x="39597" y="255781"/>
                    </a:lnTo>
                    <a:lnTo>
                      <a:pt x="38351" y="256154"/>
                    </a:lnTo>
                    <a:lnTo>
                      <a:pt x="36049" y="254502"/>
                    </a:lnTo>
                    <a:lnTo>
                      <a:pt x="34602" y="251783"/>
                    </a:lnTo>
                    <a:close/>
                    <a:moveTo>
                      <a:pt x="116464" y="187740"/>
                    </a:moveTo>
                    <a:lnTo>
                      <a:pt x="120546" y="188858"/>
                    </a:lnTo>
                    <a:lnTo>
                      <a:pt x="121142" y="189455"/>
                    </a:lnTo>
                    <a:lnTo>
                      <a:pt x="118803" y="189902"/>
                    </a:lnTo>
                    <a:lnTo>
                      <a:pt x="117840" y="191169"/>
                    </a:lnTo>
                    <a:lnTo>
                      <a:pt x="114539" y="192361"/>
                    </a:lnTo>
                    <a:lnTo>
                      <a:pt x="111878" y="191616"/>
                    </a:lnTo>
                    <a:lnTo>
                      <a:pt x="111832" y="189306"/>
                    </a:lnTo>
                    <a:lnTo>
                      <a:pt x="113482" y="188187"/>
                    </a:lnTo>
                    <a:close/>
                    <a:moveTo>
                      <a:pt x="181957" y="0"/>
                    </a:moveTo>
                    <a:lnTo>
                      <a:pt x="185099" y="126"/>
                    </a:lnTo>
                    <a:lnTo>
                      <a:pt x="188577" y="3686"/>
                    </a:lnTo>
                    <a:lnTo>
                      <a:pt x="193483" y="7643"/>
                    </a:lnTo>
                    <a:lnTo>
                      <a:pt x="196636" y="9562"/>
                    </a:lnTo>
                    <a:lnTo>
                      <a:pt x="205230" y="13154"/>
                    </a:lnTo>
                    <a:lnTo>
                      <a:pt x="212775" y="15515"/>
                    </a:lnTo>
                    <a:lnTo>
                      <a:pt x="217016" y="23292"/>
                    </a:lnTo>
                    <a:lnTo>
                      <a:pt x="214926" y="26382"/>
                    </a:lnTo>
                    <a:lnTo>
                      <a:pt x="213885" y="27446"/>
                    </a:lnTo>
                    <a:lnTo>
                      <a:pt x="210195" y="30516"/>
                    </a:lnTo>
                    <a:lnTo>
                      <a:pt x="206245" y="34840"/>
                    </a:lnTo>
                    <a:lnTo>
                      <a:pt x="205943" y="37090"/>
                    </a:lnTo>
                    <a:lnTo>
                      <a:pt x="207254" y="39357"/>
                    </a:lnTo>
                    <a:lnTo>
                      <a:pt x="208889" y="40855"/>
                    </a:lnTo>
                    <a:lnTo>
                      <a:pt x="207409" y="41332"/>
                    </a:lnTo>
                    <a:lnTo>
                      <a:pt x="202838" y="43215"/>
                    </a:lnTo>
                    <a:lnTo>
                      <a:pt x="200048" y="44485"/>
                    </a:lnTo>
                    <a:lnTo>
                      <a:pt x="196688" y="45416"/>
                    </a:lnTo>
                    <a:lnTo>
                      <a:pt x="197560" y="46649"/>
                    </a:lnTo>
                    <a:lnTo>
                      <a:pt x="203142" y="46910"/>
                    </a:lnTo>
                    <a:lnTo>
                      <a:pt x="204002" y="47260"/>
                    </a:lnTo>
                    <a:lnTo>
                      <a:pt x="204621" y="47894"/>
                    </a:lnTo>
                    <a:lnTo>
                      <a:pt x="204727" y="48907"/>
                    </a:lnTo>
                    <a:lnTo>
                      <a:pt x="204161" y="50542"/>
                    </a:lnTo>
                    <a:lnTo>
                      <a:pt x="198130" y="59538"/>
                    </a:lnTo>
                    <a:lnTo>
                      <a:pt x="197940" y="61428"/>
                    </a:lnTo>
                    <a:lnTo>
                      <a:pt x="199918" y="66676"/>
                    </a:lnTo>
                    <a:lnTo>
                      <a:pt x="202682" y="72845"/>
                    </a:lnTo>
                    <a:lnTo>
                      <a:pt x="211037" y="75582"/>
                    </a:lnTo>
                    <a:lnTo>
                      <a:pt x="217247" y="77717"/>
                    </a:lnTo>
                    <a:lnTo>
                      <a:pt x="221236" y="82760"/>
                    </a:lnTo>
                    <a:lnTo>
                      <a:pt x="227811" y="89390"/>
                    </a:lnTo>
                    <a:lnTo>
                      <a:pt x="231297" y="91862"/>
                    </a:lnTo>
                    <a:lnTo>
                      <a:pt x="231493" y="92629"/>
                    </a:lnTo>
                    <a:lnTo>
                      <a:pt x="230456" y="97183"/>
                    </a:lnTo>
                    <a:lnTo>
                      <a:pt x="226241" y="101735"/>
                    </a:lnTo>
                    <a:lnTo>
                      <a:pt x="222298" y="105565"/>
                    </a:lnTo>
                    <a:lnTo>
                      <a:pt x="218217" y="110170"/>
                    </a:lnTo>
                    <a:lnTo>
                      <a:pt x="215025" y="114087"/>
                    </a:lnTo>
                    <a:lnTo>
                      <a:pt x="211568" y="118772"/>
                    </a:lnTo>
                    <a:lnTo>
                      <a:pt x="211171" y="120288"/>
                    </a:lnTo>
                    <a:lnTo>
                      <a:pt x="211108" y="121719"/>
                    </a:lnTo>
                    <a:lnTo>
                      <a:pt x="211702" y="123300"/>
                    </a:lnTo>
                    <a:lnTo>
                      <a:pt x="216129" y="129002"/>
                    </a:lnTo>
                    <a:lnTo>
                      <a:pt x="217852" y="131908"/>
                    </a:lnTo>
                    <a:lnTo>
                      <a:pt x="219912" y="135045"/>
                    </a:lnTo>
                    <a:lnTo>
                      <a:pt x="221680" y="138458"/>
                    </a:lnTo>
                    <a:lnTo>
                      <a:pt x="222706" y="141510"/>
                    </a:lnTo>
                    <a:lnTo>
                      <a:pt x="224479" y="144480"/>
                    </a:lnTo>
                    <a:lnTo>
                      <a:pt x="225581" y="145996"/>
                    </a:lnTo>
                    <a:lnTo>
                      <a:pt x="227411" y="148118"/>
                    </a:lnTo>
                    <a:lnTo>
                      <a:pt x="229621" y="151271"/>
                    </a:lnTo>
                    <a:lnTo>
                      <a:pt x="230355" y="153765"/>
                    </a:lnTo>
                    <a:lnTo>
                      <a:pt x="233691" y="162396"/>
                    </a:lnTo>
                    <a:lnTo>
                      <a:pt x="234028" y="164590"/>
                    </a:lnTo>
                    <a:lnTo>
                      <a:pt x="233864" y="166212"/>
                    </a:lnTo>
                    <a:lnTo>
                      <a:pt x="232398" y="166611"/>
                    </a:lnTo>
                    <a:lnTo>
                      <a:pt x="229161" y="166869"/>
                    </a:lnTo>
                    <a:lnTo>
                      <a:pt x="225652" y="167931"/>
                    </a:lnTo>
                    <a:lnTo>
                      <a:pt x="225475" y="168288"/>
                    </a:lnTo>
                    <a:lnTo>
                      <a:pt x="227764" y="170314"/>
                    </a:lnTo>
                    <a:lnTo>
                      <a:pt x="225742" y="173770"/>
                    </a:lnTo>
                    <a:lnTo>
                      <a:pt x="225451" y="178707"/>
                    </a:lnTo>
                    <a:lnTo>
                      <a:pt x="223292" y="181294"/>
                    </a:lnTo>
                    <a:lnTo>
                      <a:pt x="223088" y="181895"/>
                    </a:lnTo>
                    <a:lnTo>
                      <a:pt x="223186" y="182397"/>
                    </a:lnTo>
                    <a:lnTo>
                      <a:pt x="223568" y="182789"/>
                    </a:lnTo>
                    <a:lnTo>
                      <a:pt x="227567" y="183479"/>
                    </a:lnTo>
                    <a:lnTo>
                      <a:pt x="227913" y="184180"/>
                    </a:lnTo>
                    <a:lnTo>
                      <a:pt x="227930" y="185629"/>
                    </a:lnTo>
                    <a:lnTo>
                      <a:pt x="227573" y="186967"/>
                    </a:lnTo>
                    <a:lnTo>
                      <a:pt x="225565" y="187959"/>
                    </a:lnTo>
                    <a:lnTo>
                      <a:pt x="223408" y="189427"/>
                    </a:lnTo>
                    <a:lnTo>
                      <a:pt x="222931" y="190776"/>
                    </a:lnTo>
                    <a:lnTo>
                      <a:pt x="223004" y="191980"/>
                    </a:lnTo>
                    <a:lnTo>
                      <a:pt x="223741" y="194013"/>
                    </a:lnTo>
                    <a:lnTo>
                      <a:pt x="225159" y="196379"/>
                    </a:lnTo>
                    <a:lnTo>
                      <a:pt x="226963" y="197863"/>
                    </a:lnTo>
                    <a:lnTo>
                      <a:pt x="233367" y="199267"/>
                    </a:lnTo>
                    <a:lnTo>
                      <a:pt x="234194" y="200428"/>
                    </a:lnTo>
                    <a:lnTo>
                      <a:pt x="234546" y="202018"/>
                    </a:lnTo>
                    <a:lnTo>
                      <a:pt x="234412" y="203569"/>
                    </a:lnTo>
                    <a:lnTo>
                      <a:pt x="231437" y="206669"/>
                    </a:lnTo>
                    <a:lnTo>
                      <a:pt x="231460" y="207860"/>
                    </a:lnTo>
                    <a:lnTo>
                      <a:pt x="232682" y="210740"/>
                    </a:lnTo>
                    <a:lnTo>
                      <a:pt x="234147" y="213485"/>
                    </a:lnTo>
                    <a:lnTo>
                      <a:pt x="240394" y="216455"/>
                    </a:lnTo>
                    <a:lnTo>
                      <a:pt x="242545" y="218082"/>
                    </a:lnTo>
                    <a:lnTo>
                      <a:pt x="243117" y="219376"/>
                    </a:lnTo>
                    <a:lnTo>
                      <a:pt x="243430" y="221460"/>
                    </a:lnTo>
                    <a:lnTo>
                      <a:pt x="243389" y="223717"/>
                    </a:lnTo>
                    <a:lnTo>
                      <a:pt x="242899" y="225719"/>
                    </a:lnTo>
                    <a:lnTo>
                      <a:pt x="240940" y="228298"/>
                    </a:lnTo>
                    <a:lnTo>
                      <a:pt x="236406" y="233375"/>
                    </a:lnTo>
                    <a:lnTo>
                      <a:pt x="231847" y="235344"/>
                    </a:lnTo>
                    <a:lnTo>
                      <a:pt x="231569" y="235771"/>
                    </a:lnTo>
                    <a:lnTo>
                      <a:pt x="232981" y="237391"/>
                    </a:lnTo>
                    <a:lnTo>
                      <a:pt x="241011" y="243873"/>
                    </a:lnTo>
                    <a:lnTo>
                      <a:pt x="246246" y="246900"/>
                    </a:lnTo>
                    <a:lnTo>
                      <a:pt x="253311" y="250978"/>
                    </a:lnTo>
                    <a:lnTo>
                      <a:pt x="257868" y="254194"/>
                    </a:lnTo>
                    <a:lnTo>
                      <a:pt x="259340" y="256505"/>
                    </a:lnTo>
                    <a:lnTo>
                      <a:pt x="261314" y="259071"/>
                    </a:lnTo>
                    <a:lnTo>
                      <a:pt x="263532" y="261166"/>
                    </a:lnTo>
                    <a:lnTo>
                      <a:pt x="265130" y="262982"/>
                    </a:lnTo>
                    <a:lnTo>
                      <a:pt x="265732" y="264150"/>
                    </a:lnTo>
                    <a:lnTo>
                      <a:pt x="265676" y="265405"/>
                    </a:lnTo>
                    <a:lnTo>
                      <a:pt x="263538" y="269185"/>
                    </a:lnTo>
                    <a:lnTo>
                      <a:pt x="262324" y="272102"/>
                    </a:lnTo>
                    <a:lnTo>
                      <a:pt x="260185" y="276371"/>
                    </a:lnTo>
                    <a:lnTo>
                      <a:pt x="257997" y="279345"/>
                    </a:lnTo>
                    <a:lnTo>
                      <a:pt x="252448" y="284759"/>
                    </a:lnTo>
                    <a:lnTo>
                      <a:pt x="244264" y="291477"/>
                    </a:lnTo>
                    <a:lnTo>
                      <a:pt x="242363" y="293506"/>
                    </a:lnTo>
                    <a:lnTo>
                      <a:pt x="238533" y="297034"/>
                    </a:lnTo>
                    <a:lnTo>
                      <a:pt x="231977" y="304096"/>
                    </a:lnTo>
                    <a:lnTo>
                      <a:pt x="230279" y="305652"/>
                    </a:lnTo>
                    <a:lnTo>
                      <a:pt x="224905" y="311263"/>
                    </a:lnTo>
                    <a:lnTo>
                      <a:pt x="222456" y="313045"/>
                    </a:lnTo>
                    <a:lnTo>
                      <a:pt x="220532" y="314710"/>
                    </a:lnTo>
                    <a:lnTo>
                      <a:pt x="215209" y="319993"/>
                    </a:lnTo>
                    <a:lnTo>
                      <a:pt x="209489" y="323994"/>
                    </a:lnTo>
                    <a:lnTo>
                      <a:pt x="203874" y="327703"/>
                    </a:lnTo>
                    <a:lnTo>
                      <a:pt x="202190" y="329581"/>
                    </a:lnTo>
                    <a:lnTo>
                      <a:pt x="200095" y="331012"/>
                    </a:lnTo>
                    <a:lnTo>
                      <a:pt x="197595" y="332372"/>
                    </a:lnTo>
                    <a:lnTo>
                      <a:pt x="196541" y="333134"/>
                    </a:lnTo>
                    <a:lnTo>
                      <a:pt x="190892" y="338191"/>
                    </a:lnTo>
                    <a:lnTo>
                      <a:pt x="183058" y="345191"/>
                    </a:lnTo>
                    <a:lnTo>
                      <a:pt x="182261" y="345300"/>
                    </a:lnTo>
                    <a:lnTo>
                      <a:pt x="180221" y="346429"/>
                    </a:lnTo>
                    <a:lnTo>
                      <a:pt x="177031" y="346702"/>
                    </a:lnTo>
                    <a:lnTo>
                      <a:pt x="175645" y="347565"/>
                    </a:lnTo>
                    <a:lnTo>
                      <a:pt x="170769" y="345106"/>
                    </a:lnTo>
                    <a:lnTo>
                      <a:pt x="169959" y="344947"/>
                    </a:lnTo>
                    <a:lnTo>
                      <a:pt x="167092" y="345557"/>
                    </a:lnTo>
                    <a:lnTo>
                      <a:pt x="164340" y="347344"/>
                    </a:lnTo>
                    <a:lnTo>
                      <a:pt x="159261" y="347890"/>
                    </a:lnTo>
                    <a:lnTo>
                      <a:pt x="156739" y="348469"/>
                    </a:lnTo>
                    <a:lnTo>
                      <a:pt x="155131" y="349294"/>
                    </a:lnTo>
                    <a:lnTo>
                      <a:pt x="154800" y="347341"/>
                    </a:lnTo>
                    <a:lnTo>
                      <a:pt x="155495" y="344862"/>
                    </a:lnTo>
                    <a:lnTo>
                      <a:pt x="156614" y="343208"/>
                    </a:lnTo>
                    <a:lnTo>
                      <a:pt x="156718" y="342130"/>
                    </a:lnTo>
                    <a:lnTo>
                      <a:pt x="155897" y="342242"/>
                    </a:lnTo>
                    <a:lnTo>
                      <a:pt x="154271" y="344669"/>
                    </a:lnTo>
                    <a:lnTo>
                      <a:pt x="153401" y="347500"/>
                    </a:lnTo>
                    <a:lnTo>
                      <a:pt x="151660" y="348922"/>
                    </a:lnTo>
                    <a:lnTo>
                      <a:pt x="147834" y="349503"/>
                    </a:lnTo>
                    <a:lnTo>
                      <a:pt x="144105" y="347230"/>
                    </a:lnTo>
                    <a:lnTo>
                      <a:pt x="142334" y="347253"/>
                    </a:lnTo>
                    <a:lnTo>
                      <a:pt x="143446" y="348881"/>
                    </a:lnTo>
                    <a:lnTo>
                      <a:pt x="144198" y="350667"/>
                    </a:lnTo>
                    <a:lnTo>
                      <a:pt x="144100" y="351667"/>
                    </a:lnTo>
                    <a:lnTo>
                      <a:pt x="142112" y="351491"/>
                    </a:lnTo>
                    <a:lnTo>
                      <a:pt x="139898" y="352561"/>
                    </a:lnTo>
                    <a:lnTo>
                      <a:pt x="137957" y="354123"/>
                    </a:lnTo>
                    <a:lnTo>
                      <a:pt x="137015" y="354126"/>
                    </a:lnTo>
                    <a:lnTo>
                      <a:pt x="135711" y="351943"/>
                    </a:lnTo>
                    <a:lnTo>
                      <a:pt x="133318" y="352962"/>
                    </a:lnTo>
                    <a:lnTo>
                      <a:pt x="131274" y="354332"/>
                    </a:lnTo>
                    <a:lnTo>
                      <a:pt x="127119" y="354760"/>
                    </a:lnTo>
                    <a:lnTo>
                      <a:pt x="124642" y="356559"/>
                    </a:lnTo>
                    <a:lnTo>
                      <a:pt x="120259" y="357772"/>
                    </a:lnTo>
                    <a:lnTo>
                      <a:pt x="117851" y="357743"/>
                    </a:lnTo>
                    <a:lnTo>
                      <a:pt x="112362" y="359203"/>
                    </a:lnTo>
                    <a:lnTo>
                      <a:pt x="110537" y="361452"/>
                    </a:lnTo>
                    <a:lnTo>
                      <a:pt x="108937" y="362279"/>
                    </a:lnTo>
                    <a:lnTo>
                      <a:pt x="106659" y="361583"/>
                    </a:lnTo>
                    <a:lnTo>
                      <a:pt x="99641" y="362679"/>
                    </a:lnTo>
                    <a:lnTo>
                      <a:pt x="92932" y="364116"/>
                    </a:lnTo>
                    <a:lnTo>
                      <a:pt x="90077" y="364034"/>
                    </a:lnTo>
                    <a:lnTo>
                      <a:pt x="87222" y="363437"/>
                    </a:lnTo>
                    <a:lnTo>
                      <a:pt x="84197" y="365433"/>
                    </a:lnTo>
                    <a:lnTo>
                      <a:pt x="80984" y="368101"/>
                    </a:lnTo>
                    <a:lnTo>
                      <a:pt x="77442" y="369053"/>
                    </a:lnTo>
                    <a:lnTo>
                      <a:pt x="76173" y="368712"/>
                    </a:lnTo>
                    <a:lnTo>
                      <a:pt x="77187" y="367314"/>
                    </a:lnTo>
                    <a:lnTo>
                      <a:pt x="79531" y="365865"/>
                    </a:lnTo>
                    <a:lnTo>
                      <a:pt x="81139" y="363900"/>
                    </a:lnTo>
                    <a:lnTo>
                      <a:pt x="81360" y="362261"/>
                    </a:lnTo>
                    <a:lnTo>
                      <a:pt x="80254" y="361617"/>
                    </a:lnTo>
                    <a:lnTo>
                      <a:pt x="78744" y="361420"/>
                    </a:lnTo>
                    <a:lnTo>
                      <a:pt x="76842" y="359723"/>
                    </a:lnTo>
                    <a:lnTo>
                      <a:pt x="75019" y="356041"/>
                    </a:lnTo>
                    <a:lnTo>
                      <a:pt x="74032" y="355838"/>
                    </a:lnTo>
                    <a:lnTo>
                      <a:pt x="73532" y="356806"/>
                    </a:lnTo>
                    <a:lnTo>
                      <a:pt x="72972" y="359630"/>
                    </a:lnTo>
                    <a:lnTo>
                      <a:pt x="72404" y="360443"/>
                    </a:lnTo>
                    <a:lnTo>
                      <a:pt x="71439" y="361089"/>
                    </a:lnTo>
                    <a:lnTo>
                      <a:pt x="70280" y="361739"/>
                    </a:lnTo>
                    <a:lnTo>
                      <a:pt x="69148" y="362056"/>
                    </a:lnTo>
                    <a:lnTo>
                      <a:pt x="65091" y="362017"/>
                    </a:lnTo>
                    <a:lnTo>
                      <a:pt x="64557" y="360593"/>
                    </a:lnTo>
                    <a:lnTo>
                      <a:pt x="64557" y="359997"/>
                    </a:lnTo>
                    <a:lnTo>
                      <a:pt x="65276" y="358120"/>
                    </a:lnTo>
                    <a:lnTo>
                      <a:pt x="64648" y="357792"/>
                    </a:lnTo>
                    <a:lnTo>
                      <a:pt x="65246" y="356319"/>
                    </a:lnTo>
                    <a:lnTo>
                      <a:pt x="66203" y="356398"/>
                    </a:lnTo>
                    <a:lnTo>
                      <a:pt x="67336" y="356180"/>
                    </a:lnTo>
                    <a:lnTo>
                      <a:pt x="67904" y="355422"/>
                    </a:lnTo>
                    <a:lnTo>
                      <a:pt x="67861" y="354517"/>
                    </a:lnTo>
                    <a:lnTo>
                      <a:pt x="66285" y="354282"/>
                    </a:lnTo>
                    <a:lnTo>
                      <a:pt x="66188" y="353664"/>
                    </a:lnTo>
                    <a:lnTo>
                      <a:pt x="67593" y="351083"/>
                    </a:lnTo>
                    <a:lnTo>
                      <a:pt x="67794" y="350369"/>
                    </a:lnTo>
                    <a:lnTo>
                      <a:pt x="67250" y="350221"/>
                    </a:lnTo>
                    <a:lnTo>
                      <a:pt x="66369" y="350502"/>
                    </a:lnTo>
                    <a:lnTo>
                      <a:pt x="60562" y="349692"/>
                    </a:lnTo>
                    <a:lnTo>
                      <a:pt x="53400" y="346385"/>
                    </a:lnTo>
                    <a:lnTo>
                      <a:pt x="51638" y="346214"/>
                    </a:lnTo>
                    <a:lnTo>
                      <a:pt x="50554" y="343257"/>
                    </a:lnTo>
                    <a:lnTo>
                      <a:pt x="48826" y="343632"/>
                    </a:lnTo>
                    <a:lnTo>
                      <a:pt x="46308" y="345363"/>
                    </a:lnTo>
                    <a:lnTo>
                      <a:pt x="44419" y="344048"/>
                    </a:lnTo>
                    <a:lnTo>
                      <a:pt x="42389" y="343182"/>
                    </a:lnTo>
                    <a:lnTo>
                      <a:pt x="41827" y="341828"/>
                    </a:lnTo>
                    <a:lnTo>
                      <a:pt x="41856" y="339829"/>
                    </a:lnTo>
                    <a:lnTo>
                      <a:pt x="41681" y="337469"/>
                    </a:lnTo>
                    <a:lnTo>
                      <a:pt x="41126" y="334704"/>
                    </a:lnTo>
                    <a:lnTo>
                      <a:pt x="40720" y="330768"/>
                    </a:lnTo>
                    <a:lnTo>
                      <a:pt x="41100" y="327687"/>
                    </a:lnTo>
                    <a:lnTo>
                      <a:pt x="42719" y="325403"/>
                    </a:lnTo>
                    <a:lnTo>
                      <a:pt x="43341" y="323944"/>
                    </a:lnTo>
                    <a:lnTo>
                      <a:pt x="44101" y="320215"/>
                    </a:lnTo>
                    <a:lnTo>
                      <a:pt x="44272" y="315839"/>
                    </a:lnTo>
                    <a:lnTo>
                      <a:pt x="43842" y="314347"/>
                    </a:lnTo>
                    <a:lnTo>
                      <a:pt x="43950" y="313354"/>
                    </a:lnTo>
                    <a:lnTo>
                      <a:pt x="45242" y="313354"/>
                    </a:lnTo>
                    <a:lnTo>
                      <a:pt x="44961" y="312502"/>
                    </a:lnTo>
                    <a:lnTo>
                      <a:pt x="44393" y="312035"/>
                    </a:lnTo>
                    <a:lnTo>
                      <a:pt x="43765" y="311065"/>
                    </a:lnTo>
                    <a:lnTo>
                      <a:pt x="44300" y="310551"/>
                    </a:lnTo>
                    <a:lnTo>
                      <a:pt x="45846" y="310514"/>
                    </a:lnTo>
                    <a:lnTo>
                      <a:pt x="45971" y="310187"/>
                    </a:lnTo>
                    <a:lnTo>
                      <a:pt x="46146" y="309723"/>
                    </a:lnTo>
                    <a:lnTo>
                      <a:pt x="44950" y="307170"/>
                    </a:lnTo>
                    <a:lnTo>
                      <a:pt x="44812" y="305952"/>
                    </a:lnTo>
                    <a:lnTo>
                      <a:pt x="43151" y="302250"/>
                    </a:lnTo>
                    <a:lnTo>
                      <a:pt x="41257" y="298735"/>
                    </a:lnTo>
                    <a:lnTo>
                      <a:pt x="38407" y="296188"/>
                    </a:lnTo>
                    <a:lnTo>
                      <a:pt x="39418" y="291988"/>
                    </a:lnTo>
                    <a:lnTo>
                      <a:pt x="40569" y="288184"/>
                    </a:lnTo>
                    <a:lnTo>
                      <a:pt x="40340" y="286349"/>
                    </a:lnTo>
                    <a:lnTo>
                      <a:pt x="39899" y="284114"/>
                    </a:lnTo>
                    <a:lnTo>
                      <a:pt x="36410" y="281660"/>
                    </a:lnTo>
                    <a:lnTo>
                      <a:pt x="35891" y="278196"/>
                    </a:lnTo>
                    <a:lnTo>
                      <a:pt x="35038" y="274472"/>
                    </a:lnTo>
                    <a:lnTo>
                      <a:pt x="35360" y="272185"/>
                    </a:lnTo>
                    <a:lnTo>
                      <a:pt x="35928" y="270433"/>
                    </a:lnTo>
                    <a:lnTo>
                      <a:pt x="37075" y="268687"/>
                    </a:lnTo>
                    <a:lnTo>
                      <a:pt x="42864" y="263167"/>
                    </a:lnTo>
                    <a:lnTo>
                      <a:pt x="43218" y="260279"/>
                    </a:lnTo>
                    <a:lnTo>
                      <a:pt x="47142" y="260069"/>
                    </a:lnTo>
                    <a:lnTo>
                      <a:pt x="45321" y="257484"/>
                    </a:lnTo>
                    <a:lnTo>
                      <a:pt x="44892" y="256031"/>
                    </a:lnTo>
                    <a:lnTo>
                      <a:pt x="44801" y="254334"/>
                    </a:lnTo>
                    <a:lnTo>
                      <a:pt x="50446" y="253171"/>
                    </a:lnTo>
                    <a:lnTo>
                      <a:pt x="52553" y="254126"/>
                    </a:lnTo>
                    <a:lnTo>
                      <a:pt x="57520" y="252946"/>
                    </a:lnTo>
                    <a:lnTo>
                      <a:pt x="61929" y="250636"/>
                    </a:lnTo>
                    <a:lnTo>
                      <a:pt x="61851" y="249407"/>
                    </a:lnTo>
                    <a:lnTo>
                      <a:pt x="61174" y="248306"/>
                    </a:lnTo>
                    <a:lnTo>
                      <a:pt x="60238" y="246185"/>
                    </a:lnTo>
                    <a:lnTo>
                      <a:pt x="60901" y="245596"/>
                    </a:lnTo>
                    <a:lnTo>
                      <a:pt x="62510" y="246029"/>
                    </a:lnTo>
                    <a:lnTo>
                      <a:pt x="61772" y="244974"/>
                    </a:lnTo>
                    <a:lnTo>
                      <a:pt x="61906" y="243861"/>
                    </a:lnTo>
                    <a:lnTo>
                      <a:pt x="63661" y="244324"/>
                    </a:lnTo>
                    <a:lnTo>
                      <a:pt x="66527" y="241214"/>
                    </a:lnTo>
                    <a:lnTo>
                      <a:pt x="66630" y="238835"/>
                    </a:lnTo>
                    <a:lnTo>
                      <a:pt x="71582" y="237590"/>
                    </a:lnTo>
                    <a:lnTo>
                      <a:pt x="77291" y="232724"/>
                    </a:lnTo>
                    <a:lnTo>
                      <a:pt x="79926" y="231207"/>
                    </a:lnTo>
                    <a:lnTo>
                      <a:pt x="82471" y="230108"/>
                    </a:lnTo>
                    <a:lnTo>
                      <a:pt x="87894" y="225229"/>
                    </a:lnTo>
                    <a:lnTo>
                      <a:pt x="90215" y="225002"/>
                    </a:lnTo>
                    <a:lnTo>
                      <a:pt x="91409" y="221706"/>
                    </a:lnTo>
                    <a:lnTo>
                      <a:pt x="96020" y="217312"/>
                    </a:lnTo>
                    <a:lnTo>
                      <a:pt x="97421" y="216749"/>
                    </a:lnTo>
                    <a:lnTo>
                      <a:pt x="99576" y="212779"/>
                    </a:lnTo>
                    <a:lnTo>
                      <a:pt x="105238" y="208180"/>
                    </a:lnTo>
                    <a:lnTo>
                      <a:pt x="108827" y="202302"/>
                    </a:lnTo>
                    <a:lnTo>
                      <a:pt x="110807" y="200210"/>
                    </a:lnTo>
                    <a:lnTo>
                      <a:pt x="111420" y="197980"/>
                    </a:lnTo>
                    <a:lnTo>
                      <a:pt x="113625" y="197791"/>
                    </a:lnTo>
                    <a:lnTo>
                      <a:pt x="115614" y="196151"/>
                    </a:lnTo>
                    <a:lnTo>
                      <a:pt x="119917" y="195007"/>
                    </a:lnTo>
                    <a:lnTo>
                      <a:pt x="124165" y="195324"/>
                    </a:lnTo>
                    <a:lnTo>
                      <a:pt x="125934" y="196102"/>
                    </a:lnTo>
                    <a:lnTo>
                      <a:pt x="127568" y="195855"/>
                    </a:lnTo>
                    <a:lnTo>
                      <a:pt x="127404" y="193846"/>
                    </a:lnTo>
                    <a:lnTo>
                      <a:pt x="126238" y="192604"/>
                    </a:lnTo>
                    <a:lnTo>
                      <a:pt x="127190" y="191411"/>
                    </a:lnTo>
                    <a:lnTo>
                      <a:pt x="129436" y="190506"/>
                    </a:lnTo>
                    <a:lnTo>
                      <a:pt x="129207" y="188505"/>
                    </a:lnTo>
                    <a:lnTo>
                      <a:pt x="128719" y="187300"/>
                    </a:lnTo>
                    <a:lnTo>
                      <a:pt x="126853" y="185694"/>
                    </a:lnTo>
                    <a:lnTo>
                      <a:pt x="127782" y="182092"/>
                    </a:lnTo>
                    <a:lnTo>
                      <a:pt x="128004" y="178137"/>
                    </a:lnTo>
                    <a:lnTo>
                      <a:pt x="128888" y="173559"/>
                    </a:lnTo>
                    <a:lnTo>
                      <a:pt x="126542" y="171129"/>
                    </a:lnTo>
                    <a:lnTo>
                      <a:pt x="117644" y="166987"/>
                    </a:lnTo>
                    <a:lnTo>
                      <a:pt x="115983" y="167131"/>
                    </a:lnTo>
                    <a:lnTo>
                      <a:pt x="114007" y="166611"/>
                    </a:lnTo>
                    <a:lnTo>
                      <a:pt x="111943" y="163467"/>
                    </a:lnTo>
                    <a:lnTo>
                      <a:pt x="112865" y="160750"/>
                    </a:lnTo>
                    <a:lnTo>
                      <a:pt x="112971" y="159748"/>
                    </a:lnTo>
                    <a:lnTo>
                      <a:pt x="112165" y="159778"/>
                    </a:lnTo>
                    <a:lnTo>
                      <a:pt x="110861" y="161103"/>
                    </a:lnTo>
                    <a:lnTo>
                      <a:pt x="108023" y="162617"/>
                    </a:lnTo>
                    <a:lnTo>
                      <a:pt x="104335" y="161455"/>
                    </a:lnTo>
                    <a:lnTo>
                      <a:pt x="102521" y="161713"/>
                    </a:lnTo>
                    <a:lnTo>
                      <a:pt x="100168" y="154976"/>
                    </a:lnTo>
                    <a:lnTo>
                      <a:pt x="98965" y="152396"/>
                    </a:lnTo>
                    <a:lnTo>
                      <a:pt x="97035" y="149175"/>
                    </a:lnTo>
                    <a:lnTo>
                      <a:pt x="93588" y="147600"/>
                    </a:lnTo>
                    <a:lnTo>
                      <a:pt x="92914" y="146709"/>
                    </a:lnTo>
                    <a:lnTo>
                      <a:pt x="92457" y="145343"/>
                    </a:lnTo>
                    <a:lnTo>
                      <a:pt x="92307" y="143444"/>
                    </a:lnTo>
                    <a:lnTo>
                      <a:pt x="91871" y="140631"/>
                    </a:lnTo>
                    <a:lnTo>
                      <a:pt x="92053" y="138321"/>
                    </a:lnTo>
                    <a:lnTo>
                      <a:pt x="92476" y="136943"/>
                    </a:lnTo>
                    <a:lnTo>
                      <a:pt x="93961" y="136017"/>
                    </a:lnTo>
                    <a:lnTo>
                      <a:pt x="96110" y="133403"/>
                    </a:lnTo>
                    <a:lnTo>
                      <a:pt x="96559" y="131501"/>
                    </a:lnTo>
                    <a:lnTo>
                      <a:pt x="96743" y="128581"/>
                    </a:lnTo>
                    <a:lnTo>
                      <a:pt x="97732" y="126028"/>
                    </a:lnTo>
                    <a:lnTo>
                      <a:pt x="98831" y="124736"/>
                    </a:lnTo>
                    <a:lnTo>
                      <a:pt x="98555" y="123708"/>
                    </a:lnTo>
                    <a:lnTo>
                      <a:pt x="97797" y="122236"/>
                    </a:lnTo>
                    <a:lnTo>
                      <a:pt x="96194" y="120145"/>
                    </a:lnTo>
                    <a:lnTo>
                      <a:pt x="93754" y="117593"/>
                    </a:lnTo>
                    <a:lnTo>
                      <a:pt x="91949" y="115149"/>
                    </a:lnTo>
                    <a:lnTo>
                      <a:pt x="91157" y="112862"/>
                    </a:lnTo>
                    <a:lnTo>
                      <a:pt x="90749" y="110816"/>
                    </a:lnTo>
                    <a:lnTo>
                      <a:pt x="90815" y="108953"/>
                    </a:lnTo>
                    <a:lnTo>
                      <a:pt x="91491" y="107684"/>
                    </a:lnTo>
                    <a:lnTo>
                      <a:pt x="93798" y="106085"/>
                    </a:lnTo>
                    <a:lnTo>
                      <a:pt x="94106" y="105406"/>
                    </a:lnTo>
                    <a:lnTo>
                      <a:pt x="93193" y="101868"/>
                    </a:lnTo>
                    <a:lnTo>
                      <a:pt x="91584" y="101223"/>
                    </a:lnTo>
                    <a:lnTo>
                      <a:pt x="88848" y="100880"/>
                    </a:lnTo>
                    <a:lnTo>
                      <a:pt x="87322" y="100851"/>
                    </a:lnTo>
                    <a:lnTo>
                      <a:pt x="87030" y="100464"/>
                    </a:lnTo>
                    <a:lnTo>
                      <a:pt x="86955" y="99751"/>
                    </a:lnTo>
                    <a:lnTo>
                      <a:pt x="87263" y="98297"/>
                    </a:lnTo>
                    <a:lnTo>
                      <a:pt x="88127" y="96629"/>
                    </a:lnTo>
                    <a:lnTo>
                      <a:pt x="88846" y="95566"/>
                    </a:lnTo>
                    <a:lnTo>
                      <a:pt x="88941" y="94664"/>
                    </a:lnTo>
                    <a:lnTo>
                      <a:pt x="88032" y="91575"/>
                    </a:lnTo>
                    <a:lnTo>
                      <a:pt x="87758" y="87780"/>
                    </a:lnTo>
                    <a:lnTo>
                      <a:pt x="88069" y="84803"/>
                    </a:lnTo>
                    <a:lnTo>
                      <a:pt x="90967" y="82604"/>
                    </a:lnTo>
                    <a:lnTo>
                      <a:pt x="91098" y="81800"/>
                    </a:lnTo>
                    <a:lnTo>
                      <a:pt x="87458" y="79410"/>
                    </a:lnTo>
                    <a:lnTo>
                      <a:pt x="84832" y="76697"/>
                    </a:lnTo>
                    <a:lnTo>
                      <a:pt x="84016" y="75112"/>
                    </a:lnTo>
                    <a:lnTo>
                      <a:pt x="81007" y="74872"/>
                    </a:lnTo>
                    <a:lnTo>
                      <a:pt x="79135" y="70260"/>
                    </a:lnTo>
                    <a:lnTo>
                      <a:pt x="76427" y="68010"/>
                    </a:lnTo>
                    <a:lnTo>
                      <a:pt x="73745" y="66065"/>
                    </a:lnTo>
                    <a:lnTo>
                      <a:pt x="72160" y="65159"/>
                    </a:lnTo>
                    <a:lnTo>
                      <a:pt x="62866" y="62360"/>
                    </a:lnTo>
                    <a:lnTo>
                      <a:pt x="59174" y="61827"/>
                    </a:lnTo>
                    <a:lnTo>
                      <a:pt x="54803" y="60192"/>
                    </a:lnTo>
                    <a:lnTo>
                      <a:pt x="51547" y="58137"/>
                    </a:lnTo>
                    <a:lnTo>
                      <a:pt x="48757" y="56814"/>
                    </a:lnTo>
                    <a:lnTo>
                      <a:pt x="46369" y="55182"/>
                    </a:lnTo>
                    <a:lnTo>
                      <a:pt x="43039" y="53654"/>
                    </a:lnTo>
                    <a:lnTo>
                      <a:pt x="42087" y="52347"/>
                    </a:lnTo>
                    <a:lnTo>
                      <a:pt x="38491" y="49924"/>
                    </a:lnTo>
                    <a:lnTo>
                      <a:pt x="36803" y="48328"/>
                    </a:lnTo>
                    <a:lnTo>
                      <a:pt x="30946" y="45309"/>
                    </a:lnTo>
                    <a:lnTo>
                      <a:pt x="30735" y="44117"/>
                    </a:lnTo>
                    <a:lnTo>
                      <a:pt x="30692" y="42966"/>
                    </a:lnTo>
                    <a:lnTo>
                      <a:pt x="30428" y="42488"/>
                    </a:lnTo>
                    <a:lnTo>
                      <a:pt x="24392" y="40278"/>
                    </a:lnTo>
                    <a:lnTo>
                      <a:pt x="25580" y="39013"/>
                    </a:lnTo>
                    <a:lnTo>
                      <a:pt x="30299" y="38937"/>
                    </a:lnTo>
                    <a:lnTo>
                      <a:pt x="34201" y="40088"/>
                    </a:lnTo>
                    <a:lnTo>
                      <a:pt x="35058" y="39596"/>
                    </a:lnTo>
                    <a:lnTo>
                      <a:pt x="35574" y="38573"/>
                    </a:lnTo>
                    <a:lnTo>
                      <a:pt x="33911" y="34464"/>
                    </a:lnTo>
                    <a:lnTo>
                      <a:pt x="34209" y="33393"/>
                    </a:lnTo>
                    <a:lnTo>
                      <a:pt x="35926" y="32102"/>
                    </a:lnTo>
                    <a:lnTo>
                      <a:pt x="38647" y="31074"/>
                    </a:lnTo>
                    <a:lnTo>
                      <a:pt x="42946" y="30925"/>
                    </a:lnTo>
                    <a:lnTo>
                      <a:pt x="45876" y="31077"/>
                    </a:lnTo>
                    <a:lnTo>
                      <a:pt x="46496" y="31189"/>
                    </a:lnTo>
                    <a:lnTo>
                      <a:pt x="50873" y="35711"/>
                    </a:lnTo>
                    <a:lnTo>
                      <a:pt x="54626" y="40113"/>
                    </a:lnTo>
                    <a:lnTo>
                      <a:pt x="56622" y="41986"/>
                    </a:lnTo>
                    <a:lnTo>
                      <a:pt x="61502" y="47283"/>
                    </a:lnTo>
                    <a:lnTo>
                      <a:pt x="63327" y="50342"/>
                    </a:lnTo>
                    <a:lnTo>
                      <a:pt x="63946" y="52530"/>
                    </a:lnTo>
                    <a:lnTo>
                      <a:pt x="65931" y="52516"/>
                    </a:lnTo>
                    <a:lnTo>
                      <a:pt x="72793" y="53475"/>
                    </a:lnTo>
                    <a:lnTo>
                      <a:pt x="78557" y="54282"/>
                    </a:lnTo>
                    <a:lnTo>
                      <a:pt x="80163" y="55505"/>
                    </a:lnTo>
                    <a:lnTo>
                      <a:pt x="84137" y="55259"/>
                    </a:lnTo>
                    <a:lnTo>
                      <a:pt x="87198" y="54156"/>
                    </a:lnTo>
                    <a:lnTo>
                      <a:pt x="92605" y="52761"/>
                    </a:lnTo>
                    <a:lnTo>
                      <a:pt x="94055" y="51044"/>
                    </a:lnTo>
                    <a:lnTo>
                      <a:pt x="95855" y="49212"/>
                    </a:lnTo>
                    <a:lnTo>
                      <a:pt x="99026" y="49500"/>
                    </a:lnTo>
                    <a:lnTo>
                      <a:pt x="102491" y="50949"/>
                    </a:lnTo>
                    <a:lnTo>
                      <a:pt x="106425" y="52851"/>
                    </a:lnTo>
                    <a:lnTo>
                      <a:pt x="109930" y="53731"/>
                    </a:lnTo>
                    <a:lnTo>
                      <a:pt x="114633" y="55111"/>
                    </a:lnTo>
                    <a:lnTo>
                      <a:pt x="116827" y="56893"/>
                    </a:lnTo>
                    <a:lnTo>
                      <a:pt x="119900" y="57401"/>
                    </a:lnTo>
                    <a:lnTo>
                      <a:pt x="123117" y="55620"/>
                    </a:lnTo>
                    <a:lnTo>
                      <a:pt x="125018" y="50779"/>
                    </a:lnTo>
                    <a:lnTo>
                      <a:pt x="126704" y="48616"/>
                    </a:lnTo>
                    <a:lnTo>
                      <a:pt x="129093" y="47028"/>
                    </a:lnTo>
                    <a:lnTo>
                      <a:pt x="131829" y="46327"/>
                    </a:lnTo>
                    <a:lnTo>
                      <a:pt x="133917" y="46073"/>
                    </a:lnTo>
                    <a:lnTo>
                      <a:pt x="135495" y="44837"/>
                    </a:lnTo>
                    <a:lnTo>
                      <a:pt x="137743" y="42089"/>
                    </a:lnTo>
                    <a:lnTo>
                      <a:pt x="138182" y="38755"/>
                    </a:lnTo>
                    <a:lnTo>
                      <a:pt x="137750" y="32718"/>
                    </a:lnTo>
                    <a:lnTo>
                      <a:pt x="138160" y="30723"/>
                    </a:lnTo>
                    <a:lnTo>
                      <a:pt x="139996" y="27454"/>
                    </a:lnTo>
                    <a:lnTo>
                      <a:pt x="142457" y="18764"/>
                    </a:lnTo>
                    <a:lnTo>
                      <a:pt x="143563" y="16253"/>
                    </a:lnTo>
                    <a:lnTo>
                      <a:pt x="144910" y="14724"/>
                    </a:lnTo>
                    <a:lnTo>
                      <a:pt x="146761" y="13814"/>
                    </a:lnTo>
                    <a:lnTo>
                      <a:pt x="150123" y="11169"/>
                    </a:lnTo>
                    <a:lnTo>
                      <a:pt x="154925" y="5923"/>
                    </a:lnTo>
                    <a:lnTo>
                      <a:pt x="156227" y="5477"/>
                    </a:lnTo>
                    <a:lnTo>
                      <a:pt x="159676" y="5211"/>
                    </a:lnTo>
                    <a:lnTo>
                      <a:pt x="163967" y="5406"/>
                    </a:lnTo>
                    <a:lnTo>
                      <a:pt x="167823" y="6331"/>
                    </a:lnTo>
                    <a:lnTo>
                      <a:pt x="168240" y="6260"/>
                    </a:lnTo>
                    <a:lnTo>
                      <a:pt x="169968" y="5778"/>
                    </a:lnTo>
                    <a:lnTo>
                      <a:pt x="173116" y="4145"/>
                    </a:lnTo>
                    <a:lnTo>
                      <a:pt x="178504" y="89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0" name="ee4p_FR_1_15912">
                <a:extLst>
                  <a:ext uri="{FF2B5EF4-FFF2-40B4-BE49-F238E27FC236}">
                    <a16:creationId xmlns:a16="http://schemas.microsoft.com/office/drawing/2014/main" id="{976F10FC-EA86-E81D-4508-DED47E18D203}"/>
                  </a:ext>
                </a:extLst>
              </p:cNvPr>
              <p:cNvSpPr>
                <a:spLocks noChangeAspect="1"/>
              </p:cNvSpPr>
              <p:nvPr>
                <p:custDataLst>
                  <p:tags r:id="rId251"/>
                </p:custDataLst>
              </p:nvPr>
            </p:nvSpPr>
            <p:spPr>
              <a:xfrm>
                <a:off x="3354242" y="4405245"/>
                <a:ext cx="1255163" cy="1067650"/>
              </a:xfrm>
              <a:custGeom>
                <a:avLst/>
                <a:gdLst>
                  <a:gd name="connsiteX0" fmla="*/ 313500 w 316622"/>
                  <a:gd name="connsiteY0" fmla="*/ 225790 h 269321"/>
                  <a:gd name="connsiteX1" fmla="*/ 314562 w 316622"/>
                  <a:gd name="connsiteY1" fmla="*/ 226875 h 269321"/>
                  <a:gd name="connsiteX2" fmla="*/ 314508 w 316622"/>
                  <a:gd name="connsiteY2" fmla="*/ 227834 h 269321"/>
                  <a:gd name="connsiteX3" fmla="*/ 314901 w 316622"/>
                  <a:gd name="connsiteY3" fmla="*/ 230102 h 269321"/>
                  <a:gd name="connsiteX4" fmla="*/ 314940 w 316622"/>
                  <a:gd name="connsiteY4" fmla="*/ 231576 h 269321"/>
                  <a:gd name="connsiteX5" fmla="*/ 314361 w 316622"/>
                  <a:gd name="connsiteY5" fmla="*/ 235501 h 269321"/>
                  <a:gd name="connsiteX6" fmla="*/ 314782 w 316622"/>
                  <a:gd name="connsiteY6" fmla="*/ 236649 h 269321"/>
                  <a:gd name="connsiteX7" fmla="*/ 315581 w 316622"/>
                  <a:gd name="connsiteY7" fmla="*/ 237450 h 269321"/>
                  <a:gd name="connsiteX8" fmla="*/ 315953 w 316622"/>
                  <a:gd name="connsiteY8" fmla="*/ 238329 h 269321"/>
                  <a:gd name="connsiteX9" fmla="*/ 316622 w 316622"/>
                  <a:gd name="connsiteY9" fmla="*/ 248763 h 269321"/>
                  <a:gd name="connsiteX10" fmla="*/ 316495 w 316622"/>
                  <a:gd name="connsiteY10" fmla="*/ 249592 h 269321"/>
                  <a:gd name="connsiteX11" fmla="*/ 313791 w 316622"/>
                  <a:gd name="connsiteY11" fmla="*/ 253771 h 269321"/>
                  <a:gd name="connsiteX12" fmla="*/ 313182 w 316622"/>
                  <a:gd name="connsiteY12" fmla="*/ 254996 h 269321"/>
                  <a:gd name="connsiteX13" fmla="*/ 313048 w 316622"/>
                  <a:gd name="connsiteY13" fmla="*/ 260165 h 269321"/>
                  <a:gd name="connsiteX14" fmla="*/ 312593 w 316622"/>
                  <a:gd name="connsiteY14" fmla="*/ 261552 h 269321"/>
                  <a:gd name="connsiteX15" fmla="*/ 311634 w 316622"/>
                  <a:gd name="connsiteY15" fmla="*/ 262920 h 269321"/>
                  <a:gd name="connsiteX16" fmla="*/ 309922 w 316622"/>
                  <a:gd name="connsiteY16" fmla="*/ 267337 h 269321"/>
                  <a:gd name="connsiteX17" fmla="*/ 308434 w 316622"/>
                  <a:gd name="connsiteY17" fmla="*/ 269321 h 269321"/>
                  <a:gd name="connsiteX18" fmla="*/ 304385 w 316622"/>
                  <a:gd name="connsiteY18" fmla="*/ 266901 h 269321"/>
                  <a:gd name="connsiteX19" fmla="*/ 301997 w 316622"/>
                  <a:gd name="connsiteY19" fmla="*/ 265854 h 269321"/>
                  <a:gd name="connsiteX20" fmla="*/ 300826 w 316622"/>
                  <a:gd name="connsiteY20" fmla="*/ 264725 h 269321"/>
                  <a:gd name="connsiteX21" fmla="*/ 300062 w 316622"/>
                  <a:gd name="connsiteY21" fmla="*/ 263945 h 269321"/>
                  <a:gd name="connsiteX22" fmla="*/ 300554 w 316622"/>
                  <a:gd name="connsiteY22" fmla="*/ 262905 h 269321"/>
                  <a:gd name="connsiteX23" fmla="*/ 301643 w 316622"/>
                  <a:gd name="connsiteY23" fmla="*/ 261824 h 269321"/>
                  <a:gd name="connsiteX24" fmla="*/ 301815 w 316622"/>
                  <a:gd name="connsiteY24" fmla="*/ 260973 h 269321"/>
                  <a:gd name="connsiteX25" fmla="*/ 299254 w 316622"/>
                  <a:gd name="connsiteY25" fmla="*/ 260009 h 269321"/>
                  <a:gd name="connsiteX26" fmla="*/ 298082 w 316622"/>
                  <a:gd name="connsiteY26" fmla="*/ 259365 h 269321"/>
                  <a:gd name="connsiteX27" fmla="*/ 298097 w 316622"/>
                  <a:gd name="connsiteY27" fmla="*/ 258237 h 269321"/>
                  <a:gd name="connsiteX28" fmla="*/ 298982 w 316622"/>
                  <a:gd name="connsiteY28" fmla="*/ 256476 h 269321"/>
                  <a:gd name="connsiteX29" fmla="*/ 298578 w 316622"/>
                  <a:gd name="connsiteY29" fmla="*/ 255025 h 269321"/>
                  <a:gd name="connsiteX30" fmla="*/ 297101 w 316622"/>
                  <a:gd name="connsiteY30" fmla="*/ 255099 h 269321"/>
                  <a:gd name="connsiteX31" fmla="*/ 295957 w 316622"/>
                  <a:gd name="connsiteY31" fmla="*/ 254877 h 269321"/>
                  <a:gd name="connsiteX32" fmla="*/ 295808 w 316622"/>
                  <a:gd name="connsiteY32" fmla="*/ 254123 h 269321"/>
                  <a:gd name="connsiteX33" fmla="*/ 296654 w 316622"/>
                  <a:gd name="connsiteY33" fmla="*/ 253156 h 269321"/>
                  <a:gd name="connsiteX34" fmla="*/ 297740 w 316622"/>
                  <a:gd name="connsiteY34" fmla="*/ 251893 h 269321"/>
                  <a:gd name="connsiteX35" fmla="*/ 297706 w 316622"/>
                  <a:gd name="connsiteY35" fmla="*/ 250499 h 269321"/>
                  <a:gd name="connsiteX36" fmla="*/ 296393 w 316622"/>
                  <a:gd name="connsiteY36" fmla="*/ 249898 h 269321"/>
                  <a:gd name="connsiteX37" fmla="*/ 295203 w 316622"/>
                  <a:gd name="connsiteY37" fmla="*/ 248765 h 269321"/>
                  <a:gd name="connsiteX38" fmla="*/ 294726 w 316622"/>
                  <a:gd name="connsiteY38" fmla="*/ 247224 h 269321"/>
                  <a:gd name="connsiteX39" fmla="*/ 295648 w 316622"/>
                  <a:gd name="connsiteY39" fmla="*/ 246169 h 269321"/>
                  <a:gd name="connsiteX40" fmla="*/ 297142 w 316622"/>
                  <a:gd name="connsiteY40" fmla="*/ 245488 h 269321"/>
                  <a:gd name="connsiteX41" fmla="*/ 296045 w 316622"/>
                  <a:gd name="connsiteY41" fmla="*/ 243907 h 269321"/>
                  <a:gd name="connsiteX42" fmla="*/ 295305 w 316622"/>
                  <a:gd name="connsiteY42" fmla="*/ 243872 h 269321"/>
                  <a:gd name="connsiteX43" fmla="*/ 294713 w 316622"/>
                  <a:gd name="connsiteY43" fmla="*/ 243526 h 269321"/>
                  <a:gd name="connsiteX44" fmla="*/ 295197 w 316622"/>
                  <a:gd name="connsiteY44" fmla="*/ 242791 h 269321"/>
                  <a:gd name="connsiteX45" fmla="*/ 296358 w 316622"/>
                  <a:gd name="connsiteY45" fmla="*/ 241692 h 269321"/>
                  <a:gd name="connsiteX46" fmla="*/ 297974 w 316622"/>
                  <a:gd name="connsiteY46" fmla="*/ 238406 h 269321"/>
                  <a:gd name="connsiteX47" fmla="*/ 300224 w 316622"/>
                  <a:gd name="connsiteY47" fmla="*/ 236854 h 269321"/>
                  <a:gd name="connsiteX48" fmla="*/ 304206 w 316622"/>
                  <a:gd name="connsiteY48" fmla="*/ 235855 h 269321"/>
                  <a:gd name="connsiteX49" fmla="*/ 305283 w 316622"/>
                  <a:gd name="connsiteY49" fmla="*/ 235418 h 269321"/>
                  <a:gd name="connsiteX50" fmla="*/ 306272 w 316622"/>
                  <a:gd name="connsiteY50" fmla="*/ 234261 h 269321"/>
                  <a:gd name="connsiteX51" fmla="*/ 307367 w 316622"/>
                  <a:gd name="connsiteY51" fmla="*/ 233515 h 269321"/>
                  <a:gd name="connsiteX52" fmla="*/ 308697 w 316622"/>
                  <a:gd name="connsiteY52" fmla="*/ 233614 h 269321"/>
                  <a:gd name="connsiteX53" fmla="*/ 309924 w 316622"/>
                  <a:gd name="connsiteY53" fmla="*/ 234061 h 269321"/>
                  <a:gd name="connsiteX54" fmla="*/ 310680 w 316622"/>
                  <a:gd name="connsiteY54" fmla="*/ 234537 h 269321"/>
                  <a:gd name="connsiteX55" fmla="*/ 311247 w 316622"/>
                  <a:gd name="connsiteY55" fmla="*/ 234042 h 269321"/>
                  <a:gd name="connsiteX56" fmla="*/ 311800 w 316622"/>
                  <a:gd name="connsiteY56" fmla="*/ 232606 h 269321"/>
                  <a:gd name="connsiteX57" fmla="*/ 311461 w 316622"/>
                  <a:gd name="connsiteY57" fmla="*/ 231344 h 269321"/>
                  <a:gd name="connsiteX58" fmla="*/ 311636 w 316622"/>
                  <a:gd name="connsiteY58" fmla="*/ 227872 h 269321"/>
                  <a:gd name="connsiteX59" fmla="*/ 312349 w 316622"/>
                  <a:gd name="connsiteY59" fmla="*/ 225900 h 269321"/>
                  <a:gd name="connsiteX60" fmla="*/ 74603 w 316622"/>
                  <a:gd name="connsiteY60" fmla="*/ 143377 h 269321"/>
                  <a:gd name="connsiteX61" fmla="*/ 76893 w 316622"/>
                  <a:gd name="connsiteY61" fmla="*/ 144695 h 269321"/>
                  <a:gd name="connsiteX62" fmla="*/ 79254 w 316622"/>
                  <a:gd name="connsiteY62" fmla="*/ 147418 h 269321"/>
                  <a:gd name="connsiteX63" fmla="*/ 78474 w 316622"/>
                  <a:gd name="connsiteY63" fmla="*/ 149829 h 269321"/>
                  <a:gd name="connsiteX64" fmla="*/ 76999 w 316622"/>
                  <a:gd name="connsiteY64" fmla="*/ 147609 h 269321"/>
                  <a:gd name="connsiteX65" fmla="*/ 75044 w 316622"/>
                  <a:gd name="connsiteY65" fmla="*/ 145662 h 269321"/>
                  <a:gd name="connsiteX66" fmla="*/ 74598 w 316622"/>
                  <a:gd name="connsiteY66" fmla="*/ 143859 h 269321"/>
                  <a:gd name="connsiteX67" fmla="*/ 161140 w 316622"/>
                  <a:gd name="connsiteY67" fmla="*/ 0 h 269321"/>
                  <a:gd name="connsiteX68" fmla="*/ 161386 w 316622"/>
                  <a:gd name="connsiteY68" fmla="*/ 1392 h 269321"/>
                  <a:gd name="connsiteX69" fmla="*/ 162243 w 316622"/>
                  <a:gd name="connsiteY69" fmla="*/ 3172 h 269321"/>
                  <a:gd name="connsiteX70" fmla="*/ 162833 w 316622"/>
                  <a:gd name="connsiteY70" fmla="*/ 4145 h 269321"/>
                  <a:gd name="connsiteX71" fmla="*/ 162343 w 316622"/>
                  <a:gd name="connsiteY71" fmla="*/ 5415 h 269321"/>
                  <a:gd name="connsiteX72" fmla="*/ 162729 w 316622"/>
                  <a:gd name="connsiteY72" fmla="*/ 6460 h 269321"/>
                  <a:gd name="connsiteX73" fmla="*/ 164329 w 316622"/>
                  <a:gd name="connsiteY73" fmla="*/ 8341 h 269321"/>
                  <a:gd name="connsiteX74" fmla="*/ 166324 w 316622"/>
                  <a:gd name="connsiteY74" fmla="*/ 10112 h 269321"/>
                  <a:gd name="connsiteX75" fmla="*/ 168102 w 316622"/>
                  <a:gd name="connsiteY75" fmla="*/ 11243 h 269321"/>
                  <a:gd name="connsiteX76" fmla="*/ 168603 w 316622"/>
                  <a:gd name="connsiteY76" fmla="*/ 11120 h 269321"/>
                  <a:gd name="connsiteX77" fmla="*/ 169920 w 316622"/>
                  <a:gd name="connsiteY77" fmla="*/ 10798 h 269321"/>
                  <a:gd name="connsiteX78" fmla="*/ 172150 w 316622"/>
                  <a:gd name="connsiteY78" fmla="*/ 9638 h 269321"/>
                  <a:gd name="connsiteX79" fmla="*/ 174008 w 316622"/>
                  <a:gd name="connsiteY79" fmla="*/ 9273 h 269321"/>
                  <a:gd name="connsiteX80" fmla="*/ 175070 w 316622"/>
                  <a:gd name="connsiteY80" fmla="*/ 10162 h 269321"/>
                  <a:gd name="connsiteX81" fmla="*/ 175670 w 316622"/>
                  <a:gd name="connsiteY81" fmla="*/ 10663 h 269321"/>
                  <a:gd name="connsiteX82" fmla="*/ 176841 w 316622"/>
                  <a:gd name="connsiteY82" fmla="*/ 12664 h 269321"/>
                  <a:gd name="connsiteX83" fmla="*/ 177169 w 316622"/>
                  <a:gd name="connsiteY83" fmla="*/ 14752 h 269321"/>
                  <a:gd name="connsiteX84" fmla="*/ 177689 w 316622"/>
                  <a:gd name="connsiteY84" fmla="*/ 16484 h 269321"/>
                  <a:gd name="connsiteX85" fmla="*/ 178637 w 316622"/>
                  <a:gd name="connsiteY85" fmla="*/ 17186 h 269321"/>
                  <a:gd name="connsiteX86" fmla="*/ 182192 w 316622"/>
                  <a:gd name="connsiteY86" fmla="*/ 17416 h 269321"/>
                  <a:gd name="connsiteX87" fmla="*/ 184811 w 316622"/>
                  <a:gd name="connsiteY87" fmla="*/ 18058 h 269321"/>
                  <a:gd name="connsiteX88" fmla="*/ 185504 w 316622"/>
                  <a:gd name="connsiteY88" fmla="*/ 18639 h 269321"/>
                  <a:gd name="connsiteX89" fmla="*/ 186400 w 316622"/>
                  <a:gd name="connsiteY89" fmla="*/ 22482 h 269321"/>
                  <a:gd name="connsiteX90" fmla="*/ 186888 w 316622"/>
                  <a:gd name="connsiteY90" fmla="*/ 23025 h 269321"/>
                  <a:gd name="connsiteX91" fmla="*/ 187541 w 316622"/>
                  <a:gd name="connsiteY91" fmla="*/ 22572 h 269321"/>
                  <a:gd name="connsiteX92" fmla="*/ 188186 w 316622"/>
                  <a:gd name="connsiteY92" fmla="*/ 21940 h 269321"/>
                  <a:gd name="connsiteX93" fmla="*/ 189082 w 316622"/>
                  <a:gd name="connsiteY93" fmla="*/ 21839 h 269321"/>
                  <a:gd name="connsiteX94" fmla="*/ 190620 w 316622"/>
                  <a:gd name="connsiteY94" fmla="*/ 22083 h 269321"/>
                  <a:gd name="connsiteX95" fmla="*/ 192645 w 316622"/>
                  <a:gd name="connsiteY95" fmla="*/ 22159 h 269321"/>
                  <a:gd name="connsiteX96" fmla="*/ 194734 w 316622"/>
                  <a:gd name="connsiteY96" fmla="*/ 22582 h 269321"/>
                  <a:gd name="connsiteX97" fmla="*/ 197618 w 316622"/>
                  <a:gd name="connsiteY97" fmla="*/ 24750 h 269321"/>
                  <a:gd name="connsiteX98" fmla="*/ 197508 w 316622"/>
                  <a:gd name="connsiteY98" fmla="*/ 25465 h 269321"/>
                  <a:gd name="connsiteX99" fmla="*/ 196945 w 316622"/>
                  <a:gd name="connsiteY99" fmla="*/ 26720 h 269321"/>
                  <a:gd name="connsiteX100" fmla="*/ 196748 w 316622"/>
                  <a:gd name="connsiteY100" fmla="*/ 27721 h 269321"/>
                  <a:gd name="connsiteX101" fmla="*/ 197245 w 316622"/>
                  <a:gd name="connsiteY101" fmla="*/ 28123 h 269321"/>
                  <a:gd name="connsiteX102" fmla="*/ 198007 w 316622"/>
                  <a:gd name="connsiteY102" fmla="*/ 29156 h 269321"/>
                  <a:gd name="connsiteX103" fmla="*/ 197824 w 316622"/>
                  <a:gd name="connsiteY103" fmla="*/ 30350 h 269321"/>
                  <a:gd name="connsiteX104" fmla="*/ 197081 w 316622"/>
                  <a:gd name="connsiteY104" fmla="*/ 31186 h 269321"/>
                  <a:gd name="connsiteX105" fmla="*/ 196783 w 316622"/>
                  <a:gd name="connsiteY105" fmla="*/ 31875 h 269321"/>
                  <a:gd name="connsiteX106" fmla="*/ 196787 w 316622"/>
                  <a:gd name="connsiteY106" fmla="*/ 32323 h 269321"/>
                  <a:gd name="connsiteX107" fmla="*/ 197059 w 316622"/>
                  <a:gd name="connsiteY107" fmla="*/ 32695 h 269321"/>
                  <a:gd name="connsiteX108" fmla="*/ 197651 w 316622"/>
                  <a:gd name="connsiteY108" fmla="*/ 33022 h 269321"/>
                  <a:gd name="connsiteX109" fmla="*/ 201911 w 316622"/>
                  <a:gd name="connsiteY109" fmla="*/ 33463 h 269321"/>
                  <a:gd name="connsiteX110" fmla="*/ 205809 w 316622"/>
                  <a:gd name="connsiteY110" fmla="*/ 33022 h 269321"/>
                  <a:gd name="connsiteX111" fmla="*/ 208266 w 316622"/>
                  <a:gd name="connsiteY111" fmla="*/ 31805 h 269321"/>
                  <a:gd name="connsiteX112" fmla="*/ 208685 w 316622"/>
                  <a:gd name="connsiteY112" fmla="*/ 30522 h 269321"/>
                  <a:gd name="connsiteX113" fmla="*/ 209383 w 316622"/>
                  <a:gd name="connsiteY113" fmla="*/ 29072 h 269321"/>
                  <a:gd name="connsiteX114" fmla="*/ 210847 w 316622"/>
                  <a:gd name="connsiteY114" fmla="*/ 27858 h 269321"/>
                  <a:gd name="connsiteX115" fmla="*/ 211860 w 316622"/>
                  <a:gd name="connsiteY115" fmla="*/ 27450 h 269321"/>
                  <a:gd name="connsiteX116" fmla="*/ 212786 w 316622"/>
                  <a:gd name="connsiteY116" fmla="*/ 27950 h 269321"/>
                  <a:gd name="connsiteX117" fmla="*/ 211227 w 316622"/>
                  <a:gd name="connsiteY117" fmla="*/ 33042 h 269321"/>
                  <a:gd name="connsiteX118" fmla="*/ 212365 w 316622"/>
                  <a:gd name="connsiteY118" fmla="*/ 34342 h 269321"/>
                  <a:gd name="connsiteX119" fmla="*/ 212533 w 316622"/>
                  <a:gd name="connsiteY119" fmla="*/ 36284 h 269321"/>
                  <a:gd name="connsiteX120" fmla="*/ 212941 w 316622"/>
                  <a:gd name="connsiteY120" fmla="*/ 37983 h 269321"/>
                  <a:gd name="connsiteX121" fmla="*/ 214334 w 316622"/>
                  <a:gd name="connsiteY121" fmla="*/ 37951 h 269321"/>
                  <a:gd name="connsiteX122" fmla="*/ 216023 w 316622"/>
                  <a:gd name="connsiteY122" fmla="*/ 38265 h 269321"/>
                  <a:gd name="connsiteX123" fmla="*/ 217219 w 316622"/>
                  <a:gd name="connsiteY123" fmla="*/ 38893 h 269321"/>
                  <a:gd name="connsiteX124" fmla="*/ 218614 w 316622"/>
                  <a:gd name="connsiteY124" fmla="*/ 39902 h 269321"/>
                  <a:gd name="connsiteX125" fmla="*/ 220625 w 316622"/>
                  <a:gd name="connsiteY125" fmla="*/ 40829 h 269321"/>
                  <a:gd name="connsiteX126" fmla="*/ 222035 w 316622"/>
                  <a:gd name="connsiteY126" fmla="*/ 41155 h 269321"/>
                  <a:gd name="connsiteX127" fmla="*/ 222546 w 316622"/>
                  <a:gd name="connsiteY127" fmla="*/ 41929 h 269321"/>
                  <a:gd name="connsiteX128" fmla="*/ 223686 w 316622"/>
                  <a:gd name="connsiteY128" fmla="*/ 42825 h 269321"/>
                  <a:gd name="connsiteX129" fmla="*/ 225481 w 316622"/>
                  <a:gd name="connsiteY129" fmla="*/ 44702 h 269321"/>
                  <a:gd name="connsiteX130" fmla="*/ 227087 w 316622"/>
                  <a:gd name="connsiteY130" fmla="*/ 45954 h 269321"/>
                  <a:gd name="connsiteX131" fmla="*/ 227863 w 316622"/>
                  <a:gd name="connsiteY131" fmla="*/ 45949 h 269321"/>
                  <a:gd name="connsiteX132" fmla="*/ 229359 w 316622"/>
                  <a:gd name="connsiteY132" fmla="*/ 45456 h 269321"/>
                  <a:gd name="connsiteX133" fmla="*/ 231579 w 316622"/>
                  <a:gd name="connsiteY133" fmla="*/ 45140 h 269321"/>
                  <a:gd name="connsiteX134" fmla="*/ 233332 w 316622"/>
                  <a:gd name="connsiteY134" fmla="*/ 45167 h 269321"/>
                  <a:gd name="connsiteX135" fmla="*/ 234078 w 316622"/>
                  <a:gd name="connsiteY135" fmla="*/ 46120 h 269321"/>
                  <a:gd name="connsiteX136" fmla="*/ 235801 w 316622"/>
                  <a:gd name="connsiteY136" fmla="*/ 46560 h 269321"/>
                  <a:gd name="connsiteX137" fmla="*/ 236410 w 316622"/>
                  <a:gd name="connsiteY137" fmla="*/ 46910 h 269321"/>
                  <a:gd name="connsiteX138" fmla="*/ 237086 w 316622"/>
                  <a:gd name="connsiteY138" fmla="*/ 47567 h 269321"/>
                  <a:gd name="connsiteX139" fmla="*/ 238234 w 316622"/>
                  <a:gd name="connsiteY139" fmla="*/ 47831 h 269321"/>
                  <a:gd name="connsiteX140" fmla="*/ 239621 w 316622"/>
                  <a:gd name="connsiteY140" fmla="*/ 47567 h 269321"/>
                  <a:gd name="connsiteX141" fmla="*/ 240633 w 316622"/>
                  <a:gd name="connsiteY141" fmla="*/ 46690 h 269321"/>
                  <a:gd name="connsiteX142" fmla="*/ 241985 w 316622"/>
                  <a:gd name="connsiteY142" fmla="*/ 46297 h 269321"/>
                  <a:gd name="connsiteX143" fmla="*/ 243337 w 316622"/>
                  <a:gd name="connsiteY143" fmla="*/ 46428 h 269321"/>
                  <a:gd name="connsiteX144" fmla="*/ 244114 w 316622"/>
                  <a:gd name="connsiteY144" fmla="*/ 46910 h 269321"/>
                  <a:gd name="connsiteX145" fmla="*/ 245596 w 316622"/>
                  <a:gd name="connsiteY145" fmla="*/ 47622 h 269321"/>
                  <a:gd name="connsiteX146" fmla="*/ 246434 w 316622"/>
                  <a:gd name="connsiteY146" fmla="*/ 47467 h 269321"/>
                  <a:gd name="connsiteX147" fmla="*/ 248111 w 316622"/>
                  <a:gd name="connsiteY147" fmla="*/ 47905 h 269321"/>
                  <a:gd name="connsiteX148" fmla="*/ 249796 w 316622"/>
                  <a:gd name="connsiteY148" fmla="*/ 49287 h 269321"/>
                  <a:gd name="connsiteX149" fmla="*/ 250504 w 316622"/>
                  <a:gd name="connsiteY149" fmla="*/ 50676 h 269321"/>
                  <a:gd name="connsiteX150" fmla="*/ 250689 w 316622"/>
                  <a:gd name="connsiteY150" fmla="*/ 51435 h 269321"/>
                  <a:gd name="connsiteX151" fmla="*/ 251417 w 316622"/>
                  <a:gd name="connsiteY151" fmla="*/ 52260 h 269321"/>
                  <a:gd name="connsiteX152" fmla="*/ 254244 w 316622"/>
                  <a:gd name="connsiteY152" fmla="*/ 55987 h 269321"/>
                  <a:gd name="connsiteX153" fmla="*/ 255147 w 316622"/>
                  <a:gd name="connsiteY153" fmla="*/ 56171 h 269321"/>
                  <a:gd name="connsiteX154" fmla="*/ 256129 w 316622"/>
                  <a:gd name="connsiteY154" fmla="*/ 55606 h 269321"/>
                  <a:gd name="connsiteX155" fmla="*/ 256766 w 316622"/>
                  <a:gd name="connsiteY155" fmla="*/ 54805 h 269321"/>
                  <a:gd name="connsiteX156" fmla="*/ 257688 w 316622"/>
                  <a:gd name="connsiteY156" fmla="*/ 54645 h 269321"/>
                  <a:gd name="connsiteX157" fmla="*/ 259172 w 316622"/>
                  <a:gd name="connsiteY157" fmla="*/ 55014 h 269321"/>
                  <a:gd name="connsiteX158" fmla="*/ 260126 w 316622"/>
                  <a:gd name="connsiteY158" fmla="*/ 55436 h 269321"/>
                  <a:gd name="connsiteX159" fmla="*/ 260584 w 316622"/>
                  <a:gd name="connsiteY159" fmla="*/ 57049 h 269321"/>
                  <a:gd name="connsiteX160" fmla="*/ 260906 w 316622"/>
                  <a:gd name="connsiteY160" fmla="*/ 57356 h 269321"/>
                  <a:gd name="connsiteX161" fmla="*/ 261547 w 316622"/>
                  <a:gd name="connsiteY161" fmla="*/ 57009 h 269321"/>
                  <a:gd name="connsiteX162" fmla="*/ 262690 w 316622"/>
                  <a:gd name="connsiteY162" fmla="*/ 56932 h 269321"/>
                  <a:gd name="connsiteX163" fmla="*/ 264514 w 316622"/>
                  <a:gd name="connsiteY163" fmla="*/ 57330 h 269321"/>
                  <a:gd name="connsiteX164" fmla="*/ 267023 w 316622"/>
                  <a:gd name="connsiteY164" fmla="*/ 56875 h 269321"/>
                  <a:gd name="connsiteX165" fmla="*/ 269031 w 316622"/>
                  <a:gd name="connsiteY165" fmla="*/ 56202 h 269321"/>
                  <a:gd name="connsiteX166" fmla="*/ 270057 w 316622"/>
                  <a:gd name="connsiteY166" fmla="*/ 56227 h 269321"/>
                  <a:gd name="connsiteX167" fmla="*/ 271713 w 316622"/>
                  <a:gd name="connsiteY167" fmla="*/ 58108 h 269321"/>
                  <a:gd name="connsiteX168" fmla="*/ 273603 w 316622"/>
                  <a:gd name="connsiteY168" fmla="*/ 58811 h 269321"/>
                  <a:gd name="connsiteX169" fmla="*/ 277766 w 316622"/>
                  <a:gd name="connsiteY169" fmla="*/ 59378 h 269321"/>
                  <a:gd name="connsiteX170" fmla="*/ 282234 w 316622"/>
                  <a:gd name="connsiteY170" fmla="*/ 60262 h 269321"/>
                  <a:gd name="connsiteX171" fmla="*/ 283989 w 316622"/>
                  <a:gd name="connsiteY171" fmla="*/ 60976 h 269321"/>
                  <a:gd name="connsiteX172" fmla="*/ 285188 w 316622"/>
                  <a:gd name="connsiteY172" fmla="*/ 61327 h 269321"/>
                  <a:gd name="connsiteX173" fmla="*/ 285309 w 316622"/>
                  <a:gd name="connsiteY173" fmla="*/ 63812 h 269321"/>
                  <a:gd name="connsiteX174" fmla="*/ 284948 w 316622"/>
                  <a:gd name="connsiteY174" fmla="*/ 64187 h 269321"/>
                  <a:gd name="connsiteX175" fmla="*/ 280498 w 316622"/>
                  <a:gd name="connsiteY175" fmla="*/ 69161 h 269321"/>
                  <a:gd name="connsiteX176" fmla="*/ 278623 w 316622"/>
                  <a:gd name="connsiteY176" fmla="*/ 70938 h 269321"/>
                  <a:gd name="connsiteX177" fmla="*/ 277669 w 316622"/>
                  <a:gd name="connsiteY177" fmla="*/ 73471 h 269321"/>
                  <a:gd name="connsiteX178" fmla="*/ 277013 w 316622"/>
                  <a:gd name="connsiteY178" fmla="*/ 77352 h 269321"/>
                  <a:gd name="connsiteX179" fmla="*/ 275698 w 316622"/>
                  <a:gd name="connsiteY179" fmla="*/ 81034 h 269321"/>
                  <a:gd name="connsiteX180" fmla="*/ 273728 w 316622"/>
                  <a:gd name="connsiteY180" fmla="*/ 84519 h 269321"/>
                  <a:gd name="connsiteX181" fmla="*/ 273011 w 316622"/>
                  <a:gd name="connsiteY181" fmla="*/ 87132 h 269321"/>
                  <a:gd name="connsiteX182" fmla="*/ 273549 w 316622"/>
                  <a:gd name="connsiteY182" fmla="*/ 88874 h 269321"/>
                  <a:gd name="connsiteX183" fmla="*/ 273212 w 316622"/>
                  <a:gd name="connsiteY183" fmla="*/ 91607 h 269321"/>
                  <a:gd name="connsiteX184" fmla="*/ 272003 w 316622"/>
                  <a:gd name="connsiteY184" fmla="*/ 95326 h 269321"/>
                  <a:gd name="connsiteX185" fmla="*/ 271800 w 316622"/>
                  <a:gd name="connsiteY185" fmla="*/ 98132 h 269321"/>
                  <a:gd name="connsiteX186" fmla="*/ 272597 w 316622"/>
                  <a:gd name="connsiteY186" fmla="*/ 100025 h 269321"/>
                  <a:gd name="connsiteX187" fmla="*/ 273707 w 316622"/>
                  <a:gd name="connsiteY187" fmla="*/ 100413 h 269321"/>
                  <a:gd name="connsiteX188" fmla="*/ 271037 w 316622"/>
                  <a:gd name="connsiteY188" fmla="*/ 101687 h 269321"/>
                  <a:gd name="connsiteX189" fmla="*/ 270429 w 316622"/>
                  <a:gd name="connsiteY189" fmla="*/ 102801 h 269321"/>
                  <a:gd name="connsiteX190" fmla="*/ 269381 w 316622"/>
                  <a:gd name="connsiteY190" fmla="*/ 104274 h 269321"/>
                  <a:gd name="connsiteX191" fmla="*/ 267682 w 316622"/>
                  <a:gd name="connsiteY191" fmla="*/ 104893 h 269321"/>
                  <a:gd name="connsiteX192" fmla="*/ 265970 w 316622"/>
                  <a:gd name="connsiteY192" fmla="*/ 105098 h 269321"/>
                  <a:gd name="connsiteX193" fmla="*/ 264585 w 316622"/>
                  <a:gd name="connsiteY193" fmla="*/ 104903 h 269321"/>
                  <a:gd name="connsiteX194" fmla="*/ 263797 w 316622"/>
                  <a:gd name="connsiteY194" fmla="*/ 104315 h 269321"/>
                  <a:gd name="connsiteX195" fmla="*/ 263836 w 316622"/>
                  <a:gd name="connsiteY195" fmla="*/ 103767 h 269321"/>
                  <a:gd name="connsiteX196" fmla="*/ 263102 w 316622"/>
                  <a:gd name="connsiteY196" fmla="*/ 103301 h 269321"/>
                  <a:gd name="connsiteX197" fmla="*/ 261275 w 316622"/>
                  <a:gd name="connsiteY197" fmla="*/ 103315 h 269321"/>
                  <a:gd name="connsiteX198" fmla="*/ 259394 w 316622"/>
                  <a:gd name="connsiteY198" fmla="*/ 104328 h 269321"/>
                  <a:gd name="connsiteX199" fmla="*/ 257891 w 316622"/>
                  <a:gd name="connsiteY199" fmla="*/ 105982 h 269321"/>
                  <a:gd name="connsiteX200" fmla="*/ 258358 w 316622"/>
                  <a:gd name="connsiteY200" fmla="*/ 106907 h 269321"/>
                  <a:gd name="connsiteX201" fmla="*/ 259742 w 316622"/>
                  <a:gd name="connsiteY201" fmla="*/ 107151 h 269321"/>
                  <a:gd name="connsiteX202" fmla="*/ 260107 w 316622"/>
                  <a:gd name="connsiteY202" fmla="*/ 107517 h 269321"/>
                  <a:gd name="connsiteX203" fmla="*/ 260107 w 316622"/>
                  <a:gd name="connsiteY203" fmla="*/ 107992 h 269321"/>
                  <a:gd name="connsiteX204" fmla="*/ 259619 w 316622"/>
                  <a:gd name="connsiteY204" fmla="*/ 108564 h 269321"/>
                  <a:gd name="connsiteX205" fmla="*/ 259034 w 316622"/>
                  <a:gd name="connsiteY205" fmla="*/ 109541 h 269321"/>
                  <a:gd name="connsiteX206" fmla="*/ 256129 w 316622"/>
                  <a:gd name="connsiteY206" fmla="*/ 112450 h 269321"/>
                  <a:gd name="connsiteX207" fmla="*/ 253197 w 316622"/>
                  <a:gd name="connsiteY207" fmla="*/ 115382 h 269321"/>
                  <a:gd name="connsiteX208" fmla="*/ 252728 w 316622"/>
                  <a:gd name="connsiteY208" fmla="*/ 116268 h 269321"/>
                  <a:gd name="connsiteX209" fmla="*/ 251798 w 316622"/>
                  <a:gd name="connsiteY209" fmla="*/ 116887 h 269321"/>
                  <a:gd name="connsiteX210" fmla="*/ 248070 w 316622"/>
                  <a:gd name="connsiteY210" fmla="*/ 118450 h 269321"/>
                  <a:gd name="connsiteX211" fmla="*/ 247680 w 316622"/>
                  <a:gd name="connsiteY211" fmla="*/ 119076 h 269321"/>
                  <a:gd name="connsiteX212" fmla="*/ 247468 w 316622"/>
                  <a:gd name="connsiteY212" fmla="*/ 121685 h 269321"/>
                  <a:gd name="connsiteX213" fmla="*/ 247051 w 316622"/>
                  <a:gd name="connsiteY213" fmla="*/ 123826 h 269321"/>
                  <a:gd name="connsiteX214" fmla="*/ 244287 w 316622"/>
                  <a:gd name="connsiteY214" fmla="*/ 125839 h 269321"/>
                  <a:gd name="connsiteX215" fmla="*/ 241536 w 316622"/>
                  <a:gd name="connsiteY215" fmla="*/ 127842 h 269321"/>
                  <a:gd name="connsiteX216" fmla="*/ 240849 w 316622"/>
                  <a:gd name="connsiteY216" fmla="*/ 129065 h 269321"/>
                  <a:gd name="connsiteX217" fmla="*/ 240348 w 316622"/>
                  <a:gd name="connsiteY217" fmla="*/ 130480 h 269321"/>
                  <a:gd name="connsiteX218" fmla="*/ 239485 w 316622"/>
                  <a:gd name="connsiteY218" fmla="*/ 132076 h 269321"/>
                  <a:gd name="connsiteX219" fmla="*/ 239314 w 316622"/>
                  <a:gd name="connsiteY219" fmla="*/ 132919 h 269321"/>
                  <a:gd name="connsiteX220" fmla="*/ 240707 w 316622"/>
                  <a:gd name="connsiteY220" fmla="*/ 134293 h 269321"/>
                  <a:gd name="connsiteX221" fmla="*/ 240545 w 316622"/>
                  <a:gd name="connsiteY221" fmla="*/ 135429 h 269321"/>
                  <a:gd name="connsiteX222" fmla="*/ 240102 w 316622"/>
                  <a:gd name="connsiteY222" fmla="*/ 137043 h 269321"/>
                  <a:gd name="connsiteX223" fmla="*/ 238780 w 316622"/>
                  <a:gd name="connsiteY223" fmla="*/ 138186 h 269321"/>
                  <a:gd name="connsiteX224" fmla="*/ 237319 w 316622"/>
                  <a:gd name="connsiteY224" fmla="*/ 138834 h 269321"/>
                  <a:gd name="connsiteX225" fmla="*/ 237351 w 316622"/>
                  <a:gd name="connsiteY225" fmla="*/ 140590 h 269321"/>
                  <a:gd name="connsiteX226" fmla="*/ 238129 w 316622"/>
                  <a:gd name="connsiteY226" fmla="*/ 140836 h 269321"/>
                  <a:gd name="connsiteX227" fmla="*/ 239897 w 316622"/>
                  <a:gd name="connsiteY227" fmla="*/ 140706 h 269321"/>
                  <a:gd name="connsiteX228" fmla="*/ 242391 w 316622"/>
                  <a:gd name="connsiteY228" fmla="*/ 139432 h 269321"/>
                  <a:gd name="connsiteX229" fmla="*/ 244017 w 316622"/>
                  <a:gd name="connsiteY229" fmla="*/ 137794 h 269321"/>
                  <a:gd name="connsiteX230" fmla="*/ 243059 w 316622"/>
                  <a:gd name="connsiteY230" fmla="*/ 136238 h 269321"/>
                  <a:gd name="connsiteX231" fmla="*/ 242940 w 316622"/>
                  <a:gd name="connsiteY231" fmla="*/ 135933 h 269321"/>
                  <a:gd name="connsiteX232" fmla="*/ 243171 w 316622"/>
                  <a:gd name="connsiteY232" fmla="*/ 135568 h 269321"/>
                  <a:gd name="connsiteX233" fmla="*/ 245099 w 316622"/>
                  <a:gd name="connsiteY233" fmla="*/ 133875 h 269321"/>
                  <a:gd name="connsiteX234" fmla="*/ 247466 w 316622"/>
                  <a:gd name="connsiteY234" fmla="*/ 132854 h 269321"/>
                  <a:gd name="connsiteX235" fmla="*/ 250767 w 316622"/>
                  <a:gd name="connsiteY235" fmla="*/ 132664 h 269321"/>
                  <a:gd name="connsiteX236" fmla="*/ 254745 w 316622"/>
                  <a:gd name="connsiteY236" fmla="*/ 133263 h 269321"/>
                  <a:gd name="connsiteX237" fmla="*/ 255142 w 316622"/>
                  <a:gd name="connsiteY237" fmla="*/ 133516 h 269321"/>
                  <a:gd name="connsiteX238" fmla="*/ 254950 w 316622"/>
                  <a:gd name="connsiteY238" fmla="*/ 134554 h 269321"/>
                  <a:gd name="connsiteX239" fmla="*/ 255321 w 316622"/>
                  <a:gd name="connsiteY239" fmla="*/ 136085 h 269321"/>
                  <a:gd name="connsiteX240" fmla="*/ 256043 w 316622"/>
                  <a:gd name="connsiteY240" fmla="*/ 137159 h 269321"/>
                  <a:gd name="connsiteX241" fmla="*/ 255054 w 316622"/>
                  <a:gd name="connsiteY241" fmla="*/ 140205 h 269321"/>
                  <a:gd name="connsiteX242" fmla="*/ 255797 w 316622"/>
                  <a:gd name="connsiteY242" fmla="*/ 141159 h 269321"/>
                  <a:gd name="connsiteX243" fmla="*/ 256954 w 316622"/>
                  <a:gd name="connsiteY243" fmla="*/ 142299 h 269321"/>
                  <a:gd name="connsiteX244" fmla="*/ 257822 w 316622"/>
                  <a:gd name="connsiteY244" fmla="*/ 143340 h 269321"/>
                  <a:gd name="connsiteX245" fmla="*/ 259070 w 316622"/>
                  <a:gd name="connsiteY245" fmla="*/ 144296 h 269321"/>
                  <a:gd name="connsiteX246" fmla="*/ 260180 w 316622"/>
                  <a:gd name="connsiteY246" fmla="*/ 145906 h 269321"/>
                  <a:gd name="connsiteX247" fmla="*/ 260560 w 316622"/>
                  <a:gd name="connsiteY247" fmla="*/ 146818 h 269321"/>
                  <a:gd name="connsiteX248" fmla="*/ 258785 w 316622"/>
                  <a:gd name="connsiteY248" fmla="*/ 148402 h 269321"/>
                  <a:gd name="connsiteX249" fmla="*/ 255771 w 316622"/>
                  <a:gd name="connsiteY249" fmla="*/ 149886 h 269321"/>
                  <a:gd name="connsiteX250" fmla="*/ 255432 w 316622"/>
                  <a:gd name="connsiteY250" fmla="*/ 150836 h 269321"/>
                  <a:gd name="connsiteX251" fmla="*/ 255471 w 316622"/>
                  <a:gd name="connsiteY251" fmla="*/ 151916 h 269321"/>
                  <a:gd name="connsiteX252" fmla="*/ 255810 w 316622"/>
                  <a:gd name="connsiteY252" fmla="*/ 152765 h 269321"/>
                  <a:gd name="connsiteX253" fmla="*/ 257472 w 316622"/>
                  <a:gd name="connsiteY253" fmla="*/ 153857 h 269321"/>
                  <a:gd name="connsiteX254" fmla="*/ 259263 w 316622"/>
                  <a:gd name="connsiteY254" fmla="*/ 156327 h 269321"/>
                  <a:gd name="connsiteX255" fmla="*/ 260396 w 316622"/>
                  <a:gd name="connsiteY255" fmla="*/ 158528 h 269321"/>
                  <a:gd name="connsiteX256" fmla="*/ 262881 w 316622"/>
                  <a:gd name="connsiteY256" fmla="*/ 160637 h 269321"/>
                  <a:gd name="connsiteX257" fmla="*/ 263486 w 316622"/>
                  <a:gd name="connsiteY257" fmla="*/ 161261 h 269321"/>
                  <a:gd name="connsiteX258" fmla="*/ 263331 w 316622"/>
                  <a:gd name="connsiteY258" fmla="*/ 161788 h 269321"/>
                  <a:gd name="connsiteX259" fmla="*/ 262676 w 316622"/>
                  <a:gd name="connsiteY259" fmla="*/ 162686 h 269321"/>
                  <a:gd name="connsiteX260" fmla="*/ 261826 w 316622"/>
                  <a:gd name="connsiteY260" fmla="*/ 165676 h 269321"/>
                  <a:gd name="connsiteX261" fmla="*/ 260811 w 316622"/>
                  <a:gd name="connsiteY261" fmla="*/ 166151 h 269321"/>
                  <a:gd name="connsiteX262" fmla="*/ 259679 w 316622"/>
                  <a:gd name="connsiteY262" fmla="*/ 166344 h 269321"/>
                  <a:gd name="connsiteX263" fmla="*/ 256607 w 316622"/>
                  <a:gd name="connsiteY263" fmla="*/ 168532 h 269321"/>
                  <a:gd name="connsiteX264" fmla="*/ 255237 w 316622"/>
                  <a:gd name="connsiteY264" fmla="*/ 168267 h 269321"/>
                  <a:gd name="connsiteX265" fmla="*/ 253290 w 316622"/>
                  <a:gd name="connsiteY265" fmla="*/ 168295 h 269321"/>
                  <a:gd name="connsiteX266" fmla="*/ 251862 w 316622"/>
                  <a:gd name="connsiteY266" fmla="*/ 169016 h 269321"/>
                  <a:gd name="connsiteX267" fmla="*/ 252018 w 316622"/>
                  <a:gd name="connsiteY267" fmla="*/ 170378 h 269321"/>
                  <a:gd name="connsiteX268" fmla="*/ 253270 w 316622"/>
                  <a:gd name="connsiteY268" fmla="*/ 171624 h 269321"/>
                  <a:gd name="connsiteX269" fmla="*/ 254006 w 316622"/>
                  <a:gd name="connsiteY269" fmla="*/ 172980 h 269321"/>
                  <a:gd name="connsiteX270" fmla="*/ 254304 w 316622"/>
                  <a:gd name="connsiteY270" fmla="*/ 174390 h 269321"/>
                  <a:gd name="connsiteX271" fmla="*/ 255695 w 316622"/>
                  <a:gd name="connsiteY271" fmla="*/ 175434 h 269321"/>
                  <a:gd name="connsiteX272" fmla="*/ 257647 w 316622"/>
                  <a:gd name="connsiteY272" fmla="*/ 176058 h 269321"/>
                  <a:gd name="connsiteX273" fmla="*/ 258764 w 316622"/>
                  <a:gd name="connsiteY273" fmla="*/ 176100 h 269321"/>
                  <a:gd name="connsiteX274" fmla="*/ 259494 w 316622"/>
                  <a:gd name="connsiteY274" fmla="*/ 176475 h 269321"/>
                  <a:gd name="connsiteX275" fmla="*/ 259932 w 316622"/>
                  <a:gd name="connsiteY275" fmla="*/ 176958 h 269321"/>
                  <a:gd name="connsiteX276" fmla="*/ 260772 w 316622"/>
                  <a:gd name="connsiteY276" fmla="*/ 179974 h 269321"/>
                  <a:gd name="connsiteX277" fmla="*/ 260269 w 316622"/>
                  <a:gd name="connsiteY277" fmla="*/ 180730 h 269321"/>
                  <a:gd name="connsiteX278" fmla="*/ 259217 w 316622"/>
                  <a:gd name="connsiteY278" fmla="*/ 181052 h 269321"/>
                  <a:gd name="connsiteX279" fmla="*/ 258589 w 316622"/>
                  <a:gd name="connsiteY279" fmla="*/ 182291 h 269321"/>
                  <a:gd name="connsiteX280" fmla="*/ 257334 w 316622"/>
                  <a:gd name="connsiteY280" fmla="*/ 184118 h 269321"/>
                  <a:gd name="connsiteX281" fmla="*/ 256622 w 316622"/>
                  <a:gd name="connsiteY281" fmla="*/ 185583 h 269321"/>
                  <a:gd name="connsiteX282" fmla="*/ 257410 w 316622"/>
                  <a:gd name="connsiteY282" fmla="*/ 186872 h 269321"/>
                  <a:gd name="connsiteX283" fmla="*/ 257746 w 316622"/>
                  <a:gd name="connsiteY283" fmla="*/ 187826 h 269321"/>
                  <a:gd name="connsiteX284" fmla="*/ 257325 w 316622"/>
                  <a:gd name="connsiteY284" fmla="*/ 188808 h 269321"/>
                  <a:gd name="connsiteX285" fmla="*/ 257887 w 316622"/>
                  <a:gd name="connsiteY285" fmla="*/ 190337 h 269321"/>
                  <a:gd name="connsiteX286" fmla="*/ 259370 w 316622"/>
                  <a:gd name="connsiteY286" fmla="*/ 191849 h 269321"/>
                  <a:gd name="connsiteX287" fmla="*/ 263398 w 316622"/>
                  <a:gd name="connsiteY287" fmla="*/ 193974 h 269321"/>
                  <a:gd name="connsiteX288" fmla="*/ 267138 w 316622"/>
                  <a:gd name="connsiteY288" fmla="*/ 195701 h 269321"/>
                  <a:gd name="connsiteX289" fmla="*/ 268295 w 316622"/>
                  <a:gd name="connsiteY289" fmla="*/ 195988 h 269321"/>
                  <a:gd name="connsiteX290" fmla="*/ 273348 w 316622"/>
                  <a:gd name="connsiteY290" fmla="*/ 194877 h 269321"/>
                  <a:gd name="connsiteX291" fmla="*/ 274184 w 316622"/>
                  <a:gd name="connsiteY291" fmla="*/ 194973 h 269321"/>
                  <a:gd name="connsiteX292" fmla="*/ 274799 w 316622"/>
                  <a:gd name="connsiteY292" fmla="*/ 196296 h 269321"/>
                  <a:gd name="connsiteX293" fmla="*/ 275067 w 316622"/>
                  <a:gd name="connsiteY293" fmla="*/ 197186 h 269321"/>
                  <a:gd name="connsiteX294" fmla="*/ 274499 w 316622"/>
                  <a:gd name="connsiteY294" fmla="*/ 198527 h 269321"/>
                  <a:gd name="connsiteX295" fmla="*/ 273132 w 316622"/>
                  <a:gd name="connsiteY295" fmla="*/ 200372 h 269321"/>
                  <a:gd name="connsiteX296" fmla="*/ 271651 w 316622"/>
                  <a:gd name="connsiteY296" fmla="*/ 201842 h 269321"/>
                  <a:gd name="connsiteX297" fmla="*/ 270753 w 316622"/>
                  <a:gd name="connsiteY297" fmla="*/ 203091 h 269321"/>
                  <a:gd name="connsiteX298" fmla="*/ 270940 w 316622"/>
                  <a:gd name="connsiteY298" fmla="*/ 204224 h 269321"/>
                  <a:gd name="connsiteX299" fmla="*/ 270999 w 316622"/>
                  <a:gd name="connsiteY299" fmla="*/ 205731 h 269321"/>
                  <a:gd name="connsiteX300" fmla="*/ 269794 w 316622"/>
                  <a:gd name="connsiteY300" fmla="*/ 206182 h 269321"/>
                  <a:gd name="connsiteX301" fmla="*/ 269755 w 316622"/>
                  <a:gd name="connsiteY301" fmla="*/ 205884 h 269321"/>
                  <a:gd name="connsiteX302" fmla="*/ 269258 w 316622"/>
                  <a:gd name="connsiteY302" fmla="*/ 205630 h 269321"/>
                  <a:gd name="connsiteX303" fmla="*/ 268829 w 316622"/>
                  <a:gd name="connsiteY303" fmla="*/ 205780 h 269321"/>
                  <a:gd name="connsiteX304" fmla="*/ 268498 w 316622"/>
                  <a:gd name="connsiteY304" fmla="*/ 206107 h 269321"/>
                  <a:gd name="connsiteX305" fmla="*/ 268446 w 316622"/>
                  <a:gd name="connsiteY305" fmla="*/ 206687 h 269321"/>
                  <a:gd name="connsiteX306" fmla="*/ 265877 w 316622"/>
                  <a:gd name="connsiteY306" fmla="*/ 207649 h 269321"/>
                  <a:gd name="connsiteX307" fmla="*/ 264106 w 316622"/>
                  <a:gd name="connsiteY307" fmla="*/ 208646 h 269321"/>
                  <a:gd name="connsiteX308" fmla="*/ 257103 w 316622"/>
                  <a:gd name="connsiteY308" fmla="*/ 214594 h 269321"/>
                  <a:gd name="connsiteX309" fmla="*/ 253827 w 316622"/>
                  <a:gd name="connsiteY309" fmla="*/ 216336 h 269321"/>
                  <a:gd name="connsiteX310" fmla="*/ 253182 w 316622"/>
                  <a:gd name="connsiteY310" fmla="*/ 217385 h 269321"/>
                  <a:gd name="connsiteX311" fmla="*/ 252514 w 316622"/>
                  <a:gd name="connsiteY311" fmla="*/ 219345 h 269321"/>
                  <a:gd name="connsiteX312" fmla="*/ 250590 w 316622"/>
                  <a:gd name="connsiteY312" fmla="*/ 221026 h 269321"/>
                  <a:gd name="connsiteX313" fmla="*/ 248906 w 316622"/>
                  <a:gd name="connsiteY313" fmla="*/ 221825 h 269321"/>
                  <a:gd name="connsiteX314" fmla="*/ 244734 w 316622"/>
                  <a:gd name="connsiteY314" fmla="*/ 222646 h 269321"/>
                  <a:gd name="connsiteX315" fmla="*/ 240545 w 316622"/>
                  <a:gd name="connsiteY315" fmla="*/ 224426 h 269321"/>
                  <a:gd name="connsiteX316" fmla="*/ 238658 w 316622"/>
                  <a:gd name="connsiteY316" fmla="*/ 223659 h 269321"/>
                  <a:gd name="connsiteX317" fmla="*/ 233769 w 316622"/>
                  <a:gd name="connsiteY317" fmla="*/ 223741 h 269321"/>
                  <a:gd name="connsiteX318" fmla="*/ 230720 w 316622"/>
                  <a:gd name="connsiteY318" fmla="*/ 221596 h 269321"/>
                  <a:gd name="connsiteX319" fmla="*/ 224859 w 316622"/>
                  <a:gd name="connsiteY319" fmla="*/ 220235 h 269321"/>
                  <a:gd name="connsiteX320" fmla="*/ 222950 w 316622"/>
                  <a:gd name="connsiteY320" fmla="*/ 217107 h 269321"/>
                  <a:gd name="connsiteX321" fmla="*/ 220281 w 316622"/>
                  <a:gd name="connsiteY321" fmla="*/ 216904 h 269321"/>
                  <a:gd name="connsiteX322" fmla="*/ 218532 w 316622"/>
                  <a:gd name="connsiteY322" fmla="*/ 216998 h 269321"/>
                  <a:gd name="connsiteX323" fmla="*/ 217487 w 316622"/>
                  <a:gd name="connsiteY323" fmla="*/ 216524 h 269321"/>
                  <a:gd name="connsiteX324" fmla="*/ 217215 w 316622"/>
                  <a:gd name="connsiteY324" fmla="*/ 215456 h 269321"/>
                  <a:gd name="connsiteX325" fmla="*/ 217191 w 316622"/>
                  <a:gd name="connsiteY325" fmla="*/ 214427 h 269321"/>
                  <a:gd name="connsiteX326" fmla="*/ 215339 w 316622"/>
                  <a:gd name="connsiteY326" fmla="*/ 214901 h 269321"/>
                  <a:gd name="connsiteX327" fmla="*/ 213922 w 316622"/>
                  <a:gd name="connsiteY327" fmla="*/ 214901 h 269321"/>
                  <a:gd name="connsiteX328" fmla="*/ 213077 w 316622"/>
                  <a:gd name="connsiteY328" fmla="*/ 215313 h 269321"/>
                  <a:gd name="connsiteX329" fmla="*/ 212410 w 316622"/>
                  <a:gd name="connsiteY329" fmla="*/ 215789 h 269321"/>
                  <a:gd name="connsiteX330" fmla="*/ 211622 w 316622"/>
                  <a:gd name="connsiteY330" fmla="*/ 215485 h 269321"/>
                  <a:gd name="connsiteX331" fmla="*/ 211164 w 316622"/>
                  <a:gd name="connsiteY331" fmla="*/ 215587 h 269321"/>
                  <a:gd name="connsiteX332" fmla="*/ 211205 w 316622"/>
                  <a:gd name="connsiteY332" fmla="*/ 216193 h 269321"/>
                  <a:gd name="connsiteX333" fmla="*/ 209504 w 316622"/>
                  <a:gd name="connsiteY333" fmla="*/ 216344 h 269321"/>
                  <a:gd name="connsiteX334" fmla="*/ 207660 w 316622"/>
                  <a:gd name="connsiteY334" fmla="*/ 215973 h 269321"/>
                  <a:gd name="connsiteX335" fmla="*/ 202818 w 316622"/>
                  <a:gd name="connsiteY335" fmla="*/ 214355 h 269321"/>
                  <a:gd name="connsiteX336" fmla="*/ 202075 w 316622"/>
                  <a:gd name="connsiteY336" fmla="*/ 214108 h 269321"/>
                  <a:gd name="connsiteX337" fmla="*/ 198715 w 316622"/>
                  <a:gd name="connsiteY337" fmla="*/ 213482 h 269321"/>
                  <a:gd name="connsiteX338" fmla="*/ 197357 w 316622"/>
                  <a:gd name="connsiteY338" fmla="*/ 212836 h 269321"/>
                  <a:gd name="connsiteX339" fmla="*/ 196258 w 316622"/>
                  <a:gd name="connsiteY339" fmla="*/ 211236 h 269321"/>
                  <a:gd name="connsiteX340" fmla="*/ 195418 w 316622"/>
                  <a:gd name="connsiteY340" fmla="*/ 210730 h 269321"/>
                  <a:gd name="connsiteX341" fmla="*/ 194921 w 316622"/>
                  <a:gd name="connsiteY341" fmla="*/ 210427 h 269321"/>
                  <a:gd name="connsiteX342" fmla="*/ 191786 w 316622"/>
                  <a:gd name="connsiteY342" fmla="*/ 211235 h 269321"/>
                  <a:gd name="connsiteX343" fmla="*/ 190698 w 316622"/>
                  <a:gd name="connsiteY343" fmla="*/ 212494 h 269321"/>
                  <a:gd name="connsiteX344" fmla="*/ 188998 w 316622"/>
                  <a:gd name="connsiteY344" fmla="*/ 213967 h 269321"/>
                  <a:gd name="connsiteX345" fmla="*/ 177370 w 316622"/>
                  <a:gd name="connsiteY345" fmla="*/ 221183 h 269321"/>
                  <a:gd name="connsiteX346" fmla="*/ 175247 w 316622"/>
                  <a:gd name="connsiteY346" fmla="*/ 224201 h 269321"/>
                  <a:gd name="connsiteX347" fmla="*/ 172790 w 316622"/>
                  <a:gd name="connsiteY347" fmla="*/ 228639 h 269321"/>
                  <a:gd name="connsiteX348" fmla="*/ 172598 w 316622"/>
                  <a:gd name="connsiteY348" fmla="*/ 230707 h 269321"/>
                  <a:gd name="connsiteX349" fmla="*/ 173656 w 316622"/>
                  <a:gd name="connsiteY349" fmla="*/ 237309 h 269321"/>
                  <a:gd name="connsiteX350" fmla="*/ 176020 w 316622"/>
                  <a:gd name="connsiteY350" fmla="*/ 240769 h 269321"/>
                  <a:gd name="connsiteX351" fmla="*/ 176320 w 316622"/>
                  <a:gd name="connsiteY351" fmla="*/ 241569 h 269321"/>
                  <a:gd name="connsiteX352" fmla="*/ 175010 w 316622"/>
                  <a:gd name="connsiteY352" fmla="*/ 241573 h 269321"/>
                  <a:gd name="connsiteX353" fmla="*/ 172809 w 316622"/>
                  <a:gd name="connsiteY353" fmla="*/ 241141 h 269321"/>
                  <a:gd name="connsiteX354" fmla="*/ 170982 w 316622"/>
                  <a:gd name="connsiteY354" fmla="*/ 240607 h 269321"/>
                  <a:gd name="connsiteX355" fmla="*/ 169244 w 316622"/>
                  <a:gd name="connsiteY355" fmla="*/ 240905 h 269321"/>
                  <a:gd name="connsiteX356" fmla="*/ 167569 w 316622"/>
                  <a:gd name="connsiteY356" fmla="*/ 241620 h 269321"/>
                  <a:gd name="connsiteX357" fmla="*/ 166104 w 316622"/>
                  <a:gd name="connsiteY357" fmla="*/ 242052 h 269321"/>
                  <a:gd name="connsiteX358" fmla="*/ 165053 w 316622"/>
                  <a:gd name="connsiteY358" fmla="*/ 242173 h 269321"/>
                  <a:gd name="connsiteX359" fmla="*/ 164349 w 316622"/>
                  <a:gd name="connsiteY359" fmla="*/ 242585 h 269321"/>
                  <a:gd name="connsiteX360" fmla="*/ 164012 w 316622"/>
                  <a:gd name="connsiteY360" fmla="*/ 243409 h 269321"/>
                  <a:gd name="connsiteX361" fmla="*/ 163943 w 316622"/>
                  <a:gd name="connsiteY361" fmla="*/ 243985 h 269321"/>
                  <a:gd name="connsiteX362" fmla="*/ 162092 w 316622"/>
                  <a:gd name="connsiteY362" fmla="*/ 243843 h 269321"/>
                  <a:gd name="connsiteX363" fmla="*/ 157812 w 316622"/>
                  <a:gd name="connsiteY363" fmla="*/ 242658 h 269321"/>
                  <a:gd name="connsiteX364" fmla="*/ 153964 w 316622"/>
                  <a:gd name="connsiteY364" fmla="*/ 241841 h 269321"/>
                  <a:gd name="connsiteX365" fmla="*/ 151708 w 316622"/>
                  <a:gd name="connsiteY365" fmla="*/ 242770 h 269321"/>
                  <a:gd name="connsiteX366" fmla="*/ 150256 w 316622"/>
                  <a:gd name="connsiteY366" fmla="*/ 243638 h 269321"/>
                  <a:gd name="connsiteX367" fmla="*/ 149235 w 316622"/>
                  <a:gd name="connsiteY367" fmla="*/ 243505 h 269321"/>
                  <a:gd name="connsiteX368" fmla="*/ 148460 w 316622"/>
                  <a:gd name="connsiteY368" fmla="*/ 242592 h 269321"/>
                  <a:gd name="connsiteX369" fmla="*/ 147940 w 316622"/>
                  <a:gd name="connsiteY369" fmla="*/ 241698 h 269321"/>
                  <a:gd name="connsiteX370" fmla="*/ 146432 w 316622"/>
                  <a:gd name="connsiteY370" fmla="*/ 240878 h 269321"/>
                  <a:gd name="connsiteX371" fmla="*/ 143034 w 316622"/>
                  <a:gd name="connsiteY371" fmla="*/ 239645 h 269321"/>
                  <a:gd name="connsiteX372" fmla="*/ 143208 w 316622"/>
                  <a:gd name="connsiteY372" fmla="*/ 239050 h 269321"/>
                  <a:gd name="connsiteX373" fmla="*/ 143789 w 316622"/>
                  <a:gd name="connsiteY373" fmla="*/ 238220 h 269321"/>
                  <a:gd name="connsiteX374" fmla="*/ 143772 w 316622"/>
                  <a:gd name="connsiteY374" fmla="*/ 237708 h 269321"/>
                  <a:gd name="connsiteX375" fmla="*/ 143118 w 316622"/>
                  <a:gd name="connsiteY375" fmla="*/ 236947 h 269321"/>
                  <a:gd name="connsiteX376" fmla="*/ 139985 w 316622"/>
                  <a:gd name="connsiteY376" fmla="*/ 236130 h 269321"/>
                  <a:gd name="connsiteX377" fmla="*/ 138508 w 316622"/>
                  <a:gd name="connsiteY377" fmla="*/ 235924 h 269321"/>
                  <a:gd name="connsiteX378" fmla="*/ 137568 w 316622"/>
                  <a:gd name="connsiteY378" fmla="*/ 236486 h 269321"/>
                  <a:gd name="connsiteX379" fmla="*/ 136892 w 316622"/>
                  <a:gd name="connsiteY379" fmla="*/ 237174 h 269321"/>
                  <a:gd name="connsiteX380" fmla="*/ 135147 w 316622"/>
                  <a:gd name="connsiteY380" fmla="*/ 234643 h 269321"/>
                  <a:gd name="connsiteX381" fmla="*/ 133906 w 316622"/>
                  <a:gd name="connsiteY381" fmla="*/ 234128 h 269321"/>
                  <a:gd name="connsiteX382" fmla="*/ 132027 w 316622"/>
                  <a:gd name="connsiteY382" fmla="*/ 234043 h 269321"/>
                  <a:gd name="connsiteX383" fmla="*/ 129879 w 316622"/>
                  <a:gd name="connsiteY383" fmla="*/ 233270 h 269321"/>
                  <a:gd name="connsiteX384" fmla="*/ 127643 w 316622"/>
                  <a:gd name="connsiteY384" fmla="*/ 232283 h 269321"/>
                  <a:gd name="connsiteX385" fmla="*/ 122213 w 316622"/>
                  <a:gd name="connsiteY385" fmla="*/ 230703 h 269321"/>
                  <a:gd name="connsiteX386" fmla="*/ 120718 w 316622"/>
                  <a:gd name="connsiteY386" fmla="*/ 230514 h 269321"/>
                  <a:gd name="connsiteX387" fmla="*/ 120120 w 316622"/>
                  <a:gd name="connsiteY387" fmla="*/ 230764 h 269321"/>
                  <a:gd name="connsiteX388" fmla="*/ 119721 w 316622"/>
                  <a:gd name="connsiteY388" fmla="*/ 231709 h 269321"/>
                  <a:gd name="connsiteX389" fmla="*/ 119505 w 316622"/>
                  <a:gd name="connsiteY389" fmla="*/ 234377 h 269321"/>
                  <a:gd name="connsiteX390" fmla="*/ 119276 w 316622"/>
                  <a:gd name="connsiteY390" fmla="*/ 234672 h 269321"/>
                  <a:gd name="connsiteX391" fmla="*/ 116756 w 316622"/>
                  <a:gd name="connsiteY391" fmla="*/ 234761 h 269321"/>
                  <a:gd name="connsiteX392" fmla="*/ 113651 w 316622"/>
                  <a:gd name="connsiteY392" fmla="*/ 234390 h 269321"/>
                  <a:gd name="connsiteX393" fmla="*/ 112228 w 316622"/>
                  <a:gd name="connsiteY393" fmla="*/ 234574 h 269321"/>
                  <a:gd name="connsiteX394" fmla="*/ 110958 w 316622"/>
                  <a:gd name="connsiteY394" fmla="*/ 234583 h 269321"/>
                  <a:gd name="connsiteX395" fmla="*/ 109762 w 316622"/>
                  <a:gd name="connsiteY395" fmla="*/ 233877 h 269321"/>
                  <a:gd name="connsiteX396" fmla="*/ 104399 w 316622"/>
                  <a:gd name="connsiteY396" fmla="*/ 234685 h 269321"/>
                  <a:gd name="connsiteX397" fmla="*/ 103507 w 316622"/>
                  <a:gd name="connsiteY397" fmla="*/ 234291 h 269321"/>
                  <a:gd name="connsiteX398" fmla="*/ 102212 w 316622"/>
                  <a:gd name="connsiteY398" fmla="*/ 233086 h 269321"/>
                  <a:gd name="connsiteX399" fmla="*/ 100769 w 316622"/>
                  <a:gd name="connsiteY399" fmla="*/ 232114 h 269321"/>
                  <a:gd name="connsiteX400" fmla="*/ 99647 w 316622"/>
                  <a:gd name="connsiteY400" fmla="*/ 231615 h 269321"/>
                  <a:gd name="connsiteX401" fmla="*/ 98691 w 316622"/>
                  <a:gd name="connsiteY401" fmla="*/ 231043 h 269321"/>
                  <a:gd name="connsiteX402" fmla="*/ 97822 w 316622"/>
                  <a:gd name="connsiteY402" fmla="*/ 230950 h 269321"/>
                  <a:gd name="connsiteX403" fmla="*/ 96499 w 316622"/>
                  <a:gd name="connsiteY403" fmla="*/ 231504 h 269321"/>
                  <a:gd name="connsiteX404" fmla="*/ 94670 w 316622"/>
                  <a:gd name="connsiteY404" fmla="*/ 231739 h 269321"/>
                  <a:gd name="connsiteX405" fmla="*/ 93152 w 316622"/>
                  <a:gd name="connsiteY405" fmla="*/ 231667 h 269321"/>
                  <a:gd name="connsiteX406" fmla="*/ 92342 w 316622"/>
                  <a:gd name="connsiteY406" fmla="*/ 231748 h 269321"/>
                  <a:gd name="connsiteX407" fmla="*/ 88942 w 316622"/>
                  <a:gd name="connsiteY407" fmla="*/ 228789 h 269321"/>
                  <a:gd name="connsiteX408" fmla="*/ 88445 w 316622"/>
                  <a:gd name="connsiteY408" fmla="*/ 227979 h 269321"/>
                  <a:gd name="connsiteX409" fmla="*/ 86752 w 316622"/>
                  <a:gd name="connsiteY409" fmla="*/ 227754 h 269321"/>
                  <a:gd name="connsiteX410" fmla="*/ 84660 w 316622"/>
                  <a:gd name="connsiteY410" fmla="*/ 227718 h 269321"/>
                  <a:gd name="connsiteX411" fmla="*/ 79317 w 316622"/>
                  <a:gd name="connsiteY411" fmla="*/ 225799 h 269321"/>
                  <a:gd name="connsiteX412" fmla="*/ 76885 w 316622"/>
                  <a:gd name="connsiteY412" fmla="*/ 224768 h 269321"/>
                  <a:gd name="connsiteX413" fmla="*/ 76529 w 316622"/>
                  <a:gd name="connsiteY413" fmla="*/ 224155 h 269321"/>
                  <a:gd name="connsiteX414" fmla="*/ 76562 w 316622"/>
                  <a:gd name="connsiteY414" fmla="*/ 223659 h 269321"/>
                  <a:gd name="connsiteX415" fmla="*/ 76147 w 316622"/>
                  <a:gd name="connsiteY415" fmla="*/ 223766 h 269321"/>
                  <a:gd name="connsiteX416" fmla="*/ 75397 w 316622"/>
                  <a:gd name="connsiteY416" fmla="*/ 224643 h 269321"/>
                  <a:gd name="connsiteX417" fmla="*/ 75004 w 316622"/>
                  <a:gd name="connsiteY417" fmla="*/ 225358 h 269321"/>
                  <a:gd name="connsiteX418" fmla="*/ 74484 w 316622"/>
                  <a:gd name="connsiteY418" fmla="*/ 225492 h 269321"/>
                  <a:gd name="connsiteX419" fmla="*/ 73716 w 316622"/>
                  <a:gd name="connsiteY419" fmla="*/ 225381 h 269321"/>
                  <a:gd name="connsiteX420" fmla="*/ 73007 w 316622"/>
                  <a:gd name="connsiteY420" fmla="*/ 224978 h 269321"/>
                  <a:gd name="connsiteX421" fmla="*/ 72573 w 316622"/>
                  <a:gd name="connsiteY421" fmla="*/ 224459 h 269321"/>
                  <a:gd name="connsiteX422" fmla="*/ 73038 w 316622"/>
                  <a:gd name="connsiteY422" fmla="*/ 223551 h 269321"/>
                  <a:gd name="connsiteX423" fmla="*/ 73852 w 316622"/>
                  <a:gd name="connsiteY423" fmla="*/ 222367 h 269321"/>
                  <a:gd name="connsiteX424" fmla="*/ 74190 w 316622"/>
                  <a:gd name="connsiteY424" fmla="*/ 221078 h 269321"/>
                  <a:gd name="connsiteX425" fmla="*/ 74116 w 316622"/>
                  <a:gd name="connsiteY425" fmla="*/ 219924 h 269321"/>
                  <a:gd name="connsiteX426" fmla="*/ 72766 w 316622"/>
                  <a:gd name="connsiteY426" fmla="*/ 219183 h 269321"/>
                  <a:gd name="connsiteX427" fmla="*/ 70781 w 316622"/>
                  <a:gd name="connsiteY427" fmla="*/ 218874 h 269321"/>
                  <a:gd name="connsiteX428" fmla="*/ 69329 w 316622"/>
                  <a:gd name="connsiteY428" fmla="*/ 218786 h 269321"/>
                  <a:gd name="connsiteX429" fmla="*/ 67434 w 316622"/>
                  <a:gd name="connsiteY429" fmla="*/ 218126 h 269321"/>
                  <a:gd name="connsiteX430" fmla="*/ 66541 w 316622"/>
                  <a:gd name="connsiteY430" fmla="*/ 217650 h 269321"/>
                  <a:gd name="connsiteX431" fmla="*/ 65668 w 316622"/>
                  <a:gd name="connsiteY431" fmla="*/ 216364 h 269321"/>
                  <a:gd name="connsiteX432" fmla="*/ 65639 w 316622"/>
                  <a:gd name="connsiteY432" fmla="*/ 215428 h 269321"/>
                  <a:gd name="connsiteX433" fmla="*/ 69234 w 316622"/>
                  <a:gd name="connsiteY433" fmla="*/ 214602 h 269321"/>
                  <a:gd name="connsiteX434" fmla="*/ 72476 w 316622"/>
                  <a:gd name="connsiteY434" fmla="*/ 211216 h 269321"/>
                  <a:gd name="connsiteX435" fmla="*/ 75546 w 316622"/>
                  <a:gd name="connsiteY435" fmla="*/ 198890 h 269321"/>
                  <a:gd name="connsiteX436" fmla="*/ 77768 w 316622"/>
                  <a:gd name="connsiteY436" fmla="*/ 184245 h 269321"/>
                  <a:gd name="connsiteX437" fmla="*/ 79420 w 316622"/>
                  <a:gd name="connsiteY437" fmla="*/ 181469 h 269321"/>
                  <a:gd name="connsiteX438" fmla="*/ 81495 w 316622"/>
                  <a:gd name="connsiteY438" fmla="*/ 180706 h 269321"/>
                  <a:gd name="connsiteX439" fmla="*/ 79817 w 316622"/>
                  <a:gd name="connsiteY439" fmla="*/ 178684 h 269321"/>
                  <a:gd name="connsiteX440" fmla="*/ 78766 w 316622"/>
                  <a:gd name="connsiteY440" fmla="*/ 179708 h 269321"/>
                  <a:gd name="connsiteX441" fmla="*/ 78325 w 316622"/>
                  <a:gd name="connsiteY441" fmla="*/ 180794 h 269321"/>
                  <a:gd name="connsiteX442" fmla="*/ 77775 w 316622"/>
                  <a:gd name="connsiteY442" fmla="*/ 181336 h 269321"/>
                  <a:gd name="connsiteX443" fmla="*/ 79016 w 316622"/>
                  <a:gd name="connsiteY443" fmla="*/ 167825 h 269321"/>
                  <a:gd name="connsiteX444" fmla="*/ 79901 w 316622"/>
                  <a:gd name="connsiteY444" fmla="*/ 162861 h 269321"/>
                  <a:gd name="connsiteX445" fmla="*/ 81406 w 316622"/>
                  <a:gd name="connsiteY445" fmla="*/ 157650 h 269321"/>
                  <a:gd name="connsiteX446" fmla="*/ 84485 w 316622"/>
                  <a:gd name="connsiteY446" fmla="*/ 159720 h 269321"/>
                  <a:gd name="connsiteX447" fmla="*/ 87037 w 316622"/>
                  <a:gd name="connsiteY447" fmla="*/ 161817 h 269321"/>
                  <a:gd name="connsiteX448" fmla="*/ 88357 w 316622"/>
                  <a:gd name="connsiteY448" fmla="*/ 163636 h 269321"/>
                  <a:gd name="connsiteX449" fmla="*/ 90027 w 316622"/>
                  <a:gd name="connsiteY449" fmla="*/ 169686 h 269321"/>
                  <a:gd name="connsiteX450" fmla="*/ 91290 w 316622"/>
                  <a:gd name="connsiteY450" fmla="*/ 170954 h 269321"/>
                  <a:gd name="connsiteX451" fmla="*/ 93181 w 316622"/>
                  <a:gd name="connsiteY451" fmla="*/ 172226 h 269321"/>
                  <a:gd name="connsiteX452" fmla="*/ 92434 w 316622"/>
                  <a:gd name="connsiteY452" fmla="*/ 170837 h 269321"/>
                  <a:gd name="connsiteX453" fmla="*/ 91133 w 316622"/>
                  <a:gd name="connsiteY453" fmla="*/ 169776 h 269321"/>
                  <a:gd name="connsiteX454" fmla="*/ 89099 w 316622"/>
                  <a:gd name="connsiteY454" fmla="*/ 161709 h 269321"/>
                  <a:gd name="connsiteX455" fmla="*/ 87823 w 316622"/>
                  <a:gd name="connsiteY455" fmla="*/ 159420 h 269321"/>
                  <a:gd name="connsiteX456" fmla="*/ 85836 w 316622"/>
                  <a:gd name="connsiteY456" fmla="*/ 157492 h 269321"/>
                  <a:gd name="connsiteX457" fmla="*/ 79438 w 316622"/>
                  <a:gd name="connsiteY457" fmla="*/ 153428 h 269321"/>
                  <a:gd name="connsiteX458" fmla="*/ 78863 w 316622"/>
                  <a:gd name="connsiteY458" fmla="*/ 152643 h 269321"/>
                  <a:gd name="connsiteX459" fmla="*/ 78554 w 316622"/>
                  <a:gd name="connsiteY459" fmla="*/ 151089 h 269321"/>
                  <a:gd name="connsiteX460" fmla="*/ 80668 w 316622"/>
                  <a:gd name="connsiteY460" fmla="*/ 151155 h 269321"/>
                  <a:gd name="connsiteX461" fmla="*/ 82495 w 316622"/>
                  <a:gd name="connsiteY461" fmla="*/ 151910 h 269321"/>
                  <a:gd name="connsiteX462" fmla="*/ 82279 w 316622"/>
                  <a:gd name="connsiteY462" fmla="*/ 151040 h 269321"/>
                  <a:gd name="connsiteX463" fmla="*/ 81737 w 316622"/>
                  <a:gd name="connsiteY463" fmla="*/ 150131 h 269321"/>
                  <a:gd name="connsiteX464" fmla="*/ 80889 w 316622"/>
                  <a:gd name="connsiteY464" fmla="*/ 146830 h 269321"/>
                  <a:gd name="connsiteX465" fmla="*/ 80181 w 316622"/>
                  <a:gd name="connsiteY465" fmla="*/ 139107 h 269321"/>
                  <a:gd name="connsiteX466" fmla="*/ 80277 w 316622"/>
                  <a:gd name="connsiteY466" fmla="*/ 137782 h 269321"/>
                  <a:gd name="connsiteX467" fmla="*/ 79962 w 316622"/>
                  <a:gd name="connsiteY467" fmla="*/ 136157 h 269321"/>
                  <a:gd name="connsiteX468" fmla="*/ 77916 w 316622"/>
                  <a:gd name="connsiteY468" fmla="*/ 135793 h 269321"/>
                  <a:gd name="connsiteX469" fmla="*/ 76280 w 316622"/>
                  <a:gd name="connsiteY469" fmla="*/ 135726 h 269321"/>
                  <a:gd name="connsiteX470" fmla="*/ 74518 w 316622"/>
                  <a:gd name="connsiteY470" fmla="*/ 135084 h 269321"/>
                  <a:gd name="connsiteX471" fmla="*/ 65805 w 316622"/>
                  <a:gd name="connsiteY471" fmla="*/ 130514 h 269321"/>
                  <a:gd name="connsiteX472" fmla="*/ 62822 w 316622"/>
                  <a:gd name="connsiteY472" fmla="*/ 125790 h 269321"/>
                  <a:gd name="connsiteX473" fmla="*/ 59772 w 316622"/>
                  <a:gd name="connsiteY473" fmla="*/ 122297 h 269321"/>
                  <a:gd name="connsiteX474" fmla="*/ 59040 w 316622"/>
                  <a:gd name="connsiteY474" fmla="*/ 120772 h 269321"/>
                  <a:gd name="connsiteX475" fmla="*/ 59088 w 316622"/>
                  <a:gd name="connsiteY475" fmla="*/ 119226 h 269321"/>
                  <a:gd name="connsiteX476" fmla="*/ 60667 w 316622"/>
                  <a:gd name="connsiteY476" fmla="*/ 115957 h 269321"/>
                  <a:gd name="connsiteX477" fmla="*/ 59273 w 316622"/>
                  <a:gd name="connsiteY477" fmla="*/ 113891 h 269321"/>
                  <a:gd name="connsiteX478" fmla="*/ 57911 w 316622"/>
                  <a:gd name="connsiteY478" fmla="*/ 113480 h 269321"/>
                  <a:gd name="connsiteX479" fmla="*/ 56727 w 316622"/>
                  <a:gd name="connsiteY479" fmla="*/ 112457 h 269321"/>
                  <a:gd name="connsiteX480" fmla="*/ 57799 w 316622"/>
                  <a:gd name="connsiteY480" fmla="*/ 110751 h 269321"/>
                  <a:gd name="connsiteX481" fmla="*/ 58690 w 316622"/>
                  <a:gd name="connsiteY481" fmla="*/ 109659 h 269321"/>
                  <a:gd name="connsiteX482" fmla="*/ 60475 w 316622"/>
                  <a:gd name="connsiteY482" fmla="*/ 109362 h 269321"/>
                  <a:gd name="connsiteX483" fmla="*/ 62816 w 316622"/>
                  <a:gd name="connsiteY483" fmla="*/ 109724 h 269321"/>
                  <a:gd name="connsiteX484" fmla="*/ 65036 w 316622"/>
                  <a:gd name="connsiteY484" fmla="*/ 110712 h 269321"/>
                  <a:gd name="connsiteX485" fmla="*/ 66778 w 316622"/>
                  <a:gd name="connsiteY485" fmla="*/ 110974 h 269321"/>
                  <a:gd name="connsiteX486" fmla="*/ 61629 w 316622"/>
                  <a:gd name="connsiteY486" fmla="*/ 108323 h 269321"/>
                  <a:gd name="connsiteX487" fmla="*/ 53279 w 316622"/>
                  <a:gd name="connsiteY487" fmla="*/ 109217 h 269321"/>
                  <a:gd name="connsiteX488" fmla="*/ 51479 w 316622"/>
                  <a:gd name="connsiteY488" fmla="*/ 108875 h 269321"/>
                  <a:gd name="connsiteX489" fmla="*/ 49959 w 316622"/>
                  <a:gd name="connsiteY489" fmla="*/ 108284 h 269321"/>
                  <a:gd name="connsiteX490" fmla="*/ 49365 w 316622"/>
                  <a:gd name="connsiteY490" fmla="*/ 106336 h 269321"/>
                  <a:gd name="connsiteX491" fmla="*/ 50552 w 316622"/>
                  <a:gd name="connsiteY491" fmla="*/ 105458 h 269321"/>
                  <a:gd name="connsiteX492" fmla="*/ 51628 w 316622"/>
                  <a:gd name="connsiteY492" fmla="*/ 103833 h 269321"/>
                  <a:gd name="connsiteX493" fmla="*/ 50411 w 316622"/>
                  <a:gd name="connsiteY493" fmla="*/ 102690 h 269321"/>
                  <a:gd name="connsiteX494" fmla="*/ 48834 w 316622"/>
                  <a:gd name="connsiteY494" fmla="*/ 102257 h 269321"/>
                  <a:gd name="connsiteX495" fmla="*/ 46360 w 316622"/>
                  <a:gd name="connsiteY495" fmla="*/ 102282 h 269321"/>
                  <a:gd name="connsiteX496" fmla="*/ 44052 w 316622"/>
                  <a:gd name="connsiteY496" fmla="*/ 102627 h 269321"/>
                  <a:gd name="connsiteX497" fmla="*/ 43466 w 316622"/>
                  <a:gd name="connsiteY497" fmla="*/ 101970 h 269321"/>
                  <a:gd name="connsiteX498" fmla="*/ 44874 w 316622"/>
                  <a:gd name="connsiteY498" fmla="*/ 100158 h 269321"/>
                  <a:gd name="connsiteX499" fmla="*/ 43678 w 316622"/>
                  <a:gd name="connsiteY499" fmla="*/ 99491 h 269321"/>
                  <a:gd name="connsiteX500" fmla="*/ 42082 w 316622"/>
                  <a:gd name="connsiteY500" fmla="*/ 99802 h 269321"/>
                  <a:gd name="connsiteX501" fmla="*/ 39767 w 316622"/>
                  <a:gd name="connsiteY501" fmla="*/ 100178 h 269321"/>
                  <a:gd name="connsiteX502" fmla="*/ 37553 w 316622"/>
                  <a:gd name="connsiteY502" fmla="*/ 99609 h 269321"/>
                  <a:gd name="connsiteX503" fmla="*/ 35460 w 316622"/>
                  <a:gd name="connsiteY503" fmla="*/ 97547 h 269321"/>
                  <a:gd name="connsiteX504" fmla="*/ 34073 w 316622"/>
                  <a:gd name="connsiteY504" fmla="*/ 97562 h 269321"/>
                  <a:gd name="connsiteX505" fmla="*/ 33120 w 316622"/>
                  <a:gd name="connsiteY505" fmla="*/ 97817 h 269321"/>
                  <a:gd name="connsiteX506" fmla="*/ 31706 w 316622"/>
                  <a:gd name="connsiteY506" fmla="*/ 97023 h 269321"/>
                  <a:gd name="connsiteX507" fmla="*/ 30218 w 316622"/>
                  <a:gd name="connsiteY507" fmla="*/ 96824 h 269321"/>
                  <a:gd name="connsiteX508" fmla="*/ 29156 w 316622"/>
                  <a:gd name="connsiteY508" fmla="*/ 97087 h 269321"/>
                  <a:gd name="connsiteX509" fmla="*/ 27744 w 316622"/>
                  <a:gd name="connsiteY509" fmla="*/ 95903 h 269321"/>
                  <a:gd name="connsiteX510" fmla="*/ 19051 w 316622"/>
                  <a:gd name="connsiteY510" fmla="*/ 93527 h 269321"/>
                  <a:gd name="connsiteX511" fmla="*/ 15297 w 316622"/>
                  <a:gd name="connsiteY511" fmla="*/ 93236 h 269321"/>
                  <a:gd name="connsiteX512" fmla="*/ 11854 w 316622"/>
                  <a:gd name="connsiteY512" fmla="*/ 94313 h 269321"/>
                  <a:gd name="connsiteX513" fmla="*/ 9959 w 316622"/>
                  <a:gd name="connsiteY513" fmla="*/ 93939 h 269321"/>
                  <a:gd name="connsiteX514" fmla="*/ 8566 w 316622"/>
                  <a:gd name="connsiteY514" fmla="*/ 92403 h 269321"/>
                  <a:gd name="connsiteX515" fmla="*/ 7397 w 316622"/>
                  <a:gd name="connsiteY515" fmla="*/ 89823 h 269321"/>
                  <a:gd name="connsiteX516" fmla="*/ 1851 w 316622"/>
                  <a:gd name="connsiteY516" fmla="*/ 87832 h 269321"/>
                  <a:gd name="connsiteX517" fmla="*/ 2948 w 316622"/>
                  <a:gd name="connsiteY517" fmla="*/ 86526 h 269321"/>
                  <a:gd name="connsiteX518" fmla="*/ 5530 w 316622"/>
                  <a:gd name="connsiteY518" fmla="*/ 86217 h 269321"/>
                  <a:gd name="connsiteX519" fmla="*/ 8506 w 316622"/>
                  <a:gd name="connsiteY519" fmla="*/ 85310 h 269321"/>
                  <a:gd name="connsiteX520" fmla="*/ 9576 w 316622"/>
                  <a:gd name="connsiteY520" fmla="*/ 84147 h 269321"/>
                  <a:gd name="connsiteX521" fmla="*/ 7250 w 316622"/>
                  <a:gd name="connsiteY521" fmla="*/ 82790 h 269321"/>
                  <a:gd name="connsiteX522" fmla="*/ 5535 w 316622"/>
                  <a:gd name="connsiteY522" fmla="*/ 82457 h 269321"/>
                  <a:gd name="connsiteX523" fmla="*/ 4824 w 316622"/>
                  <a:gd name="connsiteY523" fmla="*/ 81969 h 269321"/>
                  <a:gd name="connsiteX524" fmla="*/ 4099 w 316622"/>
                  <a:gd name="connsiteY524" fmla="*/ 80751 h 269321"/>
                  <a:gd name="connsiteX525" fmla="*/ 5127 w 316622"/>
                  <a:gd name="connsiteY525" fmla="*/ 80193 h 269321"/>
                  <a:gd name="connsiteX526" fmla="*/ 5851 w 316622"/>
                  <a:gd name="connsiteY526" fmla="*/ 80489 h 269321"/>
                  <a:gd name="connsiteX527" fmla="*/ 7942 w 316622"/>
                  <a:gd name="connsiteY527" fmla="*/ 80665 h 269321"/>
                  <a:gd name="connsiteX528" fmla="*/ 11523 w 316622"/>
                  <a:gd name="connsiteY528" fmla="*/ 80365 h 269321"/>
                  <a:gd name="connsiteX529" fmla="*/ 10188 w 316622"/>
                  <a:gd name="connsiteY529" fmla="*/ 79136 h 269321"/>
                  <a:gd name="connsiteX530" fmla="*/ 8803 w 316622"/>
                  <a:gd name="connsiteY530" fmla="*/ 78862 h 269321"/>
                  <a:gd name="connsiteX531" fmla="*/ 8167 w 316622"/>
                  <a:gd name="connsiteY531" fmla="*/ 78554 h 269321"/>
                  <a:gd name="connsiteX532" fmla="*/ 5256 w 316622"/>
                  <a:gd name="connsiteY532" fmla="*/ 78421 h 269321"/>
                  <a:gd name="connsiteX533" fmla="*/ 3931 w 316622"/>
                  <a:gd name="connsiteY533" fmla="*/ 78840 h 269321"/>
                  <a:gd name="connsiteX534" fmla="*/ 954 w 316622"/>
                  <a:gd name="connsiteY534" fmla="*/ 78681 h 269321"/>
                  <a:gd name="connsiteX535" fmla="*/ 309 w 316622"/>
                  <a:gd name="connsiteY535" fmla="*/ 77352 h 269321"/>
                  <a:gd name="connsiteX536" fmla="*/ 0 w 316622"/>
                  <a:gd name="connsiteY536" fmla="*/ 76212 h 269321"/>
                  <a:gd name="connsiteX537" fmla="*/ 923 w 316622"/>
                  <a:gd name="connsiteY537" fmla="*/ 73668 h 269321"/>
                  <a:gd name="connsiteX538" fmla="*/ 5115 w 316622"/>
                  <a:gd name="connsiteY538" fmla="*/ 71394 h 269321"/>
                  <a:gd name="connsiteX539" fmla="*/ 15558 w 316622"/>
                  <a:gd name="connsiteY539" fmla="*/ 68905 h 269321"/>
                  <a:gd name="connsiteX540" fmla="*/ 20052 w 316622"/>
                  <a:gd name="connsiteY540" fmla="*/ 69269 h 269321"/>
                  <a:gd name="connsiteX541" fmla="*/ 23167 w 316622"/>
                  <a:gd name="connsiteY541" fmla="*/ 68821 h 269321"/>
                  <a:gd name="connsiteX542" fmla="*/ 26900 w 316622"/>
                  <a:gd name="connsiteY542" fmla="*/ 67251 h 269321"/>
                  <a:gd name="connsiteX543" fmla="*/ 28547 w 316622"/>
                  <a:gd name="connsiteY543" fmla="*/ 65905 h 269321"/>
                  <a:gd name="connsiteX544" fmla="*/ 33855 w 316622"/>
                  <a:gd name="connsiteY544" fmla="*/ 65112 h 269321"/>
                  <a:gd name="connsiteX545" fmla="*/ 38901 w 316622"/>
                  <a:gd name="connsiteY545" fmla="*/ 66540 h 269321"/>
                  <a:gd name="connsiteX546" fmla="*/ 43553 w 316622"/>
                  <a:gd name="connsiteY546" fmla="*/ 71931 h 269321"/>
                  <a:gd name="connsiteX547" fmla="*/ 45776 w 316622"/>
                  <a:gd name="connsiteY547" fmla="*/ 73755 h 269321"/>
                  <a:gd name="connsiteX548" fmla="*/ 51219 w 316622"/>
                  <a:gd name="connsiteY548" fmla="*/ 70589 h 269321"/>
                  <a:gd name="connsiteX549" fmla="*/ 59328 w 316622"/>
                  <a:gd name="connsiteY549" fmla="*/ 70682 h 269321"/>
                  <a:gd name="connsiteX550" fmla="*/ 61003 w 316622"/>
                  <a:gd name="connsiteY550" fmla="*/ 72470 h 269321"/>
                  <a:gd name="connsiteX551" fmla="*/ 61679 w 316622"/>
                  <a:gd name="connsiteY551" fmla="*/ 70964 h 269321"/>
                  <a:gd name="connsiteX552" fmla="*/ 63170 w 316622"/>
                  <a:gd name="connsiteY552" fmla="*/ 69201 h 269321"/>
                  <a:gd name="connsiteX553" fmla="*/ 64359 w 316622"/>
                  <a:gd name="connsiteY553" fmla="*/ 70005 h 269321"/>
                  <a:gd name="connsiteX554" fmla="*/ 64961 w 316622"/>
                  <a:gd name="connsiteY554" fmla="*/ 71094 h 269321"/>
                  <a:gd name="connsiteX555" fmla="*/ 73520 w 316622"/>
                  <a:gd name="connsiteY555" fmla="*/ 70785 h 269321"/>
                  <a:gd name="connsiteX556" fmla="*/ 74872 w 316622"/>
                  <a:gd name="connsiteY556" fmla="*/ 70467 h 269321"/>
                  <a:gd name="connsiteX557" fmla="*/ 72573 w 316622"/>
                  <a:gd name="connsiteY557" fmla="*/ 69187 h 269321"/>
                  <a:gd name="connsiteX558" fmla="*/ 70693 w 316622"/>
                  <a:gd name="connsiteY558" fmla="*/ 66117 h 269321"/>
                  <a:gd name="connsiteX559" fmla="*/ 70303 w 316622"/>
                  <a:gd name="connsiteY559" fmla="*/ 54792 h 269321"/>
                  <a:gd name="connsiteX560" fmla="*/ 67932 w 316622"/>
                  <a:gd name="connsiteY560" fmla="*/ 51621 h 269321"/>
                  <a:gd name="connsiteX561" fmla="*/ 65210 w 316622"/>
                  <a:gd name="connsiteY561" fmla="*/ 46549 h 269321"/>
                  <a:gd name="connsiteX562" fmla="*/ 63958 w 316622"/>
                  <a:gd name="connsiteY562" fmla="*/ 43535 h 269321"/>
                  <a:gd name="connsiteX563" fmla="*/ 63840 w 316622"/>
                  <a:gd name="connsiteY563" fmla="*/ 42492 h 269321"/>
                  <a:gd name="connsiteX564" fmla="*/ 64259 w 316622"/>
                  <a:gd name="connsiteY564" fmla="*/ 40986 h 269321"/>
                  <a:gd name="connsiteX565" fmla="*/ 67605 w 316622"/>
                  <a:gd name="connsiteY565" fmla="*/ 41067 h 269321"/>
                  <a:gd name="connsiteX566" fmla="*/ 70190 w 316622"/>
                  <a:gd name="connsiteY566" fmla="*/ 41449 h 269321"/>
                  <a:gd name="connsiteX567" fmla="*/ 75110 w 316622"/>
                  <a:gd name="connsiteY567" fmla="*/ 40310 h 269321"/>
                  <a:gd name="connsiteX568" fmla="*/ 77478 w 316622"/>
                  <a:gd name="connsiteY568" fmla="*/ 41090 h 269321"/>
                  <a:gd name="connsiteX569" fmla="*/ 77338 w 316622"/>
                  <a:gd name="connsiteY569" fmla="*/ 43445 h 269321"/>
                  <a:gd name="connsiteX570" fmla="*/ 78061 w 316622"/>
                  <a:gd name="connsiteY570" fmla="*/ 46413 h 269321"/>
                  <a:gd name="connsiteX571" fmla="*/ 78886 w 316622"/>
                  <a:gd name="connsiteY571" fmla="*/ 47849 h 269321"/>
                  <a:gd name="connsiteX572" fmla="*/ 80134 w 316622"/>
                  <a:gd name="connsiteY572" fmla="*/ 49481 h 269321"/>
                  <a:gd name="connsiteX573" fmla="*/ 84100 w 316622"/>
                  <a:gd name="connsiteY573" fmla="*/ 49330 h 269321"/>
                  <a:gd name="connsiteX574" fmla="*/ 88382 w 316622"/>
                  <a:gd name="connsiteY574" fmla="*/ 50289 h 269321"/>
                  <a:gd name="connsiteX575" fmla="*/ 93791 w 316622"/>
                  <a:gd name="connsiteY575" fmla="*/ 50437 h 269321"/>
                  <a:gd name="connsiteX576" fmla="*/ 101694 w 316622"/>
                  <a:gd name="connsiteY576" fmla="*/ 52091 h 269321"/>
                  <a:gd name="connsiteX577" fmla="*/ 105062 w 316622"/>
                  <a:gd name="connsiteY577" fmla="*/ 51133 h 269321"/>
                  <a:gd name="connsiteX578" fmla="*/ 108319 w 316622"/>
                  <a:gd name="connsiteY578" fmla="*/ 49091 h 269321"/>
                  <a:gd name="connsiteX579" fmla="*/ 114527 w 316622"/>
                  <a:gd name="connsiteY579" fmla="*/ 47747 h 269321"/>
                  <a:gd name="connsiteX580" fmla="*/ 115022 w 316622"/>
                  <a:gd name="connsiteY580" fmla="*/ 47035 h 269321"/>
                  <a:gd name="connsiteX581" fmla="*/ 111448 w 316622"/>
                  <a:gd name="connsiteY581" fmla="*/ 47319 h 269321"/>
                  <a:gd name="connsiteX582" fmla="*/ 108170 w 316622"/>
                  <a:gd name="connsiteY582" fmla="*/ 46023 h 269321"/>
                  <a:gd name="connsiteX583" fmla="*/ 107728 w 316622"/>
                  <a:gd name="connsiteY583" fmla="*/ 44615 h 269321"/>
                  <a:gd name="connsiteX584" fmla="*/ 108107 w 316622"/>
                  <a:gd name="connsiteY584" fmla="*/ 43349 h 269321"/>
                  <a:gd name="connsiteX585" fmla="*/ 109438 w 316622"/>
                  <a:gd name="connsiteY585" fmla="*/ 40433 h 269321"/>
                  <a:gd name="connsiteX586" fmla="*/ 118935 w 316622"/>
                  <a:gd name="connsiteY586" fmla="*/ 35828 h 269321"/>
                  <a:gd name="connsiteX587" fmla="*/ 125743 w 316622"/>
                  <a:gd name="connsiteY587" fmla="*/ 34466 h 269321"/>
                  <a:gd name="connsiteX588" fmla="*/ 132850 w 316622"/>
                  <a:gd name="connsiteY588" fmla="*/ 31926 h 269321"/>
                  <a:gd name="connsiteX589" fmla="*/ 136426 w 316622"/>
                  <a:gd name="connsiteY589" fmla="*/ 29319 h 269321"/>
                  <a:gd name="connsiteX590" fmla="*/ 138788 w 316622"/>
                  <a:gd name="connsiteY590" fmla="*/ 25948 h 269321"/>
                  <a:gd name="connsiteX591" fmla="*/ 139548 w 316622"/>
                  <a:gd name="connsiteY591" fmla="*/ 25207 h 269321"/>
                  <a:gd name="connsiteX592" fmla="*/ 140529 w 316622"/>
                  <a:gd name="connsiteY592" fmla="*/ 24585 h 269321"/>
                  <a:gd name="connsiteX593" fmla="*/ 139617 w 316622"/>
                  <a:gd name="connsiteY593" fmla="*/ 23376 h 269321"/>
                  <a:gd name="connsiteX594" fmla="*/ 140235 w 316622"/>
                  <a:gd name="connsiteY594" fmla="*/ 10443 h 269321"/>
                  <a:gd name="connsiteX595" fmla="*/ 140900 w 316622"/>
                  <a:gd name="connsiteY595" fmla="*/ 8106 h 269321"/>
                  <a:gd name="connsiteX596" fmla="*/ 142286 w 316622"/>
                  <a:gd name="connsiteY596" fmla="*/ 6195 h 269321"/>
                  <a:gd name="connsiteX597" fmla="*/ 144396 w 316622"/>
                  <a:gd name="connsiteY597" fmla="*/ 4716 h 269321"/>
                  <a:gd name="connsiteX598" fmla="*/ 147598 w 316622"/>
                  <a:gd name="connsiteY598" fmla="*/ 3112 h 269321"/>
                  <a:gd name="connsiteX599" fmla="*/ 159389 w 316622"/>
                  <a:gd name="connsiteY599" fmla="*/ 895 h 269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</a:cxnLst>
                <a:rect l="l" t="t" r="r" b="b"/>
                <a:pathLst>
                  <a:path w="316622" h="269321">
                    <a:moveTo>
                      <a:pt x="313500" y="225790"/>
                    </a:moveTo>
                    <a:lnTo>
                      <a:pt x="314562" y="226875"/>
                    </a:lnTo>
                    <a:lnTo>
                      <a:pt x="314508" y="227834"/>
                    </a:lnTo>
                    <a:lnTo>
                      <a:pt x="314901" y="230102"/>
                    </a:lnTo>
                    <a:lnTo>
                      <a:pt x="314940" y="231576"/>
                    </a:lnTo>
                    <a:lnTo>
                      <a:pt x="314361" y="235501"/>
                    </a:lnTo>
                    <a:lnTo>
                      <a:pt x="314782" y="236649"/>
                    </a:lnTo>
                    <a:lnTo>
                      <a:pt x="315581" y="237450"/>
                    </a:lnTo>
                    <a:lnTo>
                      <a:pt x="315953" y="238329"/>
                    </a:lnTo>
                    <a:lnTo>
                      <a:pt x="316622" y="248763"/>
                    </a:lnTo>
                    <a:lnTo>
                      <a:pt x="316495" y="249592"/>
                    </a:lnTo>
                    <a:lnTo>
                      <a:pt x="313791" y="253771"/>
                    </a:lnTo>
                    <a:lnTo>
                      <a:pt x="313182" y="254996"/>
                    </a:lnTo>
                    <a:lnTo>
                      <a:pt x="313048" y="260165"/>
                    </a:lnTo>
                    <a:lnTo>
                      <a:pt x="312593" y="261552"/>
                    </a:lnTo>
                    <a:lnTo>
                      <a:pt x="311634" y="262920"/>
                    </a:lnTo>
                    <a:lnTo>
                      <a:pt x="309922" y="267337"/>
                    </a:lnTo>
                    <a:lnTo>
                      <a:pt x="308434" y="269321"/>
                    </a:lnTo>
                    <a:lnTo>
                      <a:pt x="304385" y="266901"/>
                    </a:lnTo>
                    <a:lnTo>
                      <a:pt x="301997" y="265854"/>
                    </a:lnTo>
                    <a:lnTo>
                      <a:pt x="300826" y="264725"/>
                    </a:lnTo>
                    <a:lnTo>
                      <a:pt x="300062" y="263945"/>
                    </a:lnTo>
                    <a:lnTo>
                      <a:pt x="300554" y="262905"/>
                    </a:lnTo>
                    <a:lnTo>
                      <a:pt x="301643" y="261824"/>
                    </a:lnTo>
                    <a:lnTo>
                      <a:pt x="301815" y="260973"/>
                    </a:lnTo>
                    <a:lnTo>
                      <a:pt x="299254" y="260009"/>
                    </a:lnTo>
                    <a:lnTo>
                      <a:pt x="298082" y="259365"/>
                    </a:lnTo>
                    <a:lnTo>
                      <a:pt x="298097" y="258237"/>
                    </a:lnTo>
                    <a:lnTo>
                      <a:pt x="298982" y="256476"/>
                    </a:lnTo>
                    <a:lnTo>
                      <a:pt x="298578" y="255025"/>
                    </a:lnTo>
                    <a:lnTo>
                      <a:pt x="297101" y="255099"/>
                    </a:lnTo>
                    <a:lnTo>
                      <a:pt x="295957" y="254877"/>
                    </a:lnTo>
                    <a:lnTo>
                      <a:pt x="295808" y="254123"/>
                    </a:lnTo>
                    <a:lnTo>
                      <a:pt x="296654" y="253156"/>
                    </a:lnTo>
                    <a:lnTo>
                      <a:pt x="297740" y="251893"/>
                    </a:lnTo>
                    <a:lnTo>
                      <a:pt x="297706" y="250499"/>
                    </a:lnTo>
                    <a:lnTo>
                      <a:pt x="296393" y="249898"/>
                    </a:lnTo>
                    <a:lnTo>
                      <a:pt x="295203" y="248765"/>
                    </a:lnTo>
                    <a:lnTo>
                      <a:pt x="294726" y="247224"/>
                    </a:lnTo>
                    <a:lnTo>
                      <a:pt x="295648" y="246169"/>
                    </a:lnTo>
                    <a:lnTo>
                      <a:pt x="297142" y="245488"/>
                    </a:lnTo>
                    <a:lnTo>
                      <a:pt x="296045" y="243907"/>
                    </a:lnTo>
                    <a:lnTo>
                      <a:pt x="295305" y="243872"/>
                    </a:lnTo>
                    <a:lnTo>
                      <a:pt x="294713" y="243526"/>
                    </a:lnTo>
                    <a:lnTo>
                      <a:pt x="295197" y="242791"/>
                    </a:lnTo>
                    <a:lnTo>
                      <a:pt x="296358" y="241692"/>
                    </a:lnTo>
                    <a:lnTo>
                      <a:pt x="297974" y="238406"/>
                    </a:lnTo>
                    <a:lnTo>
                      <a:pt x="300224" y="236854"/>
                    </a:lnTo>
                    <a:lnTo>
                      <a:pt x="304206" y="235855"/>
                    </a:lnTo>
                    <a:lnTo>
                      <a:pt x="305283" y="235418"/>
                    </a:lnTo>
                    <a:lnTo>
                      <a:pt x="306272" y="234261"/>
                    </a:lnTo>
                    <a:lnTo>
                      <a:pt x="307367" y="233515"/>
                    </a:lnTo>
                    <a:lnTo>
                      <a:pt x="308697" y="233614"/>
                    </a:lnTo>
                    <a:lnTo>
                      <a:pt x="309924" y="234061"/>
                    </a:lnTo>
                    <a:lnTo>
                      <a:pt x="310680" y="234537"/>
                    </a:lnTo>
                    <a:lnTo>
                      <a:pt x="311247" y="234042"/>
                    </a:lnTo>
                    <a:lnTo>
                      <a:pt x="311800" y="232606"/>
                    </a:lnTo>
                    <a:lnTo>
                      <a:pt x="311461" y="231344"/>
                    </a:lnTo>
                    <a:lnTo>
                      <a:pt x="311636" y="227872"/>
                    </a:lnTo>
                    <a:lnTo>
                      <a:pt x="312349" y="225900"/>
                    </a:lnTo>
                    <a:close/>
                    <a:moveTo>
                      <a:pt x="74603" y="143377"/>
                    </a:moveTo>
                    <a:lnTo>
                      <a:pt x="76893" y="144695"/>
                    </a:lnTo>
                    <a:lnTo>
                      <a:pt x="79254" y="147418"/>
                    </a:lnTo>
                    <a:lnTo>
                      <a:pt x="78474" y="149829"/>
                    </a:lnTo>
                    <a:lnTo>
                      <a:pt x="76999" y="147609"/>
                    </a:lnTo>
                    <a:lnTo>
                      <a:pt x="75044" y="145662"/>
                    </a:lnTo>
                    <a:lnTo>
                      <a:pt x="74598" y="143859"/>
                    </a:lnTo>
                    <a:close/>
                    <a:moveTo>
                      <a:pt x="161140" y="0"/>
                    </a:moveTo>
                    <a:lnTo>
                      <a:pt x="161386" y="1392"/>
                    </a:lnTo>
                    <a:lnTo>
                      <a:pt x="162243" y="3172"/>
                    </a:lnTo>
                    <a:lnTo>
                      <a:pt x="162833" y="4145"/>
                    </a:lnTo>
                    <a:lnTo>
                      <a:pt x="162343" y="5415"/>
                    </a:lnTo>
                    <a:lnTo>
                      <a:pt x="162729" y="6460"/>
                    </a:lnTo>
                    <a:lnTo>
                      <a:pt x="164329" y="8341"/>
                    </a:lnTo>
                    <a:lnTo>
                      <a:pt x="166324" y="10112"/>
                    </a:lnTo>
                    <a:lnTo>
                      <a:pt x="168102" y="11243"/>
                    </a:lnTo>
                    <a:lnTo>
                      <a:pt x="168603" y="11120"/>
                    </a:lnTo>
                    <a:lnTo>
                      <a:pt x="169920" y="10798"/>
                    </a:lnTo>
                    <a:lnTo>
                      <a:pt x="172150" y="9638"/>
                    </a:lnTo>
                    <a:lnTo>
                      <a:pt x="174008" y="9273"/>
                    </a:lnTo>
                    <a:lnTo>
                      <a:pt x="175070" y="10162"/>
                    </a:lnTo>
                    <a:lnTo>
                      <a:pt x="175670" y="10663"/>
                    </a:lnTo>
                    <a:lnTo>
                      <a:pt x="176841" y="12664"/>
                    </a:lnTo>
                    <a:lnTo>
                      <a:pt x="177169" y="14752"/>
                    </a:lnTo>
                    <a:lnTo>
                      <a:pt x="177689" y="16484"/>
                    </a:lnTo>
                    <a:lnTo>
                      <a:pt x="178637" y="17186"/>
                    </a:lnTo>
                    <a:lnTo>
                      <a:pt x="182192" y="17416"/>
                    </a:lnTo>
                    <a:lnTo>
                      <a:pt x="184811" y="18058"/>
                    </a:lnTo>
                    <a:lnTo>
                      <a:pt x="185504" y="18639"/>
                    </a:lnTo>
                    <a:lnTo>
                      <a:pt x="186400" y="22482"/>
                    </a:lnTo>
                    <a:lnTo>
                      <a:pt x="186888" y="23025"/>
                    </a:lnTo>
                    <a:lnTo>
                      <a:pt x="187541" y="22572"/>
                    </a:lnTo>
                    <a:lnTo>
                      <a:pt x="188186" y="21940"/>
                    </a:lnTo>
                    <a:lnTo>
                      <a:pt x="189082" y="21839"/>
                    </a:lnTo>
                    <a:lnTo>
                      <a:pt x="190620" y="22083"/>
                    </a:lnTo>
                    <a:lnTo>
                      <a:pt x="192645" y="22159"/>
                    </a:lnTo>
                    <a:lnTo>
                      <a:pt x="194734" y="22582"/>
                    </a:lnTo>
                    <a:lnTo>
                      <a:pt x="197618" y="24750"/>
                    </a:lnTo>
                    <a:lnTo>
                      <a:pt x="197508" y="25465"/>
                    </a:lnTo>
                    <a:lnTo>
                      <a:pt x="196945" y="26720"/>
                    </a:lnTo>
                    <a:lnTo>
                      <a:pt x="196748" y="27721"/>
                    </a:lnTo>
                    <a:lnTo>
                      <a:pt x="197245" y="28123"/>
                    </a:lnTo>
                    <a:lnTo>
                      <a:pt x="198007" y="29156"/>
                    </a:lnTo>
                    <a:lnTo>
                      <a:pt x="197824" y="30350"/>
                    </a:lnTo>
                    <a:lnTo>
                      <a:pt x="197081" y="31186"/>
                    </a:lnTo>
                    <a:lnTo>
                      <a:pt x="196783" y="31875"/>
                    </a:lnTo>
                    <a:lnTo>
                      <a:pt x="196787" y="32323"/>
                    </a:lnTo>
                    <a:lnTo>
                      <a:pt x="197059" y="32695"/>
                    </a:lnTo>
                    <a:lnTo>
                      <a:pt x="197651" y="33022"/>
                    </a:lnTo>
                    <a:lnTo>
                      <a:pt x="201911" y="33463"/>
                    </a:lnTo>
                    <a:lnTo>
                      <a:pt x="205809" y="33022"/>
                    </a:lnTo>
                    <a:lnTo>
                      <a:pt x="208266" y="31805"/>
                    </a:lnTo>
                    <a:lnTo>
                      <a:pt x="208685" y="30522"/>
                    </a:lnTo>
                    <a:lnTo>
                      <a:pt x="209383" y="29072"/>
                    </a:lnTo>
                    <a:lnTo>
                      <a:pt x="210847" y="27858"/>
                    </a:lnTo>
                    <a:lnTo>
                      <a:pt x="211860" y="27450"/>
                    </a:lnTo>
                    <a:lnTo>
                      <a:pt x="212786" y="27950"/>
                    </a:lnTo>
                    <a:lnTo>
                      <a:pt x="211227" y="33042"/>
                    </a:lnTo>
                    <a:lnTo>
                      <a:pt x="212365" y="34342"/>
                    </a:lnTo>
                    <a:lnTo>
                      <a:pt x="212533" y="36284"/>
                    </a:lnTo>
                    <a:lnTo>
                      <a:pt x="212941" y="37983"/>
                    </a:lnTo>
                    <a:lnTo>
                      <a:pt x="214334" y="37951"/>
                    </a:lnTo>
                    <a:lnTo>
                      <a:pt x="216023" y="38265"/>
                    </a:lnTo>
                    <a:lnTo>
                      <a:pt x="217219" y="38893"/>
                    </a:lnTo>
                    <a:lnTo>
                      <a:pt x="218614" y="39902"/>
                    </a:lnTo>
                    <a:lnTo>
                      <a:pt x="220625" y="40829"/>
                    </a:lnTo>
                    <a:lnTo>
                      <a:pt x="222035" y="41155"/>
                    </a:lnTo>
                    <a:lnTo>
                      <a:pt x="222546" y="41929"/>
                    </a:lnTo>
                    <a:lnTo>
                      <a:pt x="223686" y="42825"/>
                    </a:lnTo>
                    <a:lnTo>
                      <a:pt x="225481" y="44702"/>
                    </a:lnTo>
                    <a:lnTo>
                      <a:pt x="227087" y="45954"/>
                    </a:lnTo>
                    <a:lnTo>
                      <a:pt x="227863" y="45949"/>
                    </a:lnTo>
                    <a:lnTo>
                      <a:pt x="229359" y="45456"/>
                    </a:lnTo>
                    <a:lnTo>
                      <a:pt x="231579" y="45140"/>
                    </a:lnTo>
                    <a:lnTo>
                      <a:pt x="233332" y="45167"/>
                    </a:lnTo>
                    <a:lnTo>
                      <a:pt x="234078" y="46120"/>
                    </a:lnTo>
                    <a:lnTo>
                      <a:pt x="235801" y="46560"/>
                    </a:lnTo>
                    <a:lnTo>
                      <a:pt x="236410" y="46910"/>
                    </a:lnTo>
                    <a:lnTo>
                      <a:pt x="237086" y="47567"/>
                    </a:lnTo>
                    <a:lnTo>
                      <a:pt x="238234" y="47831"/>
                    </a:lnTo>
                    <a:lnTo>
                      <a:pt x="239621" y="47567"/>
                    </a:lnTo>
                    <a:lnTo>
                      <a:pt x="240633" y="46690"/>
                    </a:lnTo>
                    <a:lnTo>
                      <a:pt x="241985" y="46297"/>
                    </a:lnTo>
                    <a:lnTo>
                      <a:pt x="243337" y="46428"/>
                    </a:lnTo>
                    <a:lnTo>
                      <a:pt x="244114" y="46910"/>
                    </a:lnTo>
                    <a:lnTo>
                      <a:pt x="245596" y="47622"/>
                    </a:lnTo>
                    <a:lnTo>
                      <a:pt x="246434" y="47467"/>
                    </a:lnTo>
                    <a:lnTo>
                      <a:pt x="248111" y="47905"/>
                    </a:lnTo>
                    <a:lnTo>
                      <a:pt x="249796" y="49287"/>
                    </a:lnTo>
                    <a:lnTo>
                      <a:pt x="250504" y="50676"/>
                    </a:lnTo>
                    <a:lnTo>
                      <a:pt x="250689" y="51435"/>
                    </a:lnTo>
                    <a:lnTo>
                      <a:pt x="251417" y="52260"/>
                    </a:lnTo>
                    <a:lnTo>
                      <a:pt x="254244" y="55987"/>
                    </a:lnTo>
                    <a:lnTo>
                      <a:pt x="255147" y="56171"/>
                    </a:lnTo>
                    <a:lnTo>
                      <a:pt x="256129" y="55606"/>
                    </a:lnTo>
                    <a:lnTo>
                      <a:pt x="256766" y="54805"/>
                    </a:lnTo>
                    <a:lnTo>
                      <a:pt x="257688" y="54645"/>
                    </a:lnTo>
                    <a:lnTo>
                      <a:pt x="259172" y="55014"/>
                    </a:lnTo>
                    <a:lnTo>
                      <a:pt x="260126" y="55436"/>
                    </a:lnTo>
                    <a:lnTo>
                      <a:pt x="260584" y="57049"/>
                    </a:lnTo>
                    <a:lnTo>
                      <a:pt x="260906" y="57356"/>
                    </a:lnTo>
                    <a:lnTo>
                      <a:pt x="261547" y="57009"/>
                    </a:lnTo>
                    <a:lnTo>
                      <a:pt x="262690" y="56932"/>
                    </a:lnTo>
                    <a:lnTo>
                      <a:pt x="264514" y="57330"/>
                    </a:lnTo>
                    <a:lnTo>
                      <a:pt x="267023" y="56875"/>
                    </a:lnTo>
                    <a:lnTo>
                      <a:pt x="269031" y="56202"/>
                    </a:lnTo>
                    <a:lnTo>
                      <a:pt x="270057" y="56227"/>
                    </a:lnTo>
                    <a:lnTo>
                      <a:pt x="271713" y="58108"/>
                    </a:lnTo>
                    <a:lnTo>
                      <a:pt x="273603" y="58811"/>
                    </a:lnTo>
                    <a:lnTo>
                      <a:pt x="277766" y="59378"/>
                    </a:lnTo>
                    <a:lnTo>
                      <a:pt x="282234" y="60262"/>
                    </a:lnTo>
                    <a:lnTo>
                      <a:pt x="283989" y="60976"/>
                    </a:lnTo>
                    <a:lnTo>
                      <a:pt x="285188" y="61327"/>
                    </a:lnTo>
                    <a:lnTo>
                      <a:pt x="285309" y="63812"/>
                    </a:lnTo>
                    <a:lnTo>
                      <a:pt x="284948" y="64187"/>
                    </a:lnTo>
                    <a:lnTo>
                      <a:pt x="280498" y="69161"/>
                    </a:lnTo>
                    <a:lnTo>
                      <a:pt x="278623" y="70938"/>
                    </a:lnTo>
                    <a:lnTo>
                      <a:pt x="277669" y="73471"/>
                    </a:lnTo>
                    <a:lnTo>
                      <a:pt x="277013" y="77352"/>
                    </a:lnTo>
                    <a:lnTo>
                      <a:pt x="275698" y="81034"/>
                    </a:lnTo>
                    <a:lnTo>
                      <a:pt x="273728" y="84519"/>
                    </a:lnTo>
                    <a:lnTo>
                      <a:pt x="273011" y="87132"/>
                    </a:lnTo>
                    <a:lnTo>
                      <a:pt x="273549" y="88874"/>
                    </a:lnTo>
                    <a:lnTo>
                      <a:pt x="273212" y="91607"/>
                    </a:lnTo>
                    <a:lnTo>
                      <a:pt x="272003" y="95326"/>
                    </a:lnTo>
                    <a:lnTo>
                      <a:pt x="271800" y="98132"/>
                    </a:lnTo>
                    <a:lnTo>
                      <a:pt x="272597" y="100025"/>
                    </a:lnTo>
                    <a:lnTo>
                      <a:pt x="273707" y="100413"/>
                    </a:lnTo>
                    <a:lnTo>
                      <a:pt x="271037" y="101687"/>
                    </a:lnTo>
                    <a:lnTo>
                      <a:pt x="270429" y="102801"/>
                    </a:lnTo>
                    <a:lnTo>
                      <a:pt x="269381" y="104274"/>
                    </a:lnTo>
                    <a:lnTo>
                      <a:pt x="267682" y="104893"/>
                    </a:lnTo>
                    <a:lnTo>
                      <a:pt x="265970" y="105098"/>
                    </a:lnTo>
                    <a:lnTo>
                      <a:pt x="264585" y="104903"/>
                    </a:lnTo>
                    <a:lnTo>
                      <a:pt x="263797" y="104315"/>
                    </a:lnTo>
                    <a:lnTo>
                      <a:pt x="263836" y="103767"/>
                    </a:lnTo>
                    <a:lnTo>
                      <a:pt x="263102" y="103301"/>
                    </a:lnTo>
                    <a:lnTo>
                      <a:pt x="261275" y="103315"/>
                    </a:lnTo>
                    <a:lnTo>
                      <a:pt x="259394" y="104328"/>
                    </a:lnTo>
                    <a:lnTo>
                      <a:pt x="257891" y="105982"/>
                    </a:lnTo>
                    <a:lnTo>
                      <a:pt x="258358" y="106907"/>
                    </a:lnTo>
                    <a:lnTo>
                      <a:pt x="259742" y="107151"/>
                    </a:lnTo>
                    <a:lnTo>
                      <a:pt x="260107" y="107517"/>
                    </a:lnTo>
                    <a:lnTo>
                      <a:pt x="260107" y="107992"/>
                    </a:lnTo>
                    <a:lnTo>
                      <a:pt x="259619" y="108564"/>
                    </a:lnTo>
                    <a:lnTo>
                      <a:pt x="259034" y="109541"/>
                    </a:lnTo>
                    <a:lnTo>
                      <a:pt x="256129" y="112450"/>
                    </a:lnTo>
                    <a:lnTo>
                      <a:pt x="253197" y="115382"/>
                    </a:lnTo>
                    <a:lnTo>
                      <a:pt x="252728" y="116268"/>
                    </a:lnTo>
                    <a:lnTo>
                      <a:pt x="251798" y="116887"/>
                    </a:lnTo>
                    <a:lnTo>
                      <a:pt x="248070" y="118450"/>
                    </a:lnTo>
                    <a:lnTo>
                      <a:pt x="247680" y="119076"/>
                    </a:lnTo>
                    <a:lnTo>
                      <a:pt x="247468" y="121685"/>
                    </a:lnTo>
                    <a:lnTo>
                      <a:pt x="247051" y="123826"/>
                    </a:lnTo>
                    <a:lnTo>
                      <a:pt x="244287" y="125839"/>
                    </a:lnTo>
                    <a:lnTo>
                      <a:pt x="241536" y="127842"/>
                    </a:lnTo>
                    <a:lnTo>
                      <a:pt x="240849" y="129065"/>
                    </a:lnTo>
                    <a:lnTo>
                      <a:pt x="240348" y="130480"/>
                    </a:lnTo>
                    <a:lnTo>
                      <a:pt x="239485" y="132076"/>
                    </a:lnTo>
                    <a:lnTo>
                      <a:pt x="239314" y="132919"/>
                    </a:lnTo>
                    <a:lnTo>
                      <a:pt x="240707" y="134293"/>
                    </a:lnTo>
                    <a:lnTo>
                      <a:pt x="240545" y="135429"/>
                    </a:lnTo>
                    <a:lnTo>
                      <a:pt x="240102" y="137043"/>
                    </a:lnTo>
                    <a:lnTo>
                      <a:pt x="238780" y="138186"/>
                    </a:lnTo>
                    <a:lnTo>
                      <a:pt x="237319" y="138834"/>
                    </a:lnTo>
                    <a:lnTo>
                      <a:pt x="237351" y="140590"/>
                    </a:lnTo>
                    <a:lnTo>
                      <a:pt x="238129" y="140836"/>
                    </a:lnTo>
                    <a:lnTo>
                      <a:pt x="239897" y="140706"/>
                    </a:lnTo>
                    <a:lnTo>
                      <a:pt x="242391" y="139432"/>
                    </a:lnTo>
                    <a:lnTo>
                      <a:pt x="244017" y="137794"/>
                    </a:lnTo>
                    <a:lnTo>
                      <a:pt x="243059" y="136238"/>
                    </a:lnTo>
                    <a:lnTo>
                      <a:pt x="242940" y="135933"/>
                    </a:lnTo>
                    <a:lnTo>
                      <a:pt x="243171" y="135568"/>
                    </a:lnTo>
                    <a:lnTo>
                      <a:pt x="245099" y="133875"/>
                    </a:lnTo>
                    <a:lnTo>
                      <a:pt x="247466" y="132854"/>
                    </a:lnTo>
                    <a:lnTo>
                      <a:pt x="250767" y="132664"/>
                    </a:lnTo>
                    <a:lnTo>
                      <a:pt x="254745" y="133263"/>
                    </a:lnTo>
                    <a:lnTo>
                      <a:pt x="255142" y="133516"/>
                    </a:lnTo>
                    <a:lnTo>
                      <a:pt x="254950" y="134554"/>
                    </a:lnTo>
                    <a:lnTo>
                      <a:pt x="255321" y="136085"/>
                    </a:lnTo>
                    <a:lnTo>
                      <a:pt x="256043" y="137159"/>
                    </a:lnTo>
                    <a:lnTo>
                      <a:pt x="255054" y="140205"/>
                    </a:lnTo>
                    <a:lnTo>
                      <a:pt x="255797" y="141159"/>
                    </a:lnTo>
                    <a:lnTo>
                      <a:pt x="256954" y="142299"/>
                    </a:lnTo>
                    <a:lnTo>
                      <a:pt x="257822" y="143340"/>
                    </a:lnTo>
                    <a:lnTo>
                      <a:pt x="259070" y="144296"/>
                    </a:lnTo>
                    <a:lnTo>
                      <a:pt x="260180" y="145906"/>
                    </a:lnTo>
                    <a:lnTo>
                      <a:pt x="260560" y="146818"/>
                    </a:lnTo>
                    <a:lnTo>
                      <a:pt x="258785" y="148402"/>
                    </a:lnTo>
                    <a:lnTo>
                      <a:pt x="255771" y="149886"/>
                    </a:lnTo>
                    <a:lnTo>
                      <a:pt x="255432" y="150836"/>
                    </a:lnTo>
                    <a:lnTo>
                      <a:pt x="255471" y="151916"/>
                    </a:lnTo>
                    <a:lnTo>
                      <a:pt x="255810" y="152765"/>
                    </a:lnTo>
                    <a:lnTo>
                      <a:pt x="257472" y="153857"/>
                    </a:lnTo>
                    <a:lnTo>
                      <a:pt x="259263" y="156327"/>
                    </a:lnTo>
                    <a:lnTo>
                      <a:pt x="260396" y="158528"/>
                    </a:lnTo>
                    <a:lnTo>
                      <a:pt x="262881" y="160637"/>
                    </a:lnTo>
                    <a:lnTo>
                      <a:pt x="263486" y="161261"/>
                    </a:lnTo>
                    <a:lnTo>
                      <a:pt x="263331" y="161788"/>
                    </a:lnTo>
                    <a:lnTo>
                      <a:pt x="262676" y="162686"/>
                    </a:lnTo>
                    <a:lnTo>
                      <a:pt x="261826" y="165676"/>
                    </a:lnTo>
                    <a:lnTo>
                      <a:pt x="260811" y="166151"/>
                    </a:lnTo>
                    <a:lnTo>
                      <a:pt x="259679" y="166344"/>
                    </a:lnTo>
                    <a:lnTo>
                      <a:pt x="256607" y="168532"/>
                    </a:lnTo>
                    <a:lnTo>
                      <a:pt x="255237" y="168267"/>
                    </a:lnTo>
                    <a:lnTo>
                      <a:pt x="253290" y="168295"/>
                    </a:lnTo>
                    <a:lnTo>
                      <a:pt x="251862" y="169016"/>
                    </a:lnTo>
                    <a:lnTo>
                      <a:pt x="252018" y="170378"/>
                    </a:lnTo>
                    <a:lnTo>
                      <a:pt x="253270" y="171624"/>
                    </a:lnTo>
                    <a:lnTo>
                      <a:pt x="254006" y="172980"/>
                    </a:lnTo>
                    <a:lnTo>
                      <a:pt x="254304" y="174390"/>
                    </a:lnTo>
                    <a:lnTo>
                      <a:pt x="255695" y="175434"/>
                    </a:lnTo>
                    <a:lnTo>
                      <a:pt x="257647" y="176058"/>
                    </a:lnTo>
                    <a:lnTo>
                      <a:pt x="258764" y="176100"/>
                    </a:lnTo>
                    <a:lnTo>
                      <a:pt x="259494" y="176475"/>
                    </a:lnTo>
                    <a:lnTo>
                      <a:pt x="259932" y="176958"/>
                    </a:lnTo>
                    <a:lnTo>
                      <a:pt x="260772" y="179974"/>
                    </a:lnTo>
                    <a:lnTo>
                      <a:pt x="260269" y="180730"/>
                    </a:lnTo>
                    <a:lnTo>
                      <a:pt x="259217" y="181052"/>
                    </a:lnTo>
                    <a:lnTo>
                      <a:pt x="258589" y="182291"/>
                    </a:lnTo>
                    <a:lnTo>
                      <a:pt x="257334" y="184118"/>
                    </a:lnTo>
                    <a:lnTo>
                      <a:pt x="256622" y="185583"/>
                    </a:lnTo>
                    <a:lnTo>
                      <a:pt x="257410" y="186872"/>
                    </a:lnTo>
                    <a:lnTo>
                      <a:pt x="257746" y="187826"/>
                    </a:lnTo>
                    <a:lnTo>
                      <a:pt x="257325" y="188808"/>
                    </a:lnTo>
                    <a:lnTo>
                      <a:pt x="257887" y="190337"/>
                    </a:lnTo>
                    <a:lnTo>
                      <a:pt x="259370" y="191849"/>
                    </a:lnTo>
                    <a:lnTo>
                      <a:pt x="263398" y="193974"/>
                    </a:lnTo>
                    <a:lnTo>
                      <a:pt x="267138" y="195701"/>
                    </a:lnTo>
                    <a:lnTo>
                      <a:pt x="268295" y="195988"/>
                    </a:lnTo>
                    <a:lnTo>
                      <a:pt x="273348" y="194877"/>
                    </a:lnTo>
                    <a:lnTo>
                      <a:pt x="274184" y="194973"/>
                    </a:lnTo>
                    <a:lnTo>
                      <a:pt x="274799" y="196296"/>
                    </a:lnTo>
                    <a:lnTo>
                      <a:pt x="275067" y="197186"/>
                    </a:lnTo>
                    <a:lnTo>
                      <a:pt x="274499" y="198527"/>
                    </a:lnTo>
                    <a:lnTo>
                      <a:pt x="273132" y="200372"/>
                    </a:lnTo>
                    <a:lnTo>
                      <a:pt x="271651" y="201842"/>
                    </a:lnTo>
                    <a:lnTo>
                      <a:pt x="270753" y="203091"/>
                    </a:lnTo>
                    <a:lnTo>
                      <a:pt x="270940" y="204224"/>
                    </a:lnTo>
                    <a:lnTo>
                      <a:pt x="270999" y="205731"/>
                    </a:lnTo>
                    <a:lnTo>
                      <a:pt x="269794" y="206182"/>
                    </a:lnTo>
                    <a:lnTo>
                      <a:pt x="269755" y="205884"/>
                    </a:lnTo>
                    <a:lnTo>
                      <a:pt x="269258" y="205630"/>
                    </a:lnTo>
                    <a:lnTo>
                      <a:pt x="268829" y="205780"/>
                    </a:lnTo>
                    <a:lnTo>
                      <a:pt x="268498" y="206107"/>
                    </a:lnTo>
                    <a:lnTo>
                      <a:pt x="268446" y="206687"/>
                    </a:lnTo>
                    <a:lnTo>
                      <a:pt x="265877" y="207649"/>
                    </a:lnTo>
                    <a:lnTo>
                      <a:pt x="264106" y="208646"/>
                    </a:lnTo>
                    <a:lnTo>
                      <a:pt x="257103" y="214594"/>
                    </a:lnTo>
                    <a:lnTo>
                      <a:pt x="253827" y="216336"/>
                    </a:lnTo>
                    <a:lnTo>
                      <a:pt x="253182" y="217385"/>
                    </a:lnTo>
                    <a:lnTo>
                      <a:pt x="252514" y="219345"/>
                    </a:lnTo>
                    <a:lnTo>
                      <a:pt x="250590" y="221026"/>
                    </a:lnTo>
                    <a:lnTo>
                      <a:pt x="248906" y="221825"/>
                    </a:lnTo>
                    <a:lnTo>
                      <a:pt x="244734" y="222646"/>
                    </a:lnTo>
                    <a:lnTo>
                      <a:pt x="240545" y="224426"/>
                    </a:lnTo>
                    <a:lnTo>
                      <a:pt x="238658" y="223659"/>
                    </a:lnTo>
                    <a:lnTo>
                      <a:pt x="233769" y="223741"/>
                    </a:lnTo>
                    <a:lnTo>
                      <a:pt x="230720" y="221596"/>
                    </a:lnTo>
                    <a:lnTo>
                      <a:pt x="224859" y="220235"/>
                    </a:lnTo>
                    <a:lnTo>
                      <a:pt x="222950" y="217107"/>
                    </a:lnTo>
                    <a:lnTo>
                      <a:pt x="220281" y="216904"/>
                    </a:lnTo>
                    <a:lnTo>
                      <a:pt x="218532" y="216998"/>
                    </a:lnTo>
                    <a:lnTo>
                      <a:pt x="217487" y="216524"/>
                    </a:lnTo>
                    <a:lnTo>
                      <a:pt x="217215" y="215456"/>
                    </a:lnTo>
                    <a:lnTo>
                      <a:pt x="217191" y="214427"/>
                    </a:lnTo>
                    <a:lnTo>
                      <a:pt x="215339" y="214901"/>
                    </a:lnTo>
                    <a:lnTo>
                      <a:pt x="213922" y="214901"/>
                    </a:lnTo>
                    <a:lnTo>
                      <a:pt x="213077" y="215313"/>
                    </a:lnTo>
                    <a:lnTo>
                      <a:pt x="212410" y="215789"/>
                    </a:lnTo>
                    <a:lnTo>
                      <a:pt x="211622" y="215485"/>
                    </a:lnTo>
                    <a:lnTo>
                      <a:pt x="211164" y="215587"/>
                    </a:lnTo>
                    <a:lnTo>
                      <a:pt x="211205" y="216193"/>
                    </a:lnTo>
                    <a:lnTo>
                      <a:pt x="209504" y="216344"/>
                    </a:lnTo>
                    <a:lnTo>
                      <a:pt x="207660" y="215973"/>
                    </a:lnTo>
                    <a:lnTo>
                      <a:pt x="202818" y="214355"/>
                    </a:lnTo>
                    <a:lnTo>
                      <a:pt x="202075" y="214108"/>
                    </a:lnTo>
                    <a:lnTo>
                      <a:pt x="198715" y="213482"/>
                    </a:lnTo>
                    <a:lnTo>
                      <a:pt x="197357" y="212836"/>
                    </a:lnTo>
                    <a:lnTo>
                      <a:pt x="196258" y="211236"/>
                    </a:lnTo>
                    <a:lnTo>
                      <a:pt x="195418" y="210730"/>
                    </a:lnTo>
                    <a:lnTo>
                      <a:pt x="194921" y="210427"/>
                    </a:lnTo>
                    <a:lnTo>
                      <a:pt x="191786" y="211235"/>
                    </a:lnTo>
                    <a:lnTo>
                      <a:pt x="190698" y="212494"/>
                    </a:lnTo>
                    <a:lnTo>
                      <a:pt x="188998" y="213967"/>
                    </a:lnTo>
                    <a:lnTo>
                      <a:pt x="177370" y="221183"/>
                    </a:lnTo>
                    <a:lnTo>
                      <a:pt x="175247" y="224201"/>
                    </a:lnTo>
                    <a:lnTo>
                      <a:pt x="172790" y="228639"/>
                    </a:lnTo>
                    <a:lnTo>
                      <a:pt x="172598" y="230707"/>
                    </a:lnTo>
                    <a:lnTo>
                      <a:pt x="173656" y="237309"/>
                    </a:lnTo>
                    <a:lnTo>
                      <a:pt x="176020" y="240769"/>
                    </a:lnTo>
                    <a:lnTo>
                      <a:pt x="176320" y="241569"/>
                    </a:lnTo>
                    <a:lnTo>
                      <a:pt x="175010" y="241573"/>
                    </a:lnTo>
                    <a:lnTo>
                      <a:pt x="172809" y="241141"/>
                    </a:lnTo>
                    <a:lnTo>
                      <a:pt x="170982" y="240607"/>
                    </a:lnTo>
                    <a:lnTo>
                      <a:pt x="169244" y="240905"/>
                    </a:lnTo>
                    <a:lnTo>
                      <a:pt x="167569" y="241620"/>
                    </a:lnTo>
                    <a:lnTo>
                      <a:pt x="166104" y="242052"/>
                    </a:lnTo>
                    <a:lnTo>
                      <a:pt x="165053" y="242173"/>
                    </a:lnTo>
                    <a:lnTo>
                      <a:pt x="164349" y="242585"/>
                    </a:lnTo>
                    <a:lnTo>
                      <a:pt x="164012" y="243409"/>
                    </a:lnTo>
                    <a:lnTo>
                      <a:pt x="163943" y="243985"/>
                    </a:lnTo>
                    <a:lnTo>
                      <a:pt x="162092" y="243843"/>
                    </a:lnTo>
                    <a:lnTo>
                      <a:pt x="157812" y="242658"/>
                    </a:lnTo>
                    <a:lnTo>
                      <a:pt x="153964" y="241841"/>
                    </a:lnTo>
                    <a:lnTo>
                      <a:pt x="151708" y="242770"/>
                    </a:lnTo>
                    <a:lnTo>
                      <a:pt x="150256" y="243638"/>
                    </a:lnTo>
                    <a:lnTo>
                      <a:pt x="149235" y="243505"/>
                    </a:lnTo>
                    <a:lnTo>
                      <a:pt x="148460" y="242592"/>
                    </a:lnTo>
                    <a:lnTo>
                      <a:pt x="147940" y="241698"/>
                    </a:lnTo>
                    <a:lnTo>
                      <a:pt x="146432" y="240878"/>
                    </a:lnTo>
                    <a:lnTo>
                      <a:pt x="143034" y="239645"/>
                    </a:lnTo>
                    <a:lnTo>
                      <a:pt x="143208" y="239050"/>
                    </a:lnTo>
                    <a:lnTo>
                      <a:pt x="143789" y="238220"/>
                    </a:lnTo>
                    <a:lnTo>
                      <a:pt x="143772" y="237708"/>
                    </a:lnTo>
                    <a:lnTo>
                      <a:pt x="143118" y="236947"/>
                    </a:lnTo>
                    <a:lnTo>
                      <a:pt x="139985" y="236130"/>
                    </a:lnTo>
                    <a:lnTo>
                      <a:pt x="138508" y="235924"/>
                    </a:lnTo>
                    <a:lnTo>
                      <a:pt x="137568" y="236486"/>
                    </a:lnTo>
                    <a:lnTo>
                      <a:pt x="136892" y="237174"/>
                    </a:lnTo>
                    <a:lnTo>
                      <a:pt x="135147" y="234643"/>
                    </a:lnTo>
                    <a:lnTo>
                      <a:pt x="133906" y="234128"/>
                    </a:lnTo>
                    <a:lnTo>
                      <a:pt x="132027" y="234043"/>
                    </a:lnTo>
                    <a:lnTo>
                      <a:pt x="129879" y="233270"/>
                    </a:lnTo>
                    <a:lnTo>
                      <a:pt x="127643" y="232283"/>
                    </a:lnTo>
                    <a:lnTo>
                      <a:pt x="122213" y="230703"/>
                    </a:lnTo>
                    <a:lnTo>
                      <a:pt x="120718" y="230514"/>
                    </a:lnTo>
                    <a:lnTo>
                      <a:pt x="120120" y="230764"/>
                    </a:lnTo>
                    <a:lnTo>
                      <a:pt x="119721" y="231709"/>
                    </a:lnTo>
                    <a:lnTo>
                      <a:pt x="119505" y="234377"/>
                    </a:lnTo>
                    <a:lnTo>
                      <a:pt x="119276" y="234672"/>
                    </a:lnTo>
                    <a:lnTo>
                      <a:pt x="116756" y="234761"/>
                    </a:lnTo>
                    <a:lnTo>
                      <a:pt x="113651" y="234390"/>
                    </a:lnTo>
                    <a:lnTo>
                      <a:pt x="112228" y="234574"/>
                    </a:lnTo>
                    <a:lnTo>
                      <a:pt x="110958" y="234583"/>
                    </a:lnTo>
                    <a:lnTo>
                      <a:pt x="109762" y="233877"/>
                    </a:lnTo>
                    <a:lnTo>
                      <a:pt x="104399" y="234685"/>
                    </a:lnTo>
                    <a:lnTo>
                      <a:pt x="103507" y="234291"/>
                    </a:lnTo>
                    <a:lnTo>
                      <a:pt x="102212" y="233086"/>
                    </a:lnTo>
                    <a:lnTo>
                      <a:pt x="100769" y="232114"/>
                    </a:lnTo>
                    <a:lnTo>
                      <a:pt x="99647" y="231615"/>
                    </a:lnTo>
                    <a:lnTo>
                      <a:pt x="98691" y="231043"/>
                    </a:lnTo>
                    <a:lnTo>
                      <a:pt x="97822" y="230950"/>
                    </a:lnTo>
                    <a:lnTo>
                      <a:pt x="96499" y="231504"/>
                    </a:lnTo>
                    <a:lnTo>
                      <a:pt x="94670" y="231739"/>
                    </a:lnTo>
                    <a:lnTo>
                      <a:pt x="93152" y="231667"/>
                    </a:lnTo>
                    <a:lnTo>
                      <a:pt x="92342" y="231748"/>
                    </a:lnTo>
                    <a:lnTo>
                      <a:pt x="88942" y="228789"/>
                    </a:lnTo>
                    <a:lnTo>
                      <a:pt x="88445" y="227979"/>
                    </a:lnTo>
                    <a:lnTo>
                      <a:pt x="86752" y="227754"/>
                    </a:lnTo>
                    <a:lnTo>
                      <a:pt x="84660" y="227718"/>
                    </a:lnTo>
                    <a:lnTo>
                      <a:pt x="79317" y="225799"/>
                    </a:lnTo>
                    <a:lnTo>
                      <a:pt x="76885" y="224768"/>
                    </a:lnTo>
                    <a:lnTo>
                      <a:pt x="76529" y="224155"/>
                    </a:lnTo>
                    <a:lnTo>
                      <a:pt x="76562" y="223659"/>
                    </a:lnTo>
                    <a:lnTo>
                      <a:pt x="76147" y="223766"/>
                    </a:lnTo>
                    <a:lnTo>
                      <a:pt x="75397" y="224643"/>
                    </a:lnTo>
                    <a:lnTo>
                      <a:pt x="75004" y="225358"/>
                    </a:lnTo>
                    <a:lnTo>
                      <a:pt x="74484" y="225492"/>
                    </a:lnTo>
                    <a:lnTo>
                      <a:pt x="73716" y="225381"/>
                    </a:lnTo>
                    <a:lnTo>
                      <a:pt x="73007" y="224978"/>
                    </a:lnTo>
                    <a:lnTo>
                      <a:pt x="72573" y="224459"/>
                    </a:lnTo>
                    <a:lnTo>
                      <a:pt x="73038" y="223551"/>
                    </a:lnTo>
                    <a:lnTo>
                      <a:pt x="73852" y="222367"/>
                    </a:lnTo>
                    <a:lnTo>
                      <a:pt x="74190" y="221078"/>
                    </a:lnTo>
                    <a:lnTo>
                      <a:pt x="74116" y="219924"/>
                    </a:lnTo>
                    <a:lnTo>
                      <a:pt x="72766" y="219183"/>
                    </a:lnTo>
                    <a:lnTo>
                      <a:pt x="70781" y="218874"/>
                    </a:lnTo>
                    <a:lnTo>
                      <a:pt x="69329" y="218786"/>
                    </a:lnTo>
                    <a:lnTo>
                      <a:pt x="67434" y="218126"/>
                    </a:lnTo>
                    <a:lnTo>
                      <a:pt x="66541" y="217650"/>
                    </a:lnTo>
                    <a:lnTo>
                      <a:pt x="65668" y="216364"/>
                    </a:lnTo>
                    <a:lnTo>
                      <a:pt x="65639" y="215428"/>
                    </a:lnTo>
                    <a:lnTo>
                      <a:pt x="69234" y="214602"/>
                    </a:lnTo>
                    <a:lnTo>
                      <a:pt x="72476" y="211216"/>
                    </a:lnTo>
                    <a:lnTo>
                      <a:pt x="75546" y="198890"/>
                    </a:lnTo>
                    <a:lnTo>
                      <a:pt x="77768" y="184245"/>
                    </a:lnTo>
                    <a:lnTo>
                      <a:pt x="79420" y="181469"/>
                    </a:lnTo>
                    <a:lnTo>
                      <a:pt x="81495" y="180706"/>
                    </a:lnTo>
                    <a:lnTo>
                      <a:pt x="79817" y="178684"/>
                    </a:lnTo>
                    <a:lnTo>
                      <a:pt x="78766" y="179708"/>
                    </a:lnTo>
                    <a:lnTo>
                      <a:pt x="78325" y="180794"/>
                    </a:lnTo>
                    <a:lnTo>
                      <a:pt x="77775" y="181336"/>
                    </a:lnTo>
                    <a:lnTo>
                      <a:pt x="79016" y="167825"/>
                    </a:lnTo>
                    <a:lnTo>
                      <a:pt x="79901" y="162861"/>
                    </a:lnTo>
                    <a:lnTo>
                      <a:pt x="81406" y="157650"/>
                    </a:lnTo>
                    <a:lnTo>
                      <a:pt x="84485" y="159720"/>
                    </a:lnTo>
                    <a:lnTo>
                      <a:pt x="87037" y="161817"/>
                    </a:lnTo>
                    <a:lnTo>
                      <a:pt x="88357" y="163636"/>
                    </a:lnTo>
                    <a:lnTo>
                      <a:pt x="90027" y="169686"/>
                    </a:lnTo>
                    <a:lnTo>
                      <a:pt x="91290" y="170954"/>
                    </a:lnTo>
                    <a:lnTo>
                      <a:pt x="93181" y="172226"/>
                    </a:lnTo>
                    <a:lnTo>
                      <a:pt x="92434" y="170837"/>
                    </a:lnTo>
                    <a:lnTo>
                      <a:pt x="91133" y="169776"/>
                    </a:lnTo>
                    <a:lnTo>
                      <a:pt x="89099" y="161709"/>
                    </a:lnTo>
                    <a:lnTo>
                      <a:pt x="87823" y="159420"/>
                    </a:lnTo>
                    <a:lnTo>
                      <a:pt x="85836" y="157492"/>
                    </a:lnTo>
                    <a:lnTo>
                      <a:pt x="79438" y="153428"/>
                    </a:lnTo>
                    <a:lnTo>
                      <a:pt x="78863" y="152643"/>
                    </a:lnTo>
                    <a:lnTo>
                      <a:pt x="78554" y="151089"/>
                    </a:lnTo>
                    <a:lnTo>
                      <a:pt x="80668" y="151155"/>
                    </a:lnTo>
                    <a:lnTo>
                      <a:pt x="82495" y="151910"/>
                    </a:lnTo>
                    <a:lnTo>
                      <a:pt x="82279" y="151040"/>
                    </a:lnTo>
                    <a:lnTo>
                      <a:pt x="81737" y="150131"/>
                    </a:lnTo>
                    <a:lnTo>
                      <a:pt x="80889" y="146830"/>
                    </a:lnTo>
                    <a:lnTo>
                      <a:pt x="80181" y="139107"/>
                    </a:lnTo>
                    <a:lnTo>
                      <a:pt x="80277" y="137782"/>
                    </a:lnTo>
                    <a:lnTo>
                      <a:pt x="79962" y="136157"/>
                    </a:lnTo>
                    <a:lnTo>
                      <a:pt x="77916" y="135793"/>
                    </a:lnTo>
                    <a:lnTo>
                      <a:pt x="76280" y="135726"/>
                    </a:lnTo>
                    <a:lnTo>
                      <a:pt x="74518" y="135084"/>
                    </a:lnTo>
                    <a:lnTo>
                      <a:pt x="65805" y="130514"/>
                    </a:lnTo>
                    <a:lnTo>
                      <a:pt x="62822" y="125790"/>
                    </a:lnTo>
                    <a:lnTo>
                      <a:pt x="59772" y="122297"/>
                    </a:lnTo>
                    <a:lnTo>
                      <a:pt x="59040" y="120772"/>
                    </a:lnTo>
                    <a:lnTo>
                      <a:pt x="59088" y="119226"/>
                    </a:lnTo>
                    <a:lnTo>
                      <a:pt x="60667" y="115957"/>
                    </a:lnTo>
                    <a:lnTo>
                      <a:pt x="59273" y="113891"/>
                    </a:lnTo>
                    <a:lnTo>
                      <a:pt x="57911" y="113480"/>
                    </a:lnTo>
                    <a:lnTo>
                      <a:pt x="56727" y="112457"/>
                    </a:lnTo>
                    <a:lnTo>
                      <a:pt x="57799" y="110751"/>
                    </a:lnTo>
                    <a:lnTo>
                      <a:pt x="58690" y="109659"/>
                    </a:lnTo>
                    <a:lnTo>
                      <a:pt x="60475" y="109362"/>
                    </a:lnTo>
                    <a:lnTo>
                      <a:pt x="62816" y="109724"/>
                    </a:lnTo>
                    <a:lnTo>
                      <a:pt x="65036" y="110712"/>
                    </a:lnTo>
                    <a:lnTo>
                      <a:pt x="66778" y="110974"/>
                    </a:lnTo>
                    <a:lnTo>
                      <a:pt x="61629" y="108323"/>
                    </a:lnTo>
                    <a:lnTo>
                      <a:pt x="53279" y="109217"/>
                    </a:lnTo>
                    <a:lnTo>
                      <a:pt x="51479" y="108875"/>
                    </a:lnTo>
                    <a:lnTo>
                      <a:pt x="49959" y="108284"/>
                    </a:lnTo>
                    <a:lnTo>
                      <a:pt x="49365" y="106336"/>
                    </a:lnTo>
                    <a:lnTo>
                      <a:pt x="50552" y="105458"/>
                    </a:lnTo>
                    <a:lnTo>
                      <a:pt x="51628" y="103833"/>
                    </a:lnTo>
                    <a:lnTo>
                      <a:pt x="50411" y="102690"/>
                    </a:lnTo>
                    <a:lnTo>
                      <a:pt x="48834" y="102257"/>
                    </a:lnTo>
                    <a:lnTo>
                      <a:pt x="46360" y="102282"/>
                    </a:lnTo>
                    <a:lnTo>
                      <a:pt x="44052" y="102627"/>
                    </a:lnTo>
                    <a:lnTo>
                      <a:pt x="43466" y="101970"/>
                    </a:lnTo>
                    <a:lnTo>
                      <a:pt x="44874" y="100158"/>
                    </a:lnTo>
                    <a:lnTo>
                      <a:pt x="43678" y="99491"/>
                    </a:lnTo>
                    <a:lnTo>
                      <a:pt x="42082" y="99802"/>
                    </a:lnTo>
                    <a:lnTo>
                      <a:pt x="39767" y="100178"/>
                    </a:lnTo>
                    <a:lnTo>
                      <a:pt x="37553" y="99609"/>
                    </a:lnTo>
                    <a:lnTo>
                      <a:pt x="35460" y="97547"/>
                    </a:lnTo>
                    <a:lnTo>
                      <a:pt x="34073" y="97562"/>
                    </a:lnTo>
                    <a:lnTo>
                      <a:pt x="33120" y="97817"/>
                    </a:lnTo>
                    <a:lnTo>
                      <a:pt x="31706" y="97023"/>
                    </a:lnTo>
                    <a:lnTo>
                      <a:pt x="30218" y="96824"/>
                    </a:lnTo>
                    <a:lnTo>
                      <a:pt x="29156" y="97087"/>
                    </a:lnTo>
                    <a:lnTo>
                      <a:pt x="27744" y="95903"/>
                    </a:lnTo>
                    <a:lnTo>
                      <a:pt x="19051" y="93527"/>
                    </a:lnTo>
                    <a:lnTo>
                      <a:pt x="15297" y="93236"/>
                    </a:lnTo>
                    <a:lnTo>
                      <a:pt x="11854" y="94313"/>
                    </a:lnTo>
                    <a:lnTo>
                      <a:pt x="9959" y="93939"/>
                    </a:lnTo>
                    <a:lnTo>
                      <a:pt x="8566" y="92403"/>
                    </a:lnTo>
                    <a:lnTo>
                      <a:pt x="7397" y="89823"/>
                    </a:lnTo>
                    <a:lnTo>
                      <a:pt x="1851" y="87832"/>
                    </a:lnTo>
                    <a:lnTo>
                      <a:pt x="2948" y="86526"/>
                    </a:lnTo>
                    <a:lnTo>
                      <a:pt x="5530" y="86217"/>
                    </a:lnTo>
                    <a:lnTo>
                      <a:pt x="8506" y="85310"/>
                    </a:lnTo>
                    <a:lnTo>
                      <a:pt x="9576" y="84147"/>
                    </a:lnTo>
                    <a:lnTo>
                      <a:pt x="7250" y="82790"/>
                    </a:lnTo>
                    <a:lnTo>
                      <a:pt x="5535" y="82457"/>
                    </a:lnTo>
                    <a:lnTo>
                      <a:pt x="4824" y="81969"/>
                    </a:lnTo>
                    <a:lnTo>
                      <a:pt x="4099" y="80751"/>
                    </a:lnTo>
                    <a:lnTo>
                      <a:pt x="5127" y="80193"/>
                    </a:lnTo>
                    <a:lnTo>
                      <a:pt x="5851" y="80489"/>
                    </a:lnTo>
                    <a:lnTo>
                      <a:pt x="7942" y="80665"/>
                    </a:lnTo>
                    <a:lnTo>
                      <a:pt x="11523" y="80365"/>
                    </a:lnTo>
                    <a:lnTo>
                      <a:pt x="10188" y="79136"/>
                    </a:lnTo>
                    <a:lnTo>
                      <a:pt x="8803" y="78862"/>
                    </a:lnTo>
                    <a:lnTo>
                      <a:pt x="8167" y="78554"/>
                    </a:lnTo>
                    <a:lnTo>
                      <a:pt x="5256" y="78421"/>
                    </a:lnTo>
                    <a:lnTo>
                      <a:pt x="3931" y="78840"/>
                    </a:lnTo>
                    <a:lnTo>
                      <a:pt x="954" y="78681"/>
                    </a:lnTo>
                    <a:lnTo>
                      <a:pt x="309" y="77352"/>
                    </a:lnTo>
                    <a:lnTo>
                      <a:pt x="0" y="76212"/>
                    </a:lnTo>
                    <a:lnTo>
                      <a:pt x="923" y="73668"/>
                    </a:lnTo>
                    <a:lnTo>
                      <a:pt x="5115" y="71394"/>
                    </a:lnTo>
                    <a:lnTo>
                      <a:pt x="15558" y="68905"/>
                    </a:lnTo>
                    <a:lnTo>
                      <a:pt x="20052" y="69269"/>
                    </a:lnTo>
                    <a:lnTo>
                      <a:pt x="23167" y="68821"/>
                    </a:lnTo>
                    <a:lnTo>
                      <a:pt x="26900" y="67251"/>
                    </a:lnTo>
                    <a:lnTo>
                      <a:pt x="28547" y="65905"/>
                    </a:lnTo>
                    <a:lnTo>
                      <a:pt x="33855" y="65112"/>
                    </a:lnTo>
                    <a:lnTo>
                      <a:pt x="38901" y="66540"/>
                    </a:lnTo>
                    <a:lnTo>
                      <a:pt x="43553" y="71931"/>
                    </a:lnTo>
                    <a:lnTo>
                      <a:pt x="45776" y="73755"/>
                    </a:lnTo>
                    <a:lnTo>
                      <a:pt x="51219" y="70589"/>
                    </a:lnTo>
                    <a:lnTo>
                      <a:pt x="59328" y="70682"/>
                    </a:lnTo>
                    <a:lnTo>
                      <a:pt x="61003" y="72470"/>
                    </a:lnTo>
                    <a:lnTo>
                      <a:pt x="61679" y="70964"/>
                    </a:lnTo>
                    <a:lnTo>
                      <a:pt x="63170" y="69201"/>
                    </a:lnTo>
                    <a:lnTo>
                      <a:pt x="64359" y="70005"/>
                    </a:lnTo>
                    <a:lnTo>
                      <a:pt x="64961" y="71094"/>
                    </a:lnTo>
                    <a:lnTo>
                      <a:pt x="73520" y="70785"/>
                    </a:lnTo>
                    <a:lnTo>
                      <a:pt x="74872" y="70467"/>
                    </a:lnTo>
                    <a:lnTo>
                      <a:pt x="72573" y="69187"/>
                    </a:lnTo>
                    <a:lnTo>
                      <a:pt x="70693" y="66117"/>
                    </a:lnTo>
                    <a:lnTo>
                      <a:pt x="70303" y="54792"/>
                    </a:lnTo>
                    <a:lnTo>
                      <a:pt x="67932" y="51621"/>
                    </a:lnTo>
                    <a:lnTo>
                      <a:pt x="65210" y="46549"/>
                    </a:lnTo>
                    <a:lnTo>
                      <a:pt x="63958" y="43535"/>
                    </a:lnTo>
                    <a:lnTo>
                      <a:pt x="63840" y="42492"/>
                    </a:lnTo>
                    <a:lnTo>
                      <a:pt x="64259" y="40986"/>
                    </a:lnTo>
                    <a:lnTo>
                      <a:pt x="67605" y="41067"/>
                    </a:lnTo>
                    <a:lnTo>
                      <a:pt x="70190" y="41449"/>
                    </a:lnTo>
                    <a:lnTo>
                      <a:pt x="75110" y="40310"/>
                    </a:lnTo>
                    <a:lnTo>
                      <a:pt x="77478" y="41090"/>
                    </a:lnTo>
                    <a:lnTo>
                      <a:pt x="77338" y="43445"/>
                    </a:lnTo>
                    <a:lnTo>
                      <a:pt x="78061" y="46413"/>
                    </a:lnTo>
                    <a:lnTo>
                      <a:pt x="78886" y="47849"/>
                    </a:lnTo>
                    <a:lnTo>
                      <a:pt x="80134" y="49481"/>
                    </a:lnTo>
                    <a:lnTo>
                      <a:pt x="84100" y="49330"/>
                    </a:lnTo>
                    <a:lnTo>
                      <a:pt x="88382" y="50289"/>
                    </a:lnTo>
                    <a:lnTo>
                      <a:pt x="93791" y="50437"/>
                    </a:lnTo>
                    <a:lnTo>
                      <a:pt x="101694" y="52091"/>
                    </a:lnTo>
                    <a:lnTo>
                      <a:pt x="105062" y="51133"/>
                    </a:lnTo>
                    <a:lnTo>
                      <a:pt x="108319" y="49091"/>
                    </a:lnTo>
                    <a:lnTo>
                      <a:pt x="114527" y="47747"/>
                    </a:lnTo>
                    <a:lnTo>
                      <a:pt x="115022" y="47035"/>
                    </a:lnTo>
                    <a:lnTo>
                      <a:pt x="111448" y="47319"/>
                    </a:lnTo>
                    <a:lnTo>
                      <a:pt x="108170" y="46023"/>
                    </a:lnTo>
                    <a:lnTo>
                      <a:pt x="107728" y="44615"/>
                    </a:lnTo>
                    <a:lnTo>
                      <a:pt x="108107" y="43349"/>
                    </a:lnTo>
                    <a:lnTo>
                      <a:pt x="109438" y="40433"/>
                    </a:lnTo>
                    <a:lnTo>
                      <a:pt x="118935" y="35828"/>
                    </a:lnTo>
                    <a:lnTo>
                      <a:pt x="125743" y="34466"/>
                    </a:lnTo>
                    <a:lnTo>
                      <a:pt x="132850" y="31926"/>
                    </a:lnTo>
                    <a:lnTo>
                      <a:pt x="136426" y="29319"/>
                    </a:lnTo>
                    <a:lnTo>
                      <a:pt x="138788" y="25948"/>
                    </a:lnTo>
                    <a:lnTo>
                      <a:pt x="139548" y="25207"/>
                    </a:lnTo>
                    <a:lnTo>
                      <a:pt x="140529" y="24585"/>
                    </a:lnTo>
                    <a:lnTo>
                      <a:pt x="139617" y="23376"/>
                    </a:lnTo>
                    <a:lnTo>
                      <a:pt x="140235" y="10443"/>
                    </a:lnTo>
                    <a:lnTo>
                      <a:pt x="140900" y="8106"/>
                    </a:lnTo>
                    <a:lnTo>
                      <a:pt x="142286" y="6195"/>
                    </a:lnTo>
                    <a:lnTo>
                      <a:pt x="144396" y="4716"/>
                    </a:lnTo>
                    <a:lnTo>
                      <a:pt x="147598" y="3112"/>
                    </a:lnTo>
                    <a:lnTo>
                      <a:pt x="159389" y="895"/>
                    </a:lnTo>
                    <a:close/>
                  </a:path>
                </a:pathLst>
              </a:custGeom>
              <a:pattFill prst="pct10">
                <a:fgClr>
                  <a:srgbClr val="000000"/>
                </a:fgClr>
                <a:bgClr>
                  <a:srgbClr val="DC7306"/>
                </a:bgClr>
              </a:patt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1" name="ee4p_GR_1_15912">
                <a:extLst>
                  <a:ext uri="{FF2B5EF4-FFF2-40B4-BE49-F238E27FC236}">
                    <a16:creationId xmlns:a16="http://schemas.microsoft.com/office/drawing/2014/main" id="{64C0C17B-1296-5FA5-7CF4-68EEF3DA381F}"/>
                  </a:ext>
                </a:extLst>
              </p:cNvPr>
              <p:cNvSpPr>
                <a:spLocks noChangeAspect="1"/>
              </p:cNvSpPr>
              <p:nvPr>
                <p:custDataLst>
                  <p:tags r:id="rId252"/>
                </p:custDataLst>
              </p:nvPr>
            </p:nvSpPr>
            <p:spPr>
              <a:xfrm>
                <a:off x="5493872" y="5435278"/>
                <a:ext cx="752573" cy="694414"/>
              </a:xfrm>
              <a:custGeom>
                <a:avLst/>
                <a:gdLst>
                  <a:gd name="connsiteX0" fmla="*/ 90448 w 189841"/>
                  <a:gd name="connsiteY0" fmla="*/ 157073 h 175170"/>
                  <a:gd name="connsiteX1" fmla="*/ 91198 w 189841"/>
                  <a:gd name="connsiteY1" fmla="*/ 157609 h 175170"/>
                  <a:gd name="connsiteX2" fmla="*/ 91697 w 189841"/>
                  <a:gd name="connsiteY2" fmla="*/ 159571 h 175170"/>
                  <a:gd name="connsiteX3" fmla="*/ 92998 w 189841"/>
                  <a:gd name="connsiteY3" fmla="*/ 160093 h 175170"/>
                  <a:gd name="connsiteX4" fmla="*/ 94510 w 189841"/>
                  <a:gd name="connsiteY4" fmla="*/ 160276 h 175170"/>
                  <a:gd name="connsiteX5" fmla="*/ 96559 w 189841"/>
                  <a:gd name="connsiteY5" fmla="*/ 160244 h 175170"/>
                  <a:gd name="connsiteX6" fmla="*/ 97026 w 189841"/>
                  <a:gd name="connsiteY6" fmla="*/ 160094 h 175170"/>
                  <a:gd name="connsiteX7" fmla="*/ 98330 w 189841"/>
                  <a:gd name="connsiteY7" fmla="*/ 158624 h 175170"/>
                  <a:gd name="connsiteX8" fmla="*/ 99937 w 189841"/>
                  <a:gd name="connsiteY8" fmla="*/ 158590 h 175170"/>
                  <a:gd name="connsiteX9" fmla="*/ 100638 w 189841"/>
                  <a:gd name="connsiteY9" fmla="*/ 160043 h 175170"/>
                  <a:gd name="connsiteX10" fmla="*/ 99008 w 189841"/>
                  <a:gd name="connsiteY10" fmla="*/ 160712 h 175170"/>
                  <a:gd name="connsiteX11" fmla="*/ 98676 w 189841"/>
                  <a:gd name="connsiteY11" fmla="*/ 161090 h 175170"/>
                  <a:gd name="connsiteX12" fmla="*/ 98989 w 189841"/>
                  <a:gd name="connsiteY12" fmla="*/ 161396 h 175170"/>
                  <a:gd name="connsiteX13" fmla="*/ 100213 w 189841"/>
                  <a:gd name="connsiteY13" fmla="*/ 162002 h 175170"/>
                  <a:gd name="connsiteX14" fmla="*/ 101913 w 189841"/>
                  <a:gd name="connsiteY14" fmla="*/ 161773 h 175170"/>
                  <a:gd name="connsiteX15" fmla="*/ 101964 w 189841"/>
                  <a:gd name="connsiteY15" fmla="*/ 162916 h 175170"/>
                  <a:gd name="connsiteX16" fmla="*/ 102344 w 189841"/>
                  <a:gd name="connsiteY16" fmla="*/ 163849 h 175170"/>
                  <a:gd name="connsiteX17" fmla="*/ 103184 w 189841"/>
                  <a:gd name="connsiteY17" fmla="*/ 164406 h 175170"/>
                  <a:gd name="connsiteX18" fmla="*/ 104093 w 189841"/>
                  <a:gd name="connsiteY18" fmla="*/ 164515 h 175170"/>
                  <a:gd name="connsiteX19" fmla="*/ 106104 w 189841"/>
                  <a:gd name="connsiteY19" fmla="*/ 164350 h 175170"/>
                  <a:gd name="connsiteX20" fmla="*/ 108086 w 189841"/>
                  <a:gd name="connsiteY20" fmla="*/ 163980 h 175170"/>
                  <a:gd name="connsiteX21" fmla="*/ 110129 w 189841"/>
                  <a:gd name="connsiteY21" fmla="*/ 163248 h 175170"/>
                  <a:gd name="connsiteX22" fmla="*/ 112215 w 189841"/>
                  <a:gd name="connsiteY22" fmla="*/ 162874 h 175170"/>
                  <a:gd name="connsiteX23" fmla="*/ 118447 w 189841"/>
                  <a:gd name="connsiteY23" fmla="*/ 163249 h 175170"/>
                  <a:gd name="connsiteX24" fmla="*/ 120684 w 189841"/>
                  <a:gd name="connsiteY24" fmla="*/ 164830 h 175170"/>
                  <a:gd name="connsiteX25" fmla="*/ 124940 w 189841"/>
                  <a:gd name="connsiteY25" fmla="*/ 165020 h 175170"/>
                  <a:gd name="connsiteX26" fmla="*/ 128896 w 189841"/>
                  <a:gd name="connsiteY26" fmla="*/ 165852 h 175170"/>
                  <a:gd name="connsiteX27" fmla="*/ 130974 w 189841"/>
                  <a:gd name="connsiteY27" fmla="*/ 165303 h 175170"/>
                  <a:gd name="connsiteX28" fmla="*/ 134523 w 189841"/>
                  <a:gd name="connsiteY28" fmla="*/ 164788 h 175170"/>
                  <a:gd name="connsiteX29" fmla="*/ 135092 w 189841"/>
                  <a:gd name="connsiteY29" fmla="*/ 165346 h 175170"/>
                  <a:gd name="connsiteX30" fmla="*/ 134633 w 189841"/>
                  <a:gd name="connsiteY30" fmla="*/ 168918 h 175170"/>
                  <a:gd name="connsiteX31" fmla="*/ 134852 w 189841"/>
                  <a:gd name="connsiteY31" fmla="*/ 169953 h 175170"/>
                  <a:gd name="connsiteX32" fmla="*/ 135875 w 189841"/>
                  <a:gd name="connsiteY32" fmla="*/ 170451 h 175170"/>
                  <a:gd name="connsiteX33" fmla="*/ 136888 w 189841"/>
                  <a:gd name="connsiteY33" fmla="*/ 170208 h 175170"/>
                  <a:gd name="connsiteX34" fmla="*/ 138132 w 189841"/>
                  <a:gd name="connsiteY34" fmla="*/ 169039 h 175170"/>
                  <a:gd name="connsiteX35" fmla="*/ 141109 w 189841"/>
                  <a:gd name="connsiteY35" fmla="*/ 168134 h 175170"/>
                  <a:gd name="connsiteX36" fmla="*/ 144202 w 189841"/>
                  <a:gd name="connsiteY36" fmla="*/ 168139 h 175170"/>
                  <a:gd name="connsiteX37" fmla="*/ 146804 w 189841"/>
                  <a:gd name="connsiteY37" fmla="*/ 165763 h 175170"/>
                  <a:gd name="connsiteX38" fmla="*/ 147571 w 189841"/>
                  <a:gd name="connsiteY38" fmla="*/ 165628 h 175170"/>
                  <a:gd name="connsiteX39" fmla="*/ 147093 w 189841"/>
                  <a:gd name="connsiteY39" fmla="*/ 166796 h 175170"/>
                  <a:gd name="connsiteX40" fmla="*/ 146700 w 189841"/>
                  <a:gd name="connsiteY40" fmla="*/ 169539 h 175170"/>
                  <a:gd name="connsiteX41" fmla="*/ 146141 w 189841"/>
                  <a:gd name="connsiteY41" fmla="*/ 171145 h 175170"/>
                  <a:gd name="connsiteX42" fmla="*/ 145892 w 189841"/>
                  <a:gd name="connsiteY42" fmla="*/ 172410 h 175170"/>
                  <a:gd name="connsiteX43" fmla="*/ 144152 w 189841"/>
                  <a:gd name="connsiteY43" fmla="*/ 173063 h 175170"/>
                  <a:gd name="connsiteX44" fmla="*/ 141522 w 189841"/>
                  <a:gd name="connsiteY44" fmla="*/ 173175 h 175170"/>
                  <a:gd name="connsiteX45" fmla="*/ 136724 w 189841"/>
                  <a:gd name="connsiteY45" fmla="*/ 172898 h 175170"/>
                  <a:gd name="connsiteX46" fmla="*/ 131887 w 189841"/>
                  <a:gd name="connsiteY46" fmla="*/ 173346 h 175170"/>
                  <a:gd name="connsiteX47" fmla="*/ 122928 w 189841"/>
                  <a:gd name="connsiteY47" fmla="*/ 174549 h 175170"/>
                  <a:gd name="connsiteX48" fmla="*/ 113951 w 189841"/>
                  <a:gd name="connsiteY48" fmla="*/ 175170 h 175170"/>
                  <a:gd name="connsiteX49" fmla="*/ 112744 w 189841"/>
                  <a:gd name="connsiteY49" fmla="*/ 174765 h 175170"/>
                  <a:gd name="connsiteX50" fmla="*/ 112716 w 189841"/>
                  <a:gd name="connsiteY50" fmla="*/ 173170 h 175170"/>
                  <a:gd name="connsiteX51" fmla="*/ 112522 w 189841"/>
                  <a:gd name="connsiteY51" fmla="*/ 172069 h 175170"/>
                  <a:gd name="connsiteX52" fmla="*/ 111941 w 189841"/>
                  <a:gd name="connsiteY52" fmla="*/ 171298 h 175170"/>
                  <a:gd name="connsiteX53" fmla="*/ 109166 w 189841"/>
                  <a:gd name="connsiteY53" fmla="*/ 170640 h 175170"/>
                  <a:gd name="connsiteX54" fmla="*/ 106519 w 189841"/>
                  <a:gd name="connsiteY54" fmla="*/ 169511 h 175170"/>
                  <a:gd name="connsiteX55" fmla="*/ 96140 w 189841"/>
                  <a:gd name="connsiteY55" fmla="*/ 167967 h 175170"/>
                  <a:gd name="connsiteX56" fmla="*/ 93692 w 189841"/>
                  <a:gd name="connsiteY56" fmla="*/ 167361 h 175170"/>
                  <a:gd name="connsiteX57" fmla="*/ 89718 w 189841"/>
                  <a:gd name="connsiteY57" fmla="*/ 167677 h 175170"/>
                  <a:gd name="connsiteX58" fmla="*/ 88263 w 189841"/>
                  <a:gd name="connsiteY58" fmla="*/ 167635 h 175170"/>
                  <a:gd name="connsiteX59" fmla="*/ 87261 w 189841"/>
                  <a:gd name="connsiteY59" fmla="*/ 167081 h 175170"/>
                  <a:gd name="connsiteX60" fmla="*/ 86572 w 189841"/>
                  <a:gd name="connsiteY60" fmla="*/ 166129 h 175170"/>
                  <a:gd name="connsiteX61" fmla="*/ 86261 w 189841"/>
                  <a:gd name="connsiteY61" fmla="*/ 163106 h 175170"/>
                  <a:gd name="connsiteX62" fmla="*/ 86753 w 189841"/>
                  <a:gd name="connsiteY62" fmla="*/ 160110 h 175170"/>
                  <a:gd name="connsiteX63" fmla="*/ 87613 w 189841"/>
                  <a:gd name="connsiteY63" fmla="*/ 159318 h 175170"/>
                  <a:gd name="connsiteX64" fmla="*/ 88008 w 189841"/>
                  <a:gd name="connsiteY64" fmla="*/ 160221 h 175170"/>
                  <a:gd name="connsiteX65" fmla="*/ 89027 w 189841"/>
                  <a:gd name="connsiteY65" fmla="*/ 160634 h 175170"/>
                  <a:gd name="connsiteX66" fmla="*/ 89973 w 189841"/>
                  <a:gd name="connsiteY66" fmla="*/ 159724 h 175170"/>
                  <a:gd name="connsiteX67" fmla="*/ 89964 w 189841"/>
                  <a:gd name="connsiteY67" fmla="*/ 158350 h 175170"/>
                  <a:gd name="connsiteX68" fmla="*/ 167536 w 189841"/>
                  <a:gd name="connsiteY68" fmla="*/ 152919 h 175170"/>
                  <a:gd name="connsiteX69" fmla="*/ 167180 w 189841"/>
                  <a:gd name="connsiteY69" fmla="*/ 155589 h 175170"/>
                  <a:gd name="connsiteX70" fmla="*/ 166078 w 189841"/>
                  <a:gd name="connsiteY70" fmla="*/ 157728 h 175170"/>
                  <a:gd name="connsiteX71" fmla="*/ 167221 w 189841"/>
                  <a:gd name="connsiteY71" fmla="*/ 159502 h 175170"/>
                  <a:gd name="connsiteX72" fmla="*/ 167767 w 189841"/>
                  <a:gd name="connsiteY72" fmla="*/ 161523 h 175170"/>
                  <a:gd name="connsiteX73" fmla="*/ 166495 w 189841"/>
                  <a:gd name="connsiteY73" fmla="*/ 161857 h 175170"/>
                  <a:gd name="connsiteX74" fmla="*/ 165651 w 189841"/>
                  <a:gd name="connsiteY74" fmla="*/ 163269 h 175170"/>
                  <a:gd name="connsiteX75" fmla="*/ 164794 w 189841"/>
                  <a:gd name="connsiteY75" fmla="*/ 162079 h 175170"/>
                  <a:gd name="connsiteX76" fmla="*/ 165163 w 189841"/>
                  <a:gd name="connsiteY76" fmla="*/ 160705 h 175170"/>
                  <a:gd name="connsiteX77" fmla="*/ 164165 w 189841"/>
                  <a:gd name="connsiteY77" fmla="*/ 158526 h 175170"/>
                  <a:gd name="connsiteX78" fmla="*/ 166053 w 189841"/>
                  <a:gd name="connsiteY78" fmla="*/ 155292 h 175170"/>
                  <a:gd name="connsiteX79" fmla="*/ 166096 w 189841"/>
                  <a:gd name="connsiteY79" fmla="*/ 153720 h 175170"/>
                  <a:gd name="connsiteX80" fmla="*/ 73059 w 189841"/>
                  <a:gd name="connsiteY80" fmla="*/ 138689 h 175170"/>
                  <a:gd name="connsiteX81" fmla="*/ 74106 w 189841"/>
                  <a:gd name="connsiteY81" fmla="*/ 140102 h 175170"/>
                  <a:gd name="connsiteX82" fmla="*/ 76300 w 189841"/>
                  <a:gd name="connsiteY82" fmla="*/ 142164 h 175170"/>
                  <a:gd name="connsiteX83" fmla="*/ 75343 w 189841"/>
                  <a:gd name="connsiteY83" fmla="*/ 143599 h 175170"/>
                  <a:gd name="connsiteX84" fmla="*/ 75086 w 189841"/>
                  <a:gd name="connsiteY84" fmla="*/ 144696 h 175170"/>
                  <a:gd name="connsiteX85" fmla="*/ 72815 w 189841"/>
                  <a:gd name="connsiteY85" fmla="*/ 143942 h 175170"/>
                  <a:gd name="connsiteX86" fmla="*/ 72182 w 189841"/>
                  <a:gd name="connsiteY86" fmla="*/ 142810 h 175170"/>
                  <a:gd name="connsiteX87" fmla="*/ 72068 w 189841"/>
                  <a:gd name="connsiteY87" fmla="*/ 140299 h 175170"/>
                  <a:gd name="connsiteX88" fmla="*/ 72664 w 189841"/>
                  <a:gd name="connsiteY88" fmla="*/ 139074 h 175170"/>
                  <a:gd name="connsiteX89" fmla="*/ 189841 w 189841"/>
                  <a:gd name="connsiteY89" fmla="*/ 137431 h 175170"/>
                  <a:gd name="connsiteX90" fmla="*/ 189801 w 189841"/>
                  <a:gd name="connsiteY90" fmla="*/ 139035 h 175170"/>
                  <a:gd name="connsiteX91" fmla="*/ 187899 w 189841"/>
                  <a:gd name="connsiteY91" fmla="*/ 143092 h 175170"/>
                  <a:gd name="connsiteX92" fmla="*/ 186211 w 189841"/>
                  <a:gd name="connsiteY92" fmla="*/ 145117 h 175170"/>
                  <a:gd name="connsiteX93" fmla="*/ 186655 w 189841"/>
                  <a:gd name="connsiteY93" fmla="*/ 146743 h 175170"/>
                  <a:gd name="connsiteX94" fmla="*/ 183952 w 189841"/>
                  <a:gd name="connsiteY94" fmla="*/ 147193 h 175170"/>
                  <a:gd name="connsiteX95" fmla="*/ 181238 w 189841"/>
                  <a:gd name="connsiteY95" fmla="*/ 150175 h 175170"/>
                  <a:gd name="connsiteX96" fmla="*/ 179642 w 189841"/>
                  <a:gd name="connsiteY96" fmla="*/ 150705 h 175170"/>
                  <a:gd name="connsiteX97" fmla="*/ 179091 w 189841"/>
                  <a:gd name="connsiteY97" fmla="*/ 150636 h 175170"/>
                  <a:gd name="connsiteX98" fmla="*/ 178424 w 189841"/>
                  <a:gd name="connsiteY98" fmla="*/ 149468 h 175170"/>
                  <a:gd name="connsiteX99" fmla="*/ 179348 w 189841"/>
                  <a:gd name="connsiteY99" fmla="*/ 146645 h 175170"/>
                  <a:gd name="connsiteX100" fmla="*/ 178493 w 189841"/>
                  <a:gd name="connsiteY100" fmla="*/ 144829 h 175170"/>
                  <a:gd name="connsiteX101" fmla="*/ 178441 w 189841"/>
                  <a:gd name="connsiteY101" fmla="*/ 144059 h 175170"/>
                  <a:gd name="connsiteX102" fmla="*/ 179726 w 189841"/>
                  <a:gd name="connsiteY102" fmla="*/ 142993 h 175170"/>
                  <a:gd name="connsiteX103" fmla="*/ 180629 w 189841"/>
                  <a:gd name="connsiteY103" fmla="*/ 141396 h 175170"/>
                  <a:gd name="connsiteX104" fmla="*/ 182822 w 189841"/>
                  <a:gd name="connsiteY104" fmla="*/ 139667 h 175170"/>
                  <a:gd name="connsiteX105" fmla="*/ 188506 w 189841"/>
                  <a:gd name="connsiteY105" fmla="*/ 137619 h 175170"/>
                  <a:gd name="connsiteX106" fmla="*/ 127421 w 189841"/>
                  <a:gd name="connsiteY106" fmla="*/ 136416 h 175170"/>
                  <a:gd name="connsiteX107" fmla="*/ 128713 w 189841"/>
                  <a:gd name="connsiteY107" fmla="*/ 137395 h 175170"/>
                  <a:gd name="connsiteX108" fmla="*/ 129045 w 189841"/>
                  <a:gd name="connsiteY108" fmla="*/ 138469 h 175170"/>
                  <a:gd name="connsiteX109" fmla="*/ 128017 w 189841"/>
                  <a:gd name="connsiteY109" fmla="*/ 139799 h 175170"/>
                  <a:gd name="connsiteX110" fmla="*/ 126570 w 189841"/>
                  <a:gd name="connsiteY110" fmla="*/ 139322 h 175170"/>
                  <a:gd name="connsiteX111" fmla="*/ 127160 w 189841"/>
                  <a:gd name="connsiteY111" fmla="*/ 138816 h 175170"/>
                  <a:gd name="connsiteX112" fmla="*/ 127508 w 189841"/>
                  <a:gd name="connsiteY112" fmla="*/ 138159 h 175170"/>
                  <a:gd name="connsiteX113" fmla="*/ 127546 w 189841"/>
                  <a:gd name="connsiteY113" fmla="*/ 137212 h 175170"/>
                  <a:gd name="connsiteX114" fmla="*/ 127154 w 189841"/>
                  <a:gd name="connsiteY114" fmla="*/ 136629 h 175170"/>
                  <a:gd name="connsiteX115" fmla="*/ 148672 w 189841"/>
                  <a:gd name="connsiteY115" fmla="*/ 132238 h 175170"/>
                  <a:gd name="connsiteX116" fmla="*/ 149805 w 189841"/>
                  <a:gd name="connsiteY116" fmla="*/ 132602 h 175170"/>
                  <a:gd name="connsiteX117" fmla="*/ 150676 w 189841"/>
                  <a:gd name="connsiteY117" fmla="*/ 133587 h 175170"/>
                  <a:gd name="connsiteX118" fmla="*/ 148929 w 189841"/>
                  <a:gd name="connsiteY118" fmla="*/ 134192 h 175170"/>
                  <a:gd name="connsiteX119" fmla="*/ 147819 w 189841"/>
                  <a:gd name="connsiteY119" fmla="*/ 135462 h 175170"/>
                  <a:gd name="connsiteX120" fmla="*/ 146461 w 189841"/>
                  <a:gd name="connsiteY120" fmla="*/ 134562 h 175170"/>
                  <a:gd name="connsiteX121" fmla="*/ 146456 w 189841"/>
                  <a:gd name="connsiteY121" fmla="*/ 133333 h 175170"/>
                  <a:gd name="connsiteX122" fmla="*/ 147942 w 189841"/>
                  <a:gd name="connsiteY122" fmla="*/ 133709 h 175170"/>
                  <a:gd name="connsiteX123" fmla="*/ 148985 w 189841"/>
                  <a:gd name="connsiteY123" fmla="*/ 133017 h 175170"/>
                  <a:gd name="connsiteX124" fmla="*/ 181674 w 189841"/>
                  <a:gd name="connsiteY124" fmla="*/ 132173 h 175170"/>
                  <a:gd name="connsiteX125" fmla="*/ 181836 w 189841"/>
                  <a:gd name="connsiteY125" fmla="*/ 132646 h 175170"/>
                  <a:gd name="connsiteX126" fmla="*/ 181818 w 189841"/>
                  <a:gd name="connsiteY126" fmla="*/ 133656 h 175170"/>
                  <a:gd name="connsiteX127" fmla="*/ 181622 w 189841"/>
                  <a:gd name="connsiteY127" fmla="*/ 134385 h 175170"/>
                  <a:gd name="connsiteX128" fmla="*/ 181138 w 189841"/>
                  <a:gd name="connsiteY128" fmla="*/ 134788 h 175170"/>
                  <a:gd name="connsiteX129" fmla="*/ 180028 w 189841"/>
                  <a:gd name="connsiteY129" fmla="*/ 133630 h 175170"/>
                  <a:gd name="connsiteX130" fmla="*/ 179976 w 189841"/>
                  <a:gd name="connsiteY130" fmla="*/ 133026 h 175170"/>
                  <a:gd name="connsiteX131" fmla="*/ 181106 w 189841"/>
                  <a:gd name="connsiteY131" fmla="*/ 132333 h 175170"/>
                  <a:gd name="connsiteX132" fmla="*/ 108112 w 189841"/>
                  <a:gd name="connsiteY132" fmla="*/ 129062 h 175170"/>
                  <a:gd name="connsiteX133" fmla="*/ 108151 w 189841"/>
                  <a:gd name="connsiteY133" fmla="*/ 130553 h 175170"/>
                  <a:gd name="connsiteX134" fmla="*/ 108000 w 189841"/>
                  <a:gd name="connsiteY134" fmla="*/ 131087 h 175170"/>
                  <a:gd name="connsiteX135" fmla="*/ 103474 w 189841"/>
                  <a:gd name="connsiteY135" fmla="*/ 131806 h 175170"/>
                  <a:gd name="connsiteX136" fmla="*/ 103893 w 189841"/>
                  <a:gd name="connsiteY136" fmla="*/ 130097 h 175170"/>
                  <a:gd name="connsiteX137" fmla="*/ 104169 w 189841"/>
                  <a:gd name="connsiteY137" fmla="*/ 129557 h 175170"/>
                  <a:gd name="connsiteX138" fmla="*/ 105668 w 189841"/>
                  <a:gd name="connsiteY138" fmla="*/ 130352 h 175170"/>
                  <a:gd name="connsiteX139" fmla="*/ 106220 w 189841"/>
                  <a:gd name="connsiteY139" fmla="*/ 129946 h 175170"/>
                  <a:gd name="connsiteX140" fmla="*/ 106445 w 189841"/>
                  <a:gd name="connsiteY140" fmla="*/ 129476 h 175170"/>
                  <a:gd name="connsiteX141" fmla="*/ 124921 w 189841"/>
                  <a:gd name="connsiteY141" fmla="*/ 128417 h 175170"/>
                  <a:gd name="connsiteX142" fmla="*/ 127376 w 189841"/>
                  <a:gd name="connsiteY142" fmla="*/ 130240 h 175170"/>
                  <a:gd name="connsiteX143" fmla="*/ 126819 w 189841"/>
                  <a:gd name="connsiteY143" fmla="*/ 131339 h 175170"/>
                  <a:gd name="connsiteX144" fmla="*/ 126434 w 189841"/>
                  <a:gd name="connsiteY144" fmla="*/ 131737 h 175170"/>
                  <a:gd name="connsiteX145" fmla="*/ 124761 w 189841"/>
                  <a:gd name="connsiteY145" fmla="*/ 130134 h 175170"/>
                  <a:gd name="connsiteX146" fmla="*/ 124126 w 189841"/>
                  <a:gd name="connsiteY146" fmla="*/ 129197 h 175170"/>
                  <a:gd name="connsiteX147" fmla="*/ 168476 w 189841"/>
                  <a:gd name="connsiteY147" fmla="*/ 125472 h 175170"/>
                  <a:gd name="connsiteX148" fmla="*/ 170389 w 189841"/>
                  <a:gd name="connsiteY148" fmla="*/ 126393 h 175170"/>
                  <a:gd name="connsiteX149" fmla="*/ 166873 w 189841"/>
                  <a:gd name="connsiteY149" fmla="*/ 127910 h 175170"/>
                  <a:gd name="connsiteX150" fmla="*/ 165940 w 189841"/>
                  <a:gd name="connsiteY150" fmla="*/ 128712 h 175170"/>
                  <a:gd name="connsiteX151" fmla="*/ 163345 w 189841"/>
                  <a:gd name="connsiteY151" fmla="*/ 128885 h 175170"/>
                  <a:gd name="connsiteX152" fmla="*/ 161488 w 189841"/>
                  <a:gd name="connsiteY152" fmla="*/ 129993 h 175170"/>
                  <a:gd name="connsiteX153" fmla="*/ 160797 w 189841"/>
                  <a:gd name="connsiteY153" fmla="*/ 130023 h 175170"/>
                  <a:gd name="connsiteX154" fmla="*/ 161619 w 189841"/>
                  <a:gd name="connsiteY154" fmla="*/ 128797 h 175170"/>
                  <a:gd name="connsiteX155" fmla="*/ 163954 w 189841"/>
                  <a:gd name="connsiteY155" fmla="*/ 127117 h 175170"/>
                  <a:gd name="connsiteX156" fmla="*/ 167355 w 189841"/>
                  <a:gd name="connsiteY156" fmla="*/ 125637 h 175170"/>
                  <a:gd name="connsiteX157" fmla="*/ 140505 w 189841"/>
                  <a:gd name="connsiteY157" fmla="*/ 124652 h 175170"/>
                  <a:gd name="connsiteX158" fmla="*/ 141915 w 189841"/>
                  <a:gd name="connsiteY158" fmla="*/ 125533 h 175170"/>
                  <a:gd name="connsiteX159" fmla="*/ 140151 w 189841"/>
                  <a:gd name="connsiteY159" fmla="*/ 126118 h 175170"/>
                  <a:gd name="connsiteX160" fmla="*/ 137380 w 189841"/>
                  <a:gd name="connsiteY160" fmla="*/ 128386 h 175170"/>
                  <a:gd name="connsiteX161" fmla="*/ 135428 w 189841"/>
                  <a:gd name="connsiteY161" fmla="*/ 128594 h 175170"/>
                  <a:gd name="connsiteX162" fmla="*/ 134811 w 189841"/>
                  <a:gd name="connsiteY162" fmla="*/ 128403 h 175170"/>
                  <a:gd name="connsiteX163" fmla="*/ 135996 w 189841"/>
                  <a:gd name="connsiteY163" fmla="*/ 127964 h 175170"/>
                  <a:gd name="connsiteX164" fmla="*/ 136828 w 189841"/>
                  <a:gd name="connsiteY164" fmla="*/ 127498 h 175170"/>
                  <a:gd name="connsiteX165" fmla="*/ 137227 w 189841"/>
                  <a:gd name="connsiteY165" fmla="*/ 126934 h 175170"/>
                  <a:gd name="connsiteX166" fmla="*/ 139207 w 189841"/>
                  <a:gd name="connsiteY166" fmla="*/ 125943 h 175170"/>
                  <a:gd name="connsiteX167" fmla="*/ 112100 w 189841"/>
                  <a:gd name="connsiteY167" fmla="*/ 122454 h 175170"/>
                  <a:gd name="connsiteX168" fmla="*/ 113141 w 189841"/>
                  <a:gd name="connsiteY168" fmla="*/ 124351 h 175170"/>
                  <a:gd name="connsiteX169" fmla="*/ 112206 w 189841"/>
                  <a:gd name="connsiteY169" fmla="*/ 125057 h 175170"/>
                  <a:gd name="connsiteX170" fmla="*/ 111802 w 189841"/>
                  <a:gd name="connsiteY170" fmla="*/ 125168 h 175170"/>
                  <a:gd name="connsiteX171" fmla="*/ 111224 w 189841"/>
                  <a:gd name="connsiteY171" fmla="*/ 124096 h 175170"/>
                  <a:gd name="connsiteX172" fmla="*/ 111103 w 189841"/>
                  <a:gd name="connsiteY172" fmla="*/ 123096 h 175170"/>
                  <a:gd name="connsiteX173" fmla="*/ 111334 w 189841"/>
                  <a:gd name="connsiteY173" fmla="*/ 122510 h 175170"/>
                  <a:gd name="connsiteX174" fmla="*/ 160140 w 189841"/>
                  <a:gd name="connsiteY174" fmla="*/ 120840 h 175170"/>
                  <a:gd name="connsiteX175" fmla="*/ 161864 w 189841"/>
                  <a:gd name="connsiteY175" fmla="*/ 121735 h 175170"/>
                  <a:gd name="connsiteX176" fmla="*/ 162956 w 189841"/>
                  <a:gd name="connsiteY176" fmla="*/ 122814 h 175170"/>
                  <a:gd name="connsiteX177" fmla="*/ 163489 w 189841"/>
                  <a:gd name="connsiteY177" fmla="*/ 123020 h 175170"/>
                  <a:gd name="connsiteX178" fmla="*/ 163366 w 189841"/>
                  <a:gd name="connsiteY178" fmla="*/ 123671 h 175170"/>
                  <a:gd name="connsiteX179" fmla="*/ 163038 w 189841"/>
                  <a:gd name="connsiteY179" fmla="*/ 124102 h 175170"/>
                  <a:gd name="connsiteX180" fmla="*/ 160831 w 189841"/>
                  <a:gd name="connsiteY180" fmla="*/ 124453 h 175170"/>
                  <a:gd name="connsiteX181" fmla="*/ 161224 w 189841"/>
                  <a:gd name="connsiteY181" fmla="*/ 122434 h 175170"/>
                  <a:gd name="connsiteX182" fmla="*/ 123575 w 189841"/>
                  <a:gd name="connsiteY182" fmla="*/ 119280 h 175170"/>
                  <a:gd name="connsiteX183" fmla="*/ 124465 w 189841"/>
                  <a:gd name="connsiteY183" fmla="*/ 119553 h 175170"/>
                  <a:gd name="connsiteX184" fmla="*/ 124381 w 189841"/>
                  <a:gd name="connsiteY184" fmla="*/ 120919 h 175170"/>
                  <a:gd name="connsiteX185" fmla="*/ 124545 w 189841"/>
                  <a:gd name="connsiteY185" fmla="*/ 121320 h 175170"/>
                  <a:gd name="connsiteX186" fmla="*/ 122787 w 189841"/>
                  <a:gd name="connsiteY186" fmla="*/ 123281 h 175170"/>
                  <a:gd name="connsiteX187" fmla="*/ 121325 w 189841"/>
                  <a:gd name="connsiteY187" fmla="*/ 123069 h 175170"/>
                  <a:gd name="connsiteX188" fmla="*/ 120710 w 189841"/>
                  <a:gd name="connsiteY188" fmla="*/ 122171 h 175170"/>
                  <a:gd name="connsiteX189" fmla="*/ 121617 w 189841"/>
                  <a:gd name="connsiteY189" fmla="*/ 120327 h 175170"/>
                  <a:gd name="connsiteX190" fmla="*/ 129993 w 189841"/>
                  <a:gd name="connsiteY190" fmla="*/ 118062 h 175170"/>
                  <a:gd name="connsiteX191" fmla="*/ 130857 w 189841"/>
                  <a:gd name="connsiteY191" fmla="*/ 118349 h 175170"/>
                  <a:gd name="connsiteX192" fmla="*/ 131377 w 189841"/>
                  <a:gd name="connsiteY192" fmla="*/ 119179 h 175170"/>
                  <a:gd name="connsiteX193" fmla="*/ 131297 w 189841"/>
                  <a:gd name="connsiteY193" fmla="*/ 122060 h 175170"/>
                  <a:gd name="connsiteX194" fmla="*/ 130449 w 189841"/>
                  <a:gd name="connsiteY194" fmla="*/ 123885 h 175170"/>
                  <a:gd name="connsiteX195" fmla="*/ 128477 w 189841"/>
                  <a:gd name="connsiteY195" fmla="*/ 124848 h 175170"/>
                  <a:gd name="connsiteX196" fmla="*/ 127132 w 189841"/>
                  <a:gd name="connsiteY196" fmla="*/ 123458 h 175170"/>
                  <a:gd name="connsiteX197" fmla="*/ 126380 w 189841"/>
                  <a:gd name="connsiteY197" fmla="*/ 121269 h 175170"/>
                  <a:gd name="connsiteX198" fmla="*/ 106963 w 189841"/>
                  <a:gd name="connsiteY198" fmla="*/ 117710 h 175170"/>
                  <a:gd name="connsiteX199" fmla="*/ 107965 w 189841"/>
                  <a:gd name="connsiteY199" fmla="*/ 118165 h 175170"/>
                  <a:gd name="connsiteX200" fmla="*/ 108116 w 189841"/>
                  <a:gd name="connsiteY200" fmla="*/ 118793 h 175170"/>
                  <a:gd name="connsiteX201" fmla="*/ 107842 w 189841"/>
                  <a:gd name="connsiteY201" fmla="*/ 119877 h 175170"/>
                  <a:gd name="connsiteX202" fmla="*/ 107024 w 189841"/>
                  <a:gd name="connsiteY202" fmla="*/ 120260 h 175170"/>
                  <a:gd name="connsiteX203" fmla="*/ 105659 w 189841"/>
                  <a:gd name="connsiteY203" fmla="*/ 119702 h 175170"/>
                  <a:gd name="connsiteX204" fmla="*/ 106022 w 189841"/>
                  <a:gd name="connsiteY204" fmla="*/ 118304 h 175170"/>
                  <a:gd name="connsiteX205" fmla="*/ 105802 w 189841"/>
                  <a:gd name="connsiteY205" fmla="*/ 110953 h 175170"/>
                  <a:gd name="connsiteX206" fmla="*/ 106184 w 189841"/>
                  <a:gd name="connsiteY206" fmla="*/ 111607 h 175170"/>
                  <a:gd name="connsiteX207" fmla="*/ 106912 w 189841"/>
                  <a:gd name="connsiteY207" fmla="*/ 112667 h 175170"/>
                  <a:gd name="connsiteX208" fmla="*/ 105901 w 189841"/>
                  <a:gd name="connsiteY208" fmla="*/ 114289 h 175170"/>
                  <a:gd name="connsiteX209" fmla="*/ 104644 w 189841"/>
                  <a:gd name="connsiteY209" fmla="*/ 115062 h 175170"/>
                  <a:gd name="connsiteX210" fmla="*/ 105061 w 189841"/>
                  <a:gd name="connsiteY210" fmla="*/ 113294 h 175170"/>
                  <a:gd name="connsiteX211" fmla="*/ 104441 w 189841"/>
                  <a:gd name="connsiteY211" fmla="*/ 112371 h 175170"/>
                  <a:gd name="connsiteX212" fmla="*/ 104996 w 189841"/>
                  <a:gd name="connsiteY212" fmla="*/ 111586 h 175170"/>
                  <a:gd name="connsiteX213" fmla="*/ 116311 w 189841"/>
                  <a:gd name="connsiteY213" fmla="*/ 110092 h 175170"/>
                  <a:gd name="connsiteX214" fmla="*/ 117114 w 189841"/>
                  <a:gd name="connsiteY214" fmla="*/ 110485 h 175170"/>
                  <a:gd name="connsiteX215" fmla="*/ 117004 w 189841"/>
                  <a:gd name="connsiteY215" fmla="*/ 113135 h 175170"/>
                  <a:gd name="connsiteX216" fmla="*/ 116421 w 189841"/>
                  <a:gd name="connsiteY216" fmla="*/ 113112 h 175170"/>
                  <a:gd name="connsiteX217" fmla="*/ 116082 w 189841"/>
                  <a:gd name="connsiteY217" fmla="*/ 112703 h 175170"/>
                  <a:gd name="connsiteX218" fmla="*/ 116063 w 189841"/>
                  <a:gd name="connsiteY218" fmla="*/ 111689 h 175170"/>
                  <a:gd name="connsiteX219" fmla="*/ 126076 w 189841"/>
                  <a:gd name="connsiteY219" fmla="*/ 110085 h 175170"/>
                  <a:gd name="connsiteX220" fmla="*/ 128615 w 189841"/>
                  <a:gd name="connsiteY220" fmla="*/ 111057 h 175170"/>
                  <a:gd name="connsiteX221" fmla="*/ 128492 w 189841"/>
                  <a:gd name="connsiteY221" fmla="*/ 111670 h 175170"/>
                  <a:gd name="connsiteX222" fmla="*/ 127283 w 189841"/>
                  <a:gd name="connsiteY222" fmla="*/ 112383 h 175170"/>
                  <a:gd name="connsiteX223" fmla="*/ 125169 w 189841"/>
                  <a:gd name="connsiteY223" fmla="*/ 112540 h 175170"/>
                  <a:gd name="connsiteX224" fmla="*/ 125292 w 189841"/>
                  <a:gd name="connsiteY224" fmla="*/ 110592 h 175170"/>
                  <a:gd name="connsiteX225" fmla="*/ 148259 w 189841"/>
                  <a:gd name="connsiteY225" fmla="*/ 105865 h 175170"/>
                  <a:gd name="connsiteX226" fmla="*/ 147054 w 189841"/>
                  <a:gd name="connsiteY226" fmla="*/ 107265 h 175170"/>
                  <a:gd name="connsiteX227" fmla="*/ 145020 w 189841"/>
                  <a:gd name="connsiteY227" fmla="*/ 108570 h 175170"/>
                  <a:gd name="connsiteX228" fmla="*/ 141138 w 189841"/>
                  <a:gd name="connsiteY228" fmla="*/ 109568 h 175170"/>
                  <a:gd name="connsiteX229" fmla="*/ 140101 w 189841"/>
                  <a:gd name="connsiteY229" fmla="*/ 109666 h 175170"/>
                  <a:gd name="connsiteX230" fmla="*/ 140418 w 189841"/>
                  <a:gd name="connsiteY230" fmla="*/ 108645 h 175170"/>
                  <a:gd name="connsiteX231" fmla="*/ 142399 w 189841"/>
                  <a:gd name="connsiteY231" fmla="*/ 106873 h 175170"/>
                  <a:gd name="connsiteX232" fmla="*/ 145167 w 189841"/>
                  <a:gd name="connsiteY232" fmla="*/ 106786 h 175170"/>
                  <a:gd name="connsiteX233" fmla="*/ 147689 w 189841"/>
                  <a:gd name="connsiteY233" fmla="*/ 105898 h 175170"/>
                  <a:gd name="connsiteX234" fmla="*/ 119248 w 189841"/>
                  <a:gd name="connsiteY234" fmla="*/ 105703 h 175170"/>
                  <a:gd name="connsiteX235" fmla="*/ 120408 w 189841"/>
                  <a:gd name="connsiteY235" fmla="*/ 106538 h 175170"/>
                  <a:gd name="connsiteX236" fmla="*/ 123362 w 189841"/>
                  <a:gd name="connsiteY236" fmla="*/ 106981 h 175170"/>
                  <a:gd name="connsiteX237" fmla="*/ 124035 w 189841"/>
                  <a:gd name="connsiteY237" fmla="*/ 107775 h 175170"/>
                  <a:gd name="connsiteX238" fmla="*/ 123215 w 189841"/>
                  <a:gd name="connsiteY238" fmla="*/ 109423 h 175170"/>
                  <a:gd name="connsiteX239" fmla="*/ 121835 w 189841"/>
                  <a:gd name="connsiteY239" fmla="*/ 109169 h 175170"/>
                  <a:gd name="connsiteX240" fmla="*/ 119527 w 189841"/>
                  <a:gd name="connsiteY240" fmla="*/ 107396 h 175170"/>
                  <a:gd name="connsiteX241" fmla="*/ 118738 w 189841"/>
                  <a:gd name="connsiteY241" fmla="*/ 106591 h 175170"/>
                  <a:gd name="connsiteX242" fmla="*/ 118300 w 189841"/>
                  <a:gd name="connsiteY242" fmla="*/ 105799 h 175170"/>
                  <a:gd name="connsiteX243" fmla="*/ 104648 w 189841"/>
                  <a:gd name="connsiteY243" fmla="*/ 105651 h 175170"/>
                  <a:gd name="connsiteX244" fmla="*/ 105128 w 189841"/>
                  <a:gd name="connsiteY244" fmla="*/ 106512 h 175170"/>
                  <a:gd name="connsiteX245" fmla="*/ 104136 w 189841"/>
                  <a:gd name="connsiteY245" fmla="*/ 108356 h 175170"/>
                  <a:gd name="connsiteX246" fmla="*/ 102655 w 189841"/>
                  <a:gd name="connsiteY246" fmla="*/ 109597 h 175170"/>
                  <a:gd name="connsiteX247" fmla="*/ 102401 w 189841"/>
                  <a:gd name="connsiteY247" fmla="*/ 107736 h 175170"/>
                  <a:gd name="connsiteX248" fmla="*/ 103350 w 189841"/>
                  <a:gd name="connsiteY248" fmla="*/ 105778 h 175170"/>
                  <a:gd name="connsiteX249" fmla="*/ 158719 w 189841"/>
                  <a:gd name="connsiteY249" fmla="*/ 102358 h 175170"/>
                  <a:gd name="connsiteX250" fmla="*/ 161438 w 189841"/>
                  <a:gd name="connsiteY250" fmla="*/ 103201 h 175170"/>
                  <a:gd name="connsiteX251" fmla="*/ 162194 w 189841"/>
                  <a:gd name="connsiteY251" fmla="*/ 103111 h 175170"/>
                  <a:gd name="connsiteX252" fmla="*/ 163479 w 189841"/>
                  <a:gd name="connsiteY252" fmla="*/ 103417 h 175170"/>
                  <a:gd name="connsiteX253" fmla="*/ 163820 w 189841"/>
                  <a:gd name="connsiteY253" fmla="*/ 104971 h 175170"/>
                  <a:gd name="connsiteX254" fmla="*/ 162118 w 189841"/>
                  <a:gd name="connsiteY254" fmla="*/ 105196 h 175170"/>
                  <a:gd name="connsiteX255" fmla="*/ 159173 w 189841"/>
                  <a:gd name="connsiteY255" fmla="*/ 106622 h 175170"/>
                  <a:gd name="connsiteX256" fmla="*/ 157920 w 189841"/>
                  <a:gd name="connsiteY256" fmla="*/ 106309 h 175170"/>
                  <a:gd name="connsiteX257" fmla="*/ 156422 w 189841"/>
                  <a:gd name="connsiteY257" fmla="*/ 105069 h 175170"/>
                  <a:gd name="connsiteX258" fmla="*/ 154042 w 189841"/>
                  <a:gd name="connsiteY258" fmla="*/ 104940 h 175170"/>
                  <a:gd name="connsiteX259" fmla="*/ 153338 w 189841"/>
                  <a:gd name="connsiteY259" fmla="*/ 104602 h 175170"/>
                  <a:gd name="connsiteX260" fmla="*/ 154612 w 189841"/>
                  <a:gd name="connsiteY260" fmla="*/ 103140 h 175170"/>
                  <a:gd name="connsiteX261" fmla="*/ 156927 w 189841"/>
                  <a:gd name="connsiteY261" fmla="*/ 102400 h 175170"/>
                  <a:gd name="connsiteX262" fmla="*/ 23108 w 189841"/>
                  <a:gd name="connsiteY262" fmla="*/ 99333 h 175170"/>
                  <a:gd name="connsiteX263" fmla="*/ 24593 w 189841"/>
                  <a:gd name="connsiteY263" fmla="*/ 101294 h 175170"/>
                  <a:gd name="connsiteX264" fmla="*/ 26388 w 189841"/>
                  <a:gd name="connsiteY264" fmla="*/ 101608 h 175170"/>
                  <a:gd name="connsiteX265" fmla="*/ 27463 w 189841"/>
                  <a:gd name="connsiteY265" fmla="*/ 102513 h 175170"/>
                  <a:gd name="connsiteX266" fmla="*/ 29795 w 189841"/>
                  <a:gd name="connsiteY266" fmla="*/ 105004 h 175170"/>
                  <a:gd name="connsiteX267" fmla="*/ 27919 w 189841"/>
                  <a:gd name="connsiteY267" fmla="*/ 104387 h 175170"/>
                  <a:gd name="connsiteX268" fmla="*/ 25917 w 189841"/>
                  <a:gd name="connsiteY268" fmla="*/ 106110 h 175170"/>
                  <a:gd name="connsiteX269" fmla="*/ 23380 w 189841"/>
                  <a:gd name="connsiteY269" fmla="*/ 104097 h 175170"/>
                  <a:gd name="connsiteX270" fmla="*/ 21860 w 189841"/>
                  <a:gd name="connsiteY270" fmla="*/ 102058 h 175170"/>
                  <a:gd name="connsiteX271" fmla="*/ 21516 w 189841"/>
                  <a:gd name="connsiteY271" fmla="*/ 101241 h 175170"/>
                  <a:gd name="connsiteX272" fmla="*/ 113744 w 189841"/>
                  <a:gd name="connsiteY272" fmla="*/ 97780 h 175170"/>
                  <a:gd name="connsiteX273" fmla="*/ 115173 w 189841"/>
                  <a:gd name="connsiteY273" fmla="*/ 99739 h 175170"/>
                  <a:gd name="connsiteX274" fmla="*/ 117412 w 189841"/>
                  <a:gd name="connsiteY274" fmla="*/ 99967 h 175170"/>
                  <a:gd name="connsiteX275" fmla="*/ 117238 w 189841"/>
                  <a:gd name="connsiteY275" fmla="*/ 101174 h 175170"/>
                  <a:gd name="connsiteX276" fmla="*/ 117946 w 189841"/>
                  <a:gd name="connsiteY276" fmla="*/ 102729 h 175170"/>
                  <a:gd name="connsiteX277" fmla="*/ 118194 w 189841"/>
                  <a:gd name="connsiteY277" fmla="*/ 103684 h 175170"/>
                  <a:gd name="connsiteX278" fmla="*/ 117542 w 189841"/>
                  <a:gd name="connsiteY278" fmla="*/ 105403 h 175170"/>
                  <a:gd name="connsiteX279" fmla="*/ 115814 w 189841"/>
                  <a:gd name="connsiteY279" fmla="*/ 103405 h 175170"/>
                  <a:gd name="connsiteX280" fmla="*/ 113923 w 189841"/>
                  <a:gd name="connsiteY280" fmla="*/ 102035 h 175170"/>
                  <a:gd name="connsiteX281" fmla="*/ 113215 w 189841"/>
                  <a:gd name="connsiteY281" fmla="*/ 100840 h 175170"/>
                  <a:gd name="connsiteX282" fmla="*/ 112062 w 189841"/>
                  <a:gd name="connsiteY282" fmla="*/ 100118 h 175170"/>
                  <a:gd name="connsiteX283" fmla="*/ 111748 w 189841"/>
                  <a:gd name="connsiteY283" fmla="*/ 98509 h 175170"/>
                  <a:gd name="connsiteX284" fmla="*/ 113146 w 189841"/>
                  <a:gd name="connsiteY284" fmla="*/ 97847 h 175170"/>
                  <a:gd name="connsiteX285" fmla="*/ 84849 w 189841"/>
                  <a:gd name="connsiteY285" fmla="*/ 97755 h 175170"/>
                  <a:gd name="connsiteX286" fmla="*/ 85553 w 189841"/>
                  <a:gd name="connsiteY286" fmla="*/ 97885 h 175170"/>
                  <a:gd name="connsiteX287" fmla="*/ 85981 w 189841"/>
                  <a:gd name="connsiteY287" fmla="*/ 98290 h 175170"/>
                  <a:gd name="connsiteX288" fmla="*/ 86337 w 189841"/>
                  <a:gd name="connsiteY288" fmla="*/ 99426 h 175170"/>
                  <a:gd name="connsiteX289" fmla="*/ 85462 w 189841"/>
                  <a:gd name="connsiteY289" fmla="*/ 100060 h 175170"/>
                  <a:gd name="connsiteX290" fmla="*/ 84475 w 189841"/>
                  <a:gd name="connsiteY290" fmla="*/ 100028 h 175170"/>
                  <a:gd name="connsiteX291" fmla="*/ 83778 w 189841"/>
                  <a:gd name="connsiteY291" fmla="*/ 99795 h 175170"/>
                  <a:gd name="connsiteX292" fmla="*/ 83426 w 189841"/>
                  <a:gd name="connsiteY292" fmla="*/ 99289 h 175170"/>
                  <a:gd name="connsiteX293" fmla="*/ 83862 w 189841"/>
                  <a:gd name="connsiteY293" fmla="*/ 99047 h 175170"/>
                  <a:gd name="connsiteX294" fmla="*/ 84374 w 189841"/>
                  <a:gd name="connsiteY294" fmla="*/ 98030 h 175170"/>
                  <a:gd name="connsiteX295" fmla="*/ 20270 w 189841"/>
                  <a:gd name="connsiteY295" fmla="*/ 85327 h 175170"/>
                  <a:gd name="connsiteX296" fmla="*/ 21357 w 189841"/>
                  <a:gd name="connsiteY296" fmla="*/ 87684 h 175170"/>
                  <a:gd name="connsiteX297" fmla="*/ 21631 w 189841"/>
                  <a:gd name="connsiteY297" fmla="*/ 90652 h 175170"/>
                  <a:gd name="connsiteX298" fmla="*/ 23190 w 189841"/>
                  <a:gd name="connsiteY298" fmla="*/ 91209 h 175170"/>
                  <a:gd name="connsiteX299" fmla="*/ 25261 w 189841"/>
                  <a:gd name="connsiteY299" fmla="*/ 93882 h 175170"/>
                  <a:gd name="connsiteX300" fmla="*/ 25082 w 189841"/>
                  <a:gd name="connsiteY300" fmla="*/ 95249 h 175170"/>
                  <a:gd name="connsiteX301" fmla="*/ 24652 w 189841"/>
                  <a:gd name="connsiteY301" fmla="*/ 95717 h 175170"/>
                  <a:gd name="connsiteX302" fmla="*/ 21221 w 189841"/>
                  <a:gd name="connsiteY302" fmla="*/ 94456 h 175170"/>
                  <a:gd name="connsiteX303" fmla="*/ 20398 w 189841"/>
                  <a:gd name="connsiteY303" fmla="*/ 95022 h 175170"/>
                  <a:gd name="connsiteX304" fmla="*/ 19394 w 189841"/>
                  <a:gd name="connsiteY304" fmla="*/ 94792 h 175170"/>
                  <a:gd name="connsiteX305" fmla="*/ 18774 w 189841"/>
                  <a:gd name="connsiteY305" fmla="*/ 93316 h 175170"/>
                  <a:gd name="connsiteX306" fmla="*/ 18845 w 189841"/>
                  <a:gd name="connsiteY306" fmla="*/ 92797 h 175170"/>
                  <a:gd name="connsiteX307" fmla="*/ 18284 w 189841"/>
                  <a:gd name="connsiteY307" fmla="*/ 91913 h 175170"/>
                  <a:gd name="connsiteX308" fmla="*/ 17815 w 189841"/>
                  <a:gd name="connsiteY308" fmla="*/ 91518 h 175170"/>
                  <a:gd name="connsiteX309" fmla="*/ 16464 w 189841"/>
                  <a:gd name="connsiteY309" fmla="*/ 92692 h 175170"/>
                  <a:gd name="connsiteX310" fmla="*/ 15612 w 189841"/>
                  <a:gd name="connsiteY310" fmla="*/ 92912 h 175170"/>
                  <a:gd name="connsiteX311" fmla="*/ 15606 w 189841"/>
                  <a:gd name="connsiteY311" fmla="*/ 91837 h 175170"/>
                  <a:gd name="connsiteX312" fmla="*/ 16854 w 189841"/>
                  <a:gd name="connsiteY312" fmla="*/ 88881 h 175170"/>
                  <a:gd name="connsiteX313" fmla="*/ 17437 w 189841"/>
                  <a:gd name="connsiteY313" fmla="*/ 88382 h 175170"/>
                  <a:gd name="connsiteX314" fmla="*/ 18463 w 189841"/>
                  <a:gd name="connsiteY314" fmla="*/ 89358 h 175170"/>
                  <a:gd name="connsiteX315" fmla="*/ 19307 w 189841"/>
                  <a:gd name="connsiteY315" fmla="*/ 88995 h 175170"/>
                  <a:gd name="connsiteX316" fmla="*/ 19942 w 189841"/>
                  <a:gd name="connsiteY316" fmla="*/ 87396 h 175170"/>
                  <a:gd name="connsiteX317" fmla="*/ 19985 w 189841"/>
                  <a:gd name="connsiteY317" fmla="*/ 85801 h 175170"/>
                  <a:gd name="connsiteX318" fmla="*/ 22184 w 189841"/>
                  <a:gd name="connsiteY318" fmla="*/ 85094 h 175170"/>
                  <a:gd name="connsiteX319" fmla="*/ 22739 w 189841"/>
                  <a:gd name="connsiteY319" fmla="*/ 85292 h 175170"/>
                  <a:gd name="connsiteX320" fmla="*/ 23324 w 189841"/>
                  <a:gd name="connsiteY320" fmla="*/ 85933 h 175170"/>
                  <a:gd name="connsiteX321" fmla="*/ 23319 w 189841"/>
                  <a:gd name="connsiteY321" fmla="*/ 86588 h 175170"/>
                  <a:gd name="connsiteX322" fmla="*/ 23553 w 189841"/>
                  <a:gd name="connsiteY322" fmla="*/ 87290 h 175170"/>
                  <a:gd name="connsiteX323" fmla="*/ 24162 w 189841"/>
                  <a:gd name="connsiteY323" fmla="*/ 88136 h 175170"/>
                  <a:gd name="connsiteX324" fmla="*/ 24593 w 189841"/>
                  <a:gd name="connsiteY324" fmla="*/ 89070 h 175170"/>
                  <a:gd name="connsiteX325" fmla="*/ 23501 w 189841"/>
                  <a:gd name="connsiteY325" fmla="*/ 89348 h 175170"/>
                  <a:gd name="connsiteX326" fmla="*/ 22110 w 189841"/>
                  <a:gd name="connsiteY326" fmla="*/ 86887 h 175170"/>
                  <a:gd name="connsiteX327" fmla="*/ 21607 w 189841"/>
                  <a:gd name="connsiteY327" fmla="*/ 85189 h 175170"/>
                  <a:gd name="connsiteX328" fmla="*/ 140766 w 189841"/>
                  <a:gd name="connsiteY328" fmla="*/ 82063 h 175170"/>
                  <a:gd name="connsiteX329" fmla="*/ 142932 w 189841"/>
                  <a:gd name="connsiteY329" fmla="*/ 83533 h 175170"/>
                  <a:gd name="connsiteX330" fmla="*/ 144036 w 189841"/>
                  <a:gd name="connsiteY330" fmla="*/ 83634 h 175170"/>
                  <a:gd name="connsiteX331" fmla="*/ 143612 w 189841"/>
                  <a:gd name="connsiteY331" fmla="*/ 85038 h 175170"/>
                  <a:gd name="connsiteX332" fmla="*/ 143798 w 189841"/>
                  <a:gd name="connsiteY332" fmla="*/ 85494 h 175170"/>
                  <a:gd name="connsiteX333" fmla="*/ 143962 w 189841"/>
                  <a:gd name="connsiteY333" fmla="*/ 89751 h 175170"/>
                  <a:gd name="connsiteX334" fmla="*/ 142939 w 189841"/>
                  <a:gd name="connsiteY334" fmla="*/ 90350 h 175170"/>
                  <a:gd name="connsiteX335" fmla="*/ 142770 w 189841"/>
                  <a:gd name="connsiteY335" fmla="*/ 91518 h 175170"/>
                  <a:gd name="connsiteX336" fmla="*/ 142569 w 189841"/>
                  <a:gd name="connsiteY336" fmla="*/ 91932 h 175170"/>
                  <a:gd name="connsiteX337" fmla="*/ 140458 w 189841"/>
                  <a:gd name="connsiteY337" fmla="*/ 93383 h 175170"/>
                  <a:gd name="connsiteX338" fmla="*/ 138100 w 189841"/>
                  <a:gd name="connsiteY338" fmla="*/ 91283 h 175170"/>
                  <a:gd name="connsiteX339" fmla="*/ 137711 w 189841"/>
                  <a:gd name="connsiteY339" fmla="*/ 90607 h 175170"/>
                  <a:gd name="connsiteX340" fmla="*/ 139442 w 189841"/>
                  <a:gd name="connsiteY340" fmla="*/ 89759 h 175170"/>
                  <a:gd name="connsiteX341" fmla="*/ 140300 w 189841"/>
                  <a:gd name="connsiteY341" fmla="*/ 88451 h 175170"/>
                  <a:gd name="connsiteX342" fmla="*/ 139604 w 189841"/>
                  <a:gd name="connsiteY342" fmla="*/ 86844 h 175170"/>
                  <a:gd name="connsiteX343" fmla="*/ 137201 w 189841"/>
                  <a:gd name="connsiteY343" fmla="*/ 84466 h 175170"/>
                  <a:gd name="connsiteX344" fmla="*/ 137087 w 189841"/>
                  <a:gd name="connsiteY344" fmla="*/ 82776 h 175170"/>
                  <a:gd name="connsiteX345" fmla="*/ 23166 w 189841"/>
                  <a:gd name="connsiteY345" fmla="*/ 75808 h 175170"/>
                  <a:gd name="connsiteX346" fmla="*/ 23730 w 189841"/>
                  <a:gd name="connsiteY346" fmla="*/ 76971 h 175170"/>
                  <a:gd name="connsiteX347" fmla="*/ 23624 w 189841"/>
                  <a:gd name="connsiteY347" fmla="*/ 81119 h 175170"/>
                  <a:gd name="connsiteX348" fmla="*/ 23002 w 189841"/>
                  <a:gd name="connsiteY348" fmla="*/ 81883 h 175170"/>
                  <a:gd name="connsiteX349" fmla="*/ 22143 w 189841"/>
                  <a:gd name="connsiteY349" fmla="*/ 82082 h 175170"/>
                  <a:gd name="connsiteX350" fmla="*/ 21402 w 189841"/>
                  <a:gd name="connsiteY350" fmla="*/ 81946 h 175170"/>
                  <a:gd name="connsiteX351" fmla="*/ 20730 w 189841"/>
                  <a:gd name="connsiteY351" fmla="*/ 82063 h 175170"/>
                  <a:gd name="connsiteX352" fmla="*/ 20083 w 189841"/>
                  <a:gd name="connsiteY352" fmla="*/ 82556 h 175170"/>
                  <a:gd name="connsiteX353" fmla="*/ 20154 w 189841"/>
                  <a:gd name="connsiteY353" fmla="*/ 80513 h 175170"/>
                  <a:gd name="connsiteX354" fmla="*/ 20918 w 189841"/>
                  <a:gd name="connsiteY354" fmla="*/ 77978 h 175170"/>
                  <a:gd name="connsiteX355" fmla="*/ 21851 w 189841"/>
                  <a:gd name="connsiteY355" fmla="*/ 76496 h 175170"/>
                  <a:gd name="connsiteX356" fmla="*/ 107004 w 189841"/>
                  <a:gd name="connsiteY356" fmla="*/ 72294 h 175170"/>
                  <a:gd name="connsiteX357" fmla="*/ 108738 w 189841"/>
                  <a:gd name="connsiteY357" fmla="*/ 73277 h 175170"/>
                  <a:gd name="connsiteX358" fmla="*/ 109118 w 189841"/>
                  <a:gd name="connsiteY358" fmla="*/ 74914 h 175170"/>
                  <a:gd name="connsiteX359" fmla="*/ 111185 w 189841"/>
                  <a:gd name="connsiteY359" fmla="*/ 76712 h 175170"/>
                  <a:gd name="connsiteX360" fmla="*/ 108848 w 189841"/>
                  <a:gd name="connsiteY360" fmla="*/ 77341 h 175170"/>
                  <a:gd name="connsiteX361" fmla="*/ 108228 w 189841"/>
                  <a:gd name="connsiteY361" fmla="*/ 77242 h 175170"/>
                  <a:gd name="connsiteX362" fmla="*/ 108749 w 189841"/>
                  <a:gd name="connsiteY362" fmla="*/ 76448 h 175170"/>
                  <a:gd name="connsiteX363" fmla="*/ 108790 w 189841"/>
                  <a:gd name="connsiteY363" fmla="*/ 76114 h 175170"/>
                  <a:gd name="connsiteX364" fmla="*/ 106460 w 189841"/>
                  <a:gd name="connsiteY364" fmla="*/ 74662 h 175170"/>
                  <a:gd name="connsiteX365" fmla="*/ 106734 w 189841"/>
                  <a:gd name="connsiteY365" fmla="*/ 72775 h 175170"/>
                  <a:gd name="connsiteX366" fmla="*/ 81068 w 189841"/>
                  <a:gd name="connsiteY366" fmla="*/ 70881 h 175170"/>
                  <a:gd name="connsiteX367" fmla="*/ 83340 w 189841"/>
                  <a:gd name="connsiteY367" fmla="*/ 72853 h 175170"/>
                  <a:gd name="connsiteX368" fmla="*/ 84590 w 189841"/>
                  <a:gd name="connsiteY368" fmla="*/ 75656 h 175170"/>
                  <a:gd name="connsiteX369" fmla="*/ 85762 w 189841"/>
                  <a:gd name="connsiteY369" fmla="*/ 76602 h 175170"/>
                  <a:gd name="connsiteX370" fmla="*/ 88222 w 189841"/>
                  <a:gd name="connsiteY370" fmla="*/ 77718 h 175170"/>
                  <a:gd name="connsiteX371" fmla="*/ 89377 w 189841"/>
                  <a:gd name="connsiteY371" fmla="*/ 77860 h 175170"/>
                  <a:gd name="connsiteX372" fmla="*/ 93573 w 189841"/>
                  <a:gd name="connsiteY372" fmla="*/ 79875 h 175170"/>
                  <a:gd name="connsiteX373" fmla="*/ 98455 w 189841"/>
                  <a:gd name="connsiteY373" fmla="*/ 80277 h 175170"/>
                  <a:gd name="connsiteX374" fmla="*/ 99086 w 189841"/>
                  <a:gd name="connsiteY374" fmla="*/ 80857 h 175170"/>
                  <a:gd name="connsiteX375" fmla="*/ 99686 w 189841"/>
                  <a:gd name="connsiteY375" fmla="*/ 82409 h 175170"/>
                  <a:gd name="connsiteX376" fmla="*/ 100682 w 189841"/>
                  <a:gd name="connsiteY376" fmla="*/ 83626 h 175170"/>
                  <a:gd name="connsiteX377" fmla="*/ 100932 w 189841"/>
                  <a:gd name="connsiteY377" fmla="*/ 84573 h 175170"/>
                  <a:gd name="connsiteX378" fmla="*/ 100412 w 189841"/>
                  <a:gd name="connsiteY378" fmla="*/ 85623 h 175170"/>
                  <a:gd name="connsiteX379" fmla="*/ 101133 w 189841"/>
                  <a:gd name="connsiteY379" fmla="*/ 88834 h 175170"/>
                  <a:gd name="connsiteX380" fmla="*/ 102364 w 189841"/>
                  <a:gd name="connsiteY380" fmla="*/ 91881 h 175170"/>
                  <a:gd name="connsiteX381" fmla="*/ 104219 w 189841"/>
                  <a:gd name="connsiteY381" fmla="*/ 93358 h 175170"/>
                  <a:gd name="connsiteX382" fmla="*/ 106525 w 189841"/>
                  <a:gd name="connsiteY382" fmla="*/ 93804 h 175170"/>
                  <a:gd name="connsiteX383" fmla="*/ 108721 w 189841"/>
                  <a:gd name="connsiteY383" fmla="*/ 93743 h 175170"/>
                  <a:gd name="connsiteX384" fmla="*/ 109276 w 189841"/>
                  <a:gd name="connsiteY384" fmla="*/ 94347 h 175170"/>
                  <a:gd name="connsiteX385" fmla="*/ 109058 w 189841"/>
                  <a:gd name="connsiteY385" fmla="*/ 97010 h 175170"/>
                  <a:gd name="connsiteX386" fmla="*/ 108129 w 189841"/>
                  <a:gd name="connsiteY386" fmla="*/ 98046 h 175170"/>
                  <a:gd name="connsiteX387" fmla="*/ 107374 w 189841"/>
                  <a:gd name="connsiteY387" fmla="*/ 98298 h 175170"/>
                  <a:gd name="connsiteX388" fmla="*/ 106717 w 189841"/>
                  <a:gd name="connsiteY388" fmla="*/ 98026 h 175170"/>
                  <a:gd name="connsiteX389" fmla="*/ 106123 w 189841"/>
                  <a:gd name="connsiteY389" fmla="*/ 97399 h 175170"/>
                  <a:gd name="connsiteX390" fmla="*/ 105476 w 189841"/>
                  <a:gd name="connsiteY390" fmla="*/ 97103 h 175170"/>
                  <a:gd name="connsiteX391" fmla="*/ 104214 w 189841"/>
                  <a:gd name="connsiteY391" fmla="*/ 97051 h 175170"/>
                  <a:gd name="connsiteX392" fmla="*/ 103292 w 189841"/>
                  <a:gd name="connsiteY392" fmla="*/ 95979 h 175170"/>
                  <a:gd name="connsiteX393" fmla="*/ 100954 w 189841"/>
                  <a:gd name="connsiteY393" fmla="*/ 94512 h 175170"/>
                  <a:gd name="connsiteX394" fmla="*/ 100524 w 189841"/>
                  <a:gd name="connsiteY394" fmla="*/ 93637 h 175170"/>
                  <a:gd name="connsiteX395" fmla="*/ 100446 w 189841"/>
                  <a:gd name="connsiteY395" fmla="*/ 92285 h 175170"/>
                  <a:gd name="connsiteX396" fmla="*/ 99453 w 189841"/>
                  <a:gd name="connsiteY396" fmla="*/ 91289 h 175170"/>
                  <a:gd name="connsiteX397" fmla="*/ 98540 w 189841"/>
                  <a:gd name="connsiteY397" fmla="*/ 89393 h 175170"/>
                  <a:gd name="connsiteX398" fmla="*/ 97671 w 189841"/>
                  <a:gd name="connsiteY398" fmla="*/ 88870 h 175170"/>
                  <a:gd name="connsiteX399" fmla="*/ 97192 w 189841"/>
                  <a:gd name="connsiteY399" fmla="*/ 87921 h 175170"/>
                  <a:gd name="connsiteX400" fmla="*/ 97153 w 189841"/>
                  <a:gd name="connsiteY400" fmla="*/ 87513 h 175170"/>
                  <a:gd name="connsiteX401" fmla="*/ 93750 w 189841"/>
                  <a:gd name="connsiteY401" fmla="*/ 87237 h 175170"/>
                  <a:gd name="connsiteX402" fmla="*/ 90932 w 189841"/>
                  <a:gd name="connsiteY402" fmla="*/ 87224 h 175170"/>
                  <a:gd name="connsiteX403" fmla="*/ 88544 w 189841"/>
                  <a:gd name="connsiteY403" fmla="*/ 86147 h 175170"/>
                  <a:gd name="connsiteX404" fmla="*/ 87805 w 189841"/>
                  <a:gd name="connsiteY404" fmla="*/ 83329 h 175170"/>
                  <a:gd name="connsiteX405" fmla="*/ 86389 w 189841"/>
                  <a:gd name="connsiteY405" fmla="*/ 82571 h 175170"/>
                  <a:gd name="connsiteX406" fmla="*/ 85326 w 189841"/>
                  <a:gd name="connsiteY406" fmla="*/ 81773 h 175170"/>
                  <a:gd name="connsiteX407" fmla="*/ 84441 w 189841"/>
                  <a:gd name="connsiteY407" fmla="*/ 80667 h 175170"/>
                  <a:gd name="connsiteX408" fmla="*/ 82204 w 189841"/>
                  <a:gd name="connsiteY408" fmla="*/ 78627 h 175170"/>
                  <a:gd name="connsiteX409" fmla="*/ 79729 w 189841"/>
                  <a:gd name="connsiteY409" fmla="*/ 76918 h 175170"/>
                  <a:gd name="connsiteX410" fmla="*/ 77337 w 189841"/>
                  <a:gd name="connsiteY410" fmla="*/ 75793 h 175170"/>
                  <a:gd name="connsiteX411" fmla="*/ 74797 w 189841"/>
                  <a:gd name="connsiteY411" fmla="*/ 75055 h 175170"/>
                  <a:gd name="connsiteX412" fmla="*/ 72733 w 189841"/>
                  <a:gd name="connsiteY412" fmla="*/ 75926 h 175170"/>
                  <a:gd name="connsiteX413" fmla="*/ 71530 w 189841"/>
                  <a:gd name="connsiteY413" fmla="*/ 75719 h 175170"/>
                  <a:gd name="connsiteX414" fmla="*/ 71286 w 189841"/>
                  <a:gd name="connsiteY414" fmla="*/ 75130 h 175170"/>
                  <a:gd name="connsiteX415" fmla="*/ 73851 w 189841"/>
                  <a:gd name="connsiteY415" fmla="*/ 73957 h 175170"/>
                  <a:gd name="connsiteX416" fmla="*/ 77378 w 189841"/>
                  <a:gd name="connsiteY416" fmla="*/ 71714 h 175170"/>
                  <a:gd name="connsiteX417" fmla="*/ 79863 w 189841"/>
                  <a:gd name="connsiteY417" fmla="*/ 70973 h 175170"/>
                  <a:gd name="connsiteX418" fmla="*/ 87287 w 189841"/>
                  <a:gd name="connsiteY418" fmla="*/ 66387 h 175170"/>
                  <a:gd name="connsiteX419" fmla="*/ 91396 w 189841"/>
                  <a:gd name="connsiteY419" fmla="*/ 68825 h 175170"/>
                  <a:gd name="connsiteX420" fmla="*/ 90409 w 189841"/>
                  <a:gd name="connsiteY420" fmla="*/ 69700 h 175170"/>
                  <a:gd name="connsiteX421" fmla="*/ 88883 w 189841"/>
                  <a:gd name="connsiteY421" fmla="*/ 69317 h 175170"/>
                  <a:gd name="connsiteX422" fmla="*/ 95622 w 189841"/>
                  <a:gd name="connsiteY422" fmla="*/ 64855 h 175170"/>
                  <a:gd name="connsiteX423" fmla="*/ 94933 w 189841"/>
                  <a:gd name="connsiteY423" fmla="*/ 66595 h 175170"/>
                  <a:gd name="connsiteX424" fmla="*/ 93789 w 189841"/>
                  <a:gd name="connsiteY424" fmla="*/ 67688 h 175170"/>
                  <a:gd name="connsiteX425" fmla="*/ 92755 w 189841"/>
                  <a:gd name="connsiteY425" fmla="*/ 67992 h 175170"/>
                  <a:gd name="connsiteX426" fmla="*/ 93791 w 189841"/>
                  <a:gd name="connsiteY426" fmla="*/ 65926 h 175170"/>
                  <a:gd name="connsiteX427" fmla="*/ 148180 w 189841"/>
                  <a:gd name="connsiteY427" fmla="*/ 61866 h 175170"/>
                  <a:gd name="connsiteX428" fmla="*/ 149559 w 189841"/>
                  <a:gd name="connsiteY428" fmla="*/ 63255 h 175170"/>
                  <a:gd name="connsiteX429" fmla="*/ 149175 w 189841"/>
                  <a:gd name="connsiteY429" fmla="*/ 64793 h 175170"/>
                  <a:gd name="connsiteX430" fmla="*/ 152233 w 189841"/>
                  <a:gd name="connsiteY430" fmla="*/ 67340 h 175170"/>
                  <a:gd name="connsiteX431" fmla="*/ 153276 w 189841"/>
                  <a:gd name="connsiteY431" fmla="*/ 68951 h 175170"/>
                  <a:gd name="connsiteX432" fmla="*/ 153660 w 189841"/>
                  <a:gd name="connsiteY432" fmla="*/ 70521 h 175170"/>
                  <a:gd name="connsiteX433" fmla="*/ 153403 w 189841"/>
                  <a:gd name="connsiteY433" fmla="*/ 70971 h 175170"/>
                  <a:gd name="connsiteX434" fmla="*/ 152243 w 189841"/>
                  <a:gd name="connsiteY434" fmla="*/ 70120 h 175170"/>
                  <a:gd name="connsiteX435" fmla="*/ 151296 w 189841"/>
                  <a:gd name="connsiteY435" fmla="*/ 69849 h 175170"/>
                  <a:gd name="connsiteX436" fmla="*/ 151615 w 189841"/>
                  <a:gd name="connsiteY436" fmla="*/ 70971 h 175170"/>
                  <a:gd name="connsiteX437" fmla="*/ 152589 w 189841"/>
                  <a:gd name="connsiteY437" fmla="*/ 71935 h 175170"/>
                  <a:gd name="connsiteX438" fmla="*/ 150855 w 189841"/>
                  <a:gd name="connsiteY438" fmla="*/ 72487 h 175170"/>
                  <a:gd name="connsiteX439" fmla="*/ 149117 w 189841"/>
                  <a:gd name="connsiteY439" fmla="*/ 72458 h 175170"/>
                  <a:gd name="connsiteX440" fmla="*/ 144046 w 189841"/>
                  <a:gd name="connsiteY440" fmla="*/ 71115 h 175170"/>
                  <a:gd name="connsiteX441" fmla="*/ 142876 w 189841"/>
                  <a:gd name="connsiteY441" fmla="*/ 69688 h 175170"/>
                  <a:gd name="connsiteX442" fmla="*/ 145910 w 189841"/>
                  <a:gd name="connsiteY442" fmla="*/ 67538 h 175170"/>
                  <a:gd name="connsiteX443" fmla="*/ 146530 w 189841"/>
                  <a:gd name="connsiteY443" fmla="*/ 66672 h 175170"/>
                  <a:gd name="connsiteX444" fmla="*/ 144381 w 189841"/>
                  <a:gd name="connsiteY444" fmla="*/ 66757 h 175170"/>
                  <a:gd name="connsiteX445" fmla="*/ 142090 w 189841"/>
                  <a:gd name="connsiteY445" fmla="*/ 69311 h 175170"/>
                  <a:gd name="connsiteX446" fmla="*/ 138417 w 189841"/>
                  <a:gd name="connsiteY446" fmla="*/ 68189 h 175170"/>
                  <a:gd name="connsiteX447" fmla="*/ 137294 w 189841"/>
                  <a:gd name="connsiteY447" fmla="*/ 67162 h 175170"/>
                  <a:gd name="connsiteX448" fmla="*/ 137043 w 189841"/>
                  <a:gd name="connsiteY448" fmla="*/ 66608 h 175170"/>
                  <a:gd name="connsiteX449" fmla="*/ 138490 w 189841"/>
                  <a:gd name="connsiteY449" fmla="*/ 64341 h 175170"/>
                  <a:gd name="connsiteX450" fmla="*/ 141075 w 189841"/>
                  <a:gd name="connsiteY450" fmla="*/ 64417 h 175170"/>
                  <a:gd name="connsiteX451" fmla="*/ 142444 w 189841"/>
                  <a:gd name="connsiteY451" fmla="*/ 63907 h 175170"/>
                  <a:gd name="connsiteX452" fmla="*/ 144135 w 189841"/>
                  <a:gd name="connsiteY452" fmla="*/ 63190 h 175170"/>
                  <a:gd name="connsiteX453" fmla="*/ 144148 w 189841"/>
                  <a:gd name="connsiteY453" fmla="*/ 62112 h 175170"/>
                  <a:gd name="connsiteX454" fmla="*/ 4248 w 189841"/>
                  <a:gd name="connsiteY454" fmla="*/ 50509 h 175170"/>
                  <a:gd name="connsiteX455" fmla="*/ 5422 w 189841"/>
                  <a:gd name="connsiteY455" fmla="*/ 51103 h 175170"/>
                  <a:gd name="connsiteX456" fmla="*/ 6182 w 189841"/>
                  <a:gd name="connsiteY456" fmla="*/ 51716 h 175170"/>
                  <a:gd name="connsiteX457" fmla="*/ 6420 w 189841"/>
                  <a:gd name="connsiteY457" fmla="*/ 52418 h 175170"/>
                  <a:gd name="connsiteX458" fmla="*/ 4770 w 189841"/>
                  <a:gd name="connsiteY458" fmla="*/ 53826 h 175170"/>
                  <a:gd name="connsiteX459" fmla="*/ 4427 w 189841"/>
                  <a:gd name="connsiteY459" fmla="*/ 54463 h 175170"/>
                  <a:gd name="connsiteX460" fmla="*/ 5697 w 189841"/>
                  <a:gd name="connsiteY460" fmla="*/ 55727 h 175170"/>
                  <a:gd name="connsiteX461" fmla="*/ 5675 w 189841"/>
                  <a:gd name="connsiteY461" fmla="*/ 56233 h 175170"/>
                  <a:gd name="connsiteX462" fmla="*/ 6211 w 189841"/>
                  <a:gd name="connsiteY462" fmla="*/ 58677 h 175170"/>
                  <a:gd name="connsiteX463" fmla="*/ 6828 w 189841"/>
                  <a:gd name="connsiteY463" fmla="*/ 59599 h 175170"/>
                  <a:gd name="connsiteX464" fmla="*/ 8430 w 189841"/>
                  <a:gd name="connsiteY464" fmla="*/ 60334 h 175170"/>
                  <a:gd name="connsiteX465" fmla="*/ 9540 w 189841"/>
                  <a:gd name="connsiteY465" fmla="*/ 60577 h 175170"/>
                  <a:gd name="connsiteX466" fmla="*/ 10020 w 189841"/>
                  <a:gd name="connsiteY466" fmla="*/ 62032 h 175170"/>
                  <a:gd name="connsiteX467" fmla="*/ 7265 w 189841"/>
                  <a:gd name="connsiteY467" fmla="*/ 61129 h 175170"/>
                  <a:gd name="connsiteX468" fmla="*/ 5252 w 189841"/>
                  <a:gd name="connsiteY468" fmla="*/ 59829 h 175170"/>
                  <a:gd name="connsiteX469" fmla="*/ 3591 w 189841"/>
                  <a:gd name="connsiteY469" fmla="*/ 56615 h 175170"/>
                  <a:gd name="connsiteX470" fmla="*/ 54 w 189841"/>
                  <a:gd name="connsiteY470" fmla="*/ 52953 h 175170"/>
                  <a:gd name="connsiteX471" fmla="*/ 0 w 189841"/>
                  <a:gd name="connsiteY471" fmla="*/ 51889 h 175170"/>
                  <a:gd name="connsiteX472" fmla="*/ 1345 w 189841"/>
                  <a:gd name="connsiteY472" fmla="*/ 51082 h 175170"/>
                  <a:gd name="connsiteX473" fmla="*/ 128309 w 189841"/>
                  <a:gd name="connsiteY473" fmla="*/ 44914 h 175170"/>
                  <a:gd name="connsiteX474" fmla="*/ 128056 w 189841"/>
                  <a:gd name="connsiteY474" fmla="*/ 46257 h 175170"/>
                  <a:gd name="connsiteX475" fmla="*/ 127220 w 189841"/>
                  <a:gd name="connsiteY475" fmla="*/ 47137 h 175170"/>
                  <a:gd name="connsiteX476" fmla="*/ 126605 w 189841"/>
                  <a:gd name="connsiteY476" fmla="*/ 48654 h 175170"/>
                  <a:gd name="connsiteX477" fmla="*/ 126272 w 189841"/>
                  <a:gd name="connsiteY477" fmla="*/ 50821 h 175170"/>
                  <a:gd name="connsiteX478" fmla="*/ 124983 w 189841"/>
                  <a:gd name="connsiteY478" fmla="*/ 50873 h 175170"/>
                  <a:gd name="connsiteX479" fmla="*/ 124202 w 189841"/>
                  <a:gd name="connsiteY479" fmla="*/ 50435 h 175170"/>
                  <a:gd name="connsiteX480" fmla="*/ 123945 w 189841"/>
                  <a:gd name="connsiteY480" fmla="*/ 49616 h 175170"/>
                  <a:gd name="connsiteX481" fmla="*/ 123893 w 189841"/>
                  <a:gd name="connsiteY481" fmla="*/ 48581 h 175170"/>
                  <a:gd name="connsiteX482" fmla="*/ 123327 w 189841"/>
                  <a:gd name="connsiteY482" fmla="*/ 48621 h 175170"/>
                  <a:gd name="connsiteX483" fmla="*/ 122871 w 189841"/>
                  <a:gd name="connsiteY483" fmla="*/ 49746 h 175170"/>
                  <a:gd name="connsiteX484" fmla="*/ 122472 w 189841"/>
                  <a:gd name="connsiteY484" fmla="*/ 50253 h 175170"/>
                  <a:gd name="connsiteX485" fmla="*/ 121174 w 189841"/>
                  <a:gd name="connsiteY485" fmla="*/ 50360 h 175170"/>
                  <a:gd name="connsiteX486" fmla="*/ 119753 w 189841"/>
                  <a:gd name="connsiteY486" fmla="*/ 49668 h 175170"/>
                  <a:gd name="connsiteX487" fmla="*/ 119820 w 189841"/>
                  <a:gd name="connsiteY487" fmla="*/ 48171 h 175170"/>
                  <a:gd name="connsiteX488" fmla="*/ 119535 w 189841"/>
                  <a:gd name="connsiteY488" fmla="*/ 46438 h 175170"/>
                  <a:gd name="connsiteX489" fmla="*/ 119660 w 189841"/>
                  <a:gd name="connsiteY489" fmla="*/ 45831 h 175170"/>
                  <a:gd name="connsiteX490" fmla="*/ 123556 w 189841"/>
                  <a:gd name="connsiteY490" fmla="*/ 45681 h 175170"/>
                  <a:gd name="connsiteX491" fmla="*/ 124696 w 189841"/>
                  <a:gd name="connsiteY491" fmla="*/ 46961 h 175170"/>
                  <a:gd name="connsiteX492" fmla="*/ 126074 w 189841"/>
                  <a:gd name="connsiteY492" fmla="*/ 46219 h 175170"/>
                  <a:gd name="connsiteX493" fmla="*/ 126639 w 189841"/>
                  <a:gd name="connsiteY493" fmla="*/ 45417 h 175170"/>
                  <a:gd name="connsiteX494" fmla="*/ 130950 w 189841"/>
                  <a:gd name="connsiteY494" fmla="*/ 32341 h 175170"/>
                  <a:gd name="connsiteX495" fmla="*/ 132183 w 189841"/>
                  <a:gd name="connsiteY495" fmla="*/ 32966 h 175170"/>
                  <a:gd name="connsiteX496" fmla="*/ 133066 w 189841"/>
                  <a:gd name="connsiteY496" fmla="*/ 33702 h 175170"/>
                  <a:gd name="connsiteX497" fmla="*/ 133541 w 189841"/>
                  <a:gd name="connsiteY497" fmla="*/ 34679 h 175170"/>
                  <a:gd name="connsiteX498" fmla="*/ 131040 w 189841"/>
                  <a:gd name="connsiteY498" fmla="*/ 35363 h 175170"/>
                  <a:gd name="connsiteX499" fmla="*/ 128285 w 189841"/>
                  <a:gd name="connsiteY499" fmla="*/ 33206 h 175170"/>
                  <a:gd name="connsiteX500" fmla="*/ 110049 w 189841"/>
                  <a:gd name="connsiteY500" fmla="*/ 25075 h 175170"/>
                  <a:gd name="connsiteX501" fmla="*/ 112167 w 189841"/>
                  <a:gd name="connsiteY501" fmla="*/ 25249 h 175170"/>
                  <a:gd name="connsiteX502" fmla="*/ 113372 w 189841"/>
                  <a:gd name="connsiteY502" fmla="*/ 26719 h 175170"/>
                  <a:gd name="connsiteX503" fmla="*/ 113653 w 189841"/>
                  <a:gd name="connsiteY503" fmla="*/ 27413 h 175170"/>
                  <a:gd name="connsiteX504" fmla="*/ 113262 w 189841"/>
                  <a:gd name="connsiteY504" fmla="*/ 28592 h 175170"/>
                  <a:gd name="connsiteX505" fmla="*/ 113385 w 189841"/>
                  <a:gd name="connsiteY505" fmla="*/ 29738 h 175170"/>
                  <a:gd name="connsiteX506" fmla="*/ 110548 w 189841"/>
                  <a:gd name="connsiteY506" fmla="*/ 30675 h 175170"/>
                  <a:gd name="connsiteX507" fmla="*/ 107665 w 189841"/>
                  <a:gd name="connsiteY507" fmla="*/ 28903 h 175170"/>
                  <a:gd name="connsiteX508" fmla="*/ 107691 w 189841"/>
                  <a:gd name="connsiteY508" fmla="*/ 27849 h 175170"/>
                  <a:gd name="connsiteX509" fmla="*/ 109213 w 189841"/>
                  <a:gd name="connsiteY509" fmla="*/ 25709 h 175170"/>
                  <a:gd name="connsiteX510" fmla="*/ 144925 w 189841"/>
                  <a:gd name="connsiteY510" fmla="*/ 0 h 175170"/>
                  <a:gd name="connsiteX511" fmla="*/ 147585 w 189841"/>
                  <a:gd name="connsiteY511" fmla="*/ 721 h 175170"/>
                  <a:gd name="connsiteX512" fmla="*/ 149568 w 189841"/>
                  <a:gd name="connsiteY512" fmla="*/ 1256 h 175170"/>
                  <a:gd name="connsiteX513" fmla="*/ 150717 w 189841"/>
                  <a:gd name="connsiteY513" fmla="*/ 2129 h 175170"/>
                  <a:gd name="connsiteX514" fmla="*/ 151436 w 189841"/>
                  <a:gd name="connsiteY514" fmla="*/ 2926 h 175170"/>
                  <a:gd name="connsiteX515" fmla="*/ 152530 w 189841"/>
                  <a:gd name="connsiteY515" fmla="*/ 3614 h 175170"/>
                  <a:gd name="connsiteX516" fmla="*/ 153345 w 189841"/>
                  <a:gd name="connsiteY516" fmla="*/ 3772 h 175170"/>
                  <a:gd name="connsiteX517" fmla="*/ 153973 w 189841"/>
                  <a:gd name="connsiteY517" fmla="*/ 6128 h 175170"/>
                  <a:gd name="connsiteX518" fmla="*/ 154308 w 189841"/>
                  <a:gd name="connsiteY518" fmla="*/ 9045 h 175170"/>
                  <a:gd name="connsiteX519" fmla="*/ 153809 w 189841"/>
                  <a:gd name="connsiteY519" fmla="*/ 10301 h 175170"/>
                  <a:gd name="connsiteX520" fmla="*/ 152351 w 189841"/>
                  <a:gd name="connsiteY520" fmla="*/ 10592 h 175170"/>
                  <a:gd name="connsiteX521" fmla="*/ 147802 w 189841"/>
                  <a:gd name="connsiteY521" fmla="*/ 13345 h 175170"/>
                  <a:gd name="connsiteX522" fmla="*/ 147692 w 189841"/>
                  <a:gd name="connsiteY522" fmla="*/ 15861 h 175170"/>
                  <a:gd name="connsiteX523" fmla="*/ 147752 w 189841"/>
                  <a:gd name="connsiteY523" fmla="*/ 17079 h 175170"/>
                  <a:gd name="connsiteX524" fmla="*/ 147845 w 189841"/>
                  <a:gd name="connsiteY524" fmla="*/ 17940 h 175170"/>
                  <a:gd name="connsiteX525" fmla="*/ 148320 w 189841"/>
                  <a:gd name="connsiteY525" fmla="*/ 18665 h 175170"/>
                  <a:gd name="connsiteX526" fmla="*/ 148320 w 189841"/>
                  <a:gd name="connsiteY526" fmla="*/ 19710 h 175170"/>
                  <a:gd name="connsiteX527" fmla="*/ 147810 w 189841"/>
                  <a:gd name="connsiteY527" fmla="*/ 20829 h 175170"/>
                  <a:gd name="connsiteX528" fmla="*/ 145823 w 189841"/>
                  <a:gd name="connsiteY528" fmla="*/ 22703 h 175170"/>
                  <a:gd name="connsiteX529" fmla="*/ 144446 w 189841"/>
                  <a:gd name="connsiteY529" fmla="*/ 24193 h 175170"/>
                  <a:gd name="connsiteX530" fmla="*/ 142904 w 189841"/>
                  <a:gd name="connsiteY530" fmla="*/ 26211 h 175170"/>
                  <a:gd name="connsiteX531" fmla="*/ 142032 w 189841"/>
                  <a:gd name="connsiteY531" fmla="*/ 26457 h 175170"/>
                  <a:gd name="connsiteX532" fmla="*/ 141352 w 189841"/>
                  <a:gd name="connsiteY532" fmla="*/ 26812 h 175170"/>
                  <a:gd name="connsiteX533" fmla="*/ 140727 w 189841"/>
                  <a:gd name="connsiteY533" fmla="*/ 25699 h 175170"/>
                  <a:gd name="connsiteX534" fmla="*/ 137298 w 189841"/>
                  <a:gd name="connsiteY534" fmla="*/ 23731 h 175170"/>
                  <a:gd name="connsiteX535" fmla="*/ 129362 w 189841"/>
                  <a:gd name="connsiteY535" fmla="*/ 22583 h 175170"/>
                  <a:gd name="connsiteX536" fmla="*/ 125571 w 189841"/>
                  <a:gd name="connsiteY536" fmla="*/ 21129 h 175170"/>
                  <a:gd name="connsiteX537" fmla="*/ 123908 w 189841"/>
                  <a:gd name="connsiteY537" fmla="*/ 21399 h 175170"/>
                  <a:gd name="connsiteX538" fmla="*/ 120688 w 189841"/>
                  <a:gd name="connsiteY538" fmla="*/ 19771 h 175170"/>
                  <a:gd name="connsiteX539" fmla="*/ 118481 w 189841"/>
                  <a:gd name="connsiteY539" fmla="*/ 20486 h 175170"/>
                  <a:gd name="connsiteX540" fmla="*/ 113800 w 189841"/>
                  <a:gd name="connsiteY540" fmla="*/ 23378 h 175170"/>
                  <a:gd name="connsiteX541" fmla="*/ 111273 w 189841"/>
                  <a:gd name="connsiteY541" fmla="*/ 23064 h 175170"/>
                  <a:gd name="connsiteX542" fmla="*/ 108572 w 189841"/>
                  <a:gd name="connsiteY542" fmla="*/ 21326 h 175170"/>
                  <a:gd name="connsiteX543" fmla="*/ 106814 w 189841"/>
                  <a:gd name="connsiteY543" fmla="*/ 21006 h 175170"/>
                  <a:gd name="connsiteX544" fmla="*/ 104752 w 189841"/>
                  <a:gd name="connsiteY544" fmla="*/ 21927 h 175170"/>
                  <a:gd name="connsiteX545" fmla="*/ 101448 w 189841"/>
                  <a:gd name="connsiteY545" fmla="*/ 25253 h 175170"/>
                  <a:gd name="connsiteX546" fmla="*/ 98086 w 189841"/>
                  <a:gd name="connsiteY546" fmla="*/ 26882 h 175170"/>
                  <a:gd name="connsiteX547" fmla="*/ 95074 w 189841"/>
                  <a:gd name="connsiteY547" fmla="*/ 26245 h 175170"/>
                  <a:gd name="connsiteX548" fmla="*/ 91021 w 189841"/>
                  <a:gd name="connsiteY548" fmla="*/ 26259 h 175170"/>
                  <a:gd name="connsiteX549" fmla="*/ 90588 w 189841"/>
                  <a:gd name="connsiteY549" fmla="*/ 28117 h 175170"/>
                  <a:gd name="connsiteX550" fmla="*/ 91373 w 189841"/>
                  <a:gd name="connsiteY550" fmla="*/ 29402 h 175170"/>
                  <a:gd name="connsiteX551" fmla="*/ 93588 w 189841"/>
                  <a:gd name="connsiteY551" fmla="*/ 31593 h 175170"/>
                  <a:gd name="connsiteX552" fmla="*/ 92549 w 189841"/>
                  <a:gd name="connsiteY552" fmla="*/ 33239 h 175170"/>
                  <a:gd name="connsiteX553" fmla="*/ 93320 w 189841"/>
                  <a:gd name="connsiteY553" fmla="*/ 34888 h 175170"/>
                  <a:gd name="connsiteX554" fmla="*/ 94763 w 189841"/>
                  <a:gd name="connsiteY554" fmla="*/ 35223 h 175170"/>
                  <a:gd name="connsiteX555" fmla="*/ 96942 w 189841"/>
                  <a:gd name="connsiteY555" fmla="*/ 35130 h 175170"/>
                  <a:gd name="connsiteX556" fmla="*/ 100971 w 189841"/>
                  <a:gd name="connsiteY556" fmla="*/ 37263 h 175170"/>
                  <a:gd name="connsiteX557" fmla="*/ 102733 w 189841"/>
                  <a:gd name="connsiteY557" fmla="*/ 39510 h 175170"/>
                  <a:gd name="connsiteX558" fmla="*/ 103858 w 189841"/>
                  <a:gd name="connsiteY558" fmla="*/ 41968 h 175170"/>
                  <a:gd name="connsiteX559" fmla="*/ 101405 w 189841"/>
                  <a:gd name="connsiteY559" fmla="*/ 40206 h 175170"/>
                  <a:gd name="connsiteX560" fmla="*/ 99777 w 189841"/>
                  <a:gd name="connsiteY560" fmla="*/ 38511 h 175170"/>
                  <a:gd name="connsiteX561" fmla="*/ 97505 w 189841"/>
                  <a:gd name="connsiteY561" fmla="*/ 37896 h 175170"/>
                  <a:gd name="connsiteX562" fmla="*/ 94346 w 189841"/>
                  <a:gd name="connsiteY562" fmla="*/ 36452 h 175170"/>
                  <a:gd name="connsiteX563" fmla="*/ 92362 w 189841"/>
                  <a:gd name="connsiteY563" fmla="*/ 36211 h 175170"/>
                  <a:gd name="connsiteX564" fmla="*/ 90250 w 189841"/>
                  <a:gd name="connsiteY564" fmla="*/ 37212 h 175170"/>
                  <a:gd name="connsiteX565" fmla="*/ 90085 w 189841"/>
                  <a:gd name="connsiteY565" fmla="*/ 38348 h 175170"/>
                  <a:gd name="connsiteX566" fmla="*/ 92362 w 189841"/>
                  <a:gd name="connsiteY566" fmla="*/ 40468 h 175170"/>
                  <a:gd name="connsiteX567" fmla="*/ 94443 w 189841"/>
                  <a:gd name="connsiteY567" fmla="*/ 41772 h 175170"/>
                  <a:gd name="connsiteX568" fmla="*/ 95547 w 189841"/>
                  <a:gd name="connsiteY568" fmla="*/ 42833 h 175170"/>
                  <a:gd name="connsiteX569" fmla="*/ 96283 w 189841"/>
                  <a:gd name="connsiteY569" fmla="*/ 45180 h 175170"/>
                  <a:gd name="connsiteX570" fmla="*/ 95864 w 189841"/>
                  <a:gd name="connsiteY570" fmla="*/ 45977 h 175170"/>
                  <a:gd name="connsiteX571" fmla="*/ 95095 w 189841"/>
                  <a:gd name="connsiteY571" fmla="*/ 46719 h 175170"/>
                  <a:gd name="connsiteX572" fmla="*/ 92625 w 189841"/>
                  <a:gd name="connsiteY572" fmla="*/ 45241 h 175170"/>
                  <a:gd name="connsiteX573" fmla="*/ 88848 w 189841"/>
                  <a:gd name="connsiteY573" fmla="*/ 39980 h 175170"/>
                  <a:gd name="connsiteX574" fmla="*/ 83579 w 189841"/>
                  <a:gd name="connsiteY574" fmla="*/ 38931 h 175170"/>
                  <a:gd name="connsiteX575" fmla="*/ 82698 w 189841"/>
                  <a:gd name="connsiteY575" fmla="*/ 40029 h 175170"/>
                  <a:gd name="connsiteX576" fmla="*/ 83733 w 189841"/>
                  <a:gd name="connsiteY576" fmla="*/ 42811 h 175170"/>
                  <a:gd name="connsiteX577" fmla="*/ 84482 w 189841"/>
                  <a:gd name="connsiteY577" fmla="*/ 43894 h 175170"/>
                  <a:gd name="connsiteX578" fmla="*/ 89060 w 189841"/>
                  <a:gd name="connsiteY578" fmla="*/ 46894 h 175170"/>
                  <a:gd name="connsiteX579" fmla="*/ 88693 w 189841"/>
                  <a:gd name="connsiteY579" fmla="*/ 47530 h 175170"/>
                  <a:gd name="connsiteX580" fmla="*/ 88025 w 189841"/>
                  <a:gd name="connsiteY580" fmla="*/ 47801 h 175170"/>
                  <a:gd name="connsiteX581" fmla="*/ 82901 w 189841"/>
                  <a:gd name="connsiteY581" fmla="*/ 46087 h 175170"/>
                  <a:gd name="connsiteX582" fmla="*/ 81411 w 189841"/>
                  <a:gd name="connsiteY582" fmla="*/ 43476 h 175170"/>
                  <a:gd name="connsiteX583" fmla="*/ 81053 w 189841"/>
                  <a:gd name="connsiteY583" fmla="*/ 40173 h 175170"/>
                  <a:gd name="connsiteX584" fmla="*/ 76324 w 189841"/>
                  <a:gd name="connsiteY584" fmla="*/ 37877 h 175170"/>
                  <a:gd name="connsiteX585" fmla="*/ 71864 w 189841"/>
                  <a:gd name="connsiteY585" fmla="*/ 35377 h 175170"/>
                  <a:gd name="connsiteX586" fmla="*/ 70867 w 189841"/>
                  <a:gd name="connsiteY586" fmla="*/ 33002 h 175170"/>
                  <a:gd name="connsiteX587" fmla="*/ 71785 w 189841"/>
                  <a:gd name="connsiteY587" fmla="*/ 32121 h 175170"/>
                  <a:gd name="connsiteX588" fmla="*/ 72435 w 189841"/>
                  <a:gd name="connsiteY588" fmla="*/ 30375 h 175170"/>
                  <a:gd name="connsiteX589" fmla="*/ 69984 w 189841"/>
                  <a:gd name="connsiteY589" fmla="*/ 30697 h 175170"/>
                  <a:gd name="connsiteX590" fmla="*/ 68446 w 189841"/>
                  <a:gd name="connsiteY590" fmla="*/ 31801 h 175170"/>
                  <a:gd name="connsiteX591" fmla="*/ 65961 w 189841"/>
                  <a:gd name="connsiteY591" fmla="*/ 32872 h 175170"/>
                  <a:gd name="connsiteX592" fmla="*/ 65859 w 189841"/>
                  <a:gd name="connsiteY592" fmla="*/ 34625 h 175170"/>
                  <a:gd name="connsiteX593" fmla="*/ 66252 w 189841"/>
                  <a:gd name="connsiteY593" fmla="*/ 36248 h 175170"/>
                  <a:gd name="connsiteX594" fmla="*/ 65430 w 189841"/>
                  <a:gd name="connsiteY594" fmla="*/ 38606 h 175170"/>
                  <a:gd name="connsiteX595" fmla="*/ 64631 w 189841"/>
                  <a:gd name="connsiteY595" fmla="*/ 42709 h 175170"/>
                  <a:gd name="connsiteX596" fmla="*/ 65136 w 189841"/>
                  <a:gd name="connsiteY596" fmla="*/ 44859 h 175170"/>
                  <a:gd name="connsiteX597" fmla="*/ 70521 w 189841"/>
                  <a:gd name="connsiteY597" fmla="*/ 51017 h 175170"/>
                  <a:gd name="connsiteX598" fmla="*/ 72363 w 189841"/>
                  <a:gd name="connsiteY598" fmla="*/ 55482 h 175170"/>
                  <a:gd name="connsiteX599" fmla="*/ 73685 w 189841"/>
                  <a:gd name="connsiteY599" fmla="*/ 57173 h 175170"/>
                  <a:gd name="connsiteX600" fmla="*/ 76441 w 189841"/>
                  <a:gd name="connsiteY600" fmla="*/ 59037 h 175170"/>
                  <a:gd name="connsiteX601" fmla="*/ 79314 w 189841"/>
                  <a:gd name="connsiteY601" fmla="*/ 62503 h 175170"/>
                  <a:gd name="connsiteX602" fmla="*/ 80533 w 189841"/>
                  <a:gd name="connsiteY602" fmla="*/ 64308 h 175170"/>
                  <a:gd name="connsiteX603" fmla="*/ 81400 w 189841"/>
                  <a:gd name="connsiteY603" fmla="*/ 67259 h 175170"/>
                  <a:gd name="connsiteX604" fmla="*/ 78982 w 189841"/>
                  <a:gd name="connsiteY604" fmla="*/ 69084 h 175170"/>
                  <a:gd name="connsiteX605" fmla="*/ 77574 w 189841"/>
                  <a:gd name="connsiteY605" fmla="*/ 69160 h 175170"/>
                  <a:gd name="connsiteX606" fmla="*/ 76794 w 189841"/>
                  <a:gd name="connsiteY606" fmla="*/ 68350 h 175170"/>
                  <a:gd name="connsiteX607" fmla="*/ 77885 w 189841"/>
                  <a:gd name="connsiteY607" fmla="*/ 66339 h 175170"/>
                  <a:gd name="connsiteX608" fmla="*/ 77730 w 189841"/>
                  <a:gd name="connsiteY608" fmla="*/ 65113 h 175170"/>
                  <a:gd name="connsiteX609" fmla="*/ 73996 w 189841"/>
                  <a:gd name="connsiteY609" fmla="*/ 63214 h 175170"/>
                  <a:gd name="connsiteX610" fmla="*/ 72415 w 189841"/>
                  <a:gd name="connsiteY610" fmla="*/ 63854 h 175170"/>
                  <a:gd name="connsiteX611" fmla="*/ 70593 w 189841"/>
                  <a:gd name="connsiteY611" fmla="*/ 65091 h 175170"/>
                  <a:gd name="connsiteX612" fmla="*/ 71633 w 189841"/>
                  <a:gd name="connsiteY612" fmla="*/ 67387 h 175170"/>
                  <a:gd name="connsiteX613" fmla="*/ 72804 w 189841"/>
                  <a:gd name="connsiteY613" fmla="*/ 68899 h 175170"/>
                  <a:gd name="connsiteX614" fmla="*/ 73391 w 189841"/>
                  <a:gd name="connsiteY614" fmla="*/ 70984 h 175170"/>
                  <a:gd name="connsiteX615" fmla="*/ 75629 w 189841"/>
                  <a:gd name="connsiteY615" fmla="*/ 70803 h 175170"/>
                  <a:gd name="connsiteX616" fmla="*/ 72616 w 189841"/>
                  <a:gd name="connsiteY616" fmla="*/ 73135 h 175170"/>
                  <a:gd name="connsiteX617" fmla="*/ 69789 w 189841"/>
                  <a:gd name="connsiteY617" fmla="*/ 74326 h 175170"/>
                  <a:gd name="connsiteX618" fmla="*/ 67008 w 189841"/>
                  <a:gd name="connsiteY618" fmla="*/ 74395 h 175170"/>
                  <a:gd name="connsiteX619" fmla="*/ 65237 w 189841"/>
                  <a:gd name="connsiteY619" fmla="*/ 74611 h 175170"/>
                  <a:gd name="connsiteX620" fmla="*/ 64627 w 189841"/>
                  <a:gd name="connsiteY620" fmla="*/ 75207 h 175170"/>
                  <a:gd name="connsiteX621" fmla="*/ 66067 w 189841"/>
                  <a:gd name="connsiteY621" fmla="*/ 75641 h 175170"/>
                  <a:gd name="connsiteX622" fmla="*/ 67243 w 189841"/>
                  <a:gd name="connsiteY622" fmla="*/ 75680 h 175170"/>
                  <a:gd name="connsiteX623" fmla="*/ 69157 w 189841"/>
                  <a:gd name="connsiteY623" fmla="*/ 76939 h 175170"/>
                  <a:gd name="connsiteX624" fmla="*/ 74603 w 189841"/>
                  <a:gd name="connsiteY624" fmla="*/ 78449 h 175170"/>
                  <a:gd name="connsiteX625" fmla="*/ 77198 w 189841"/>
                  <a:gd name="connsiteY625" fmla="*/ 80355 h 175170"/>
                  <a:gd name="connsiteX626" fmla="*/ 79747 w 189841"/>
                  <a:gd name="connsiteY626" fmla="*/ 80529 h 175170"/>
                  <a:gd name="connsiteX627" fmla="*/ 82312 w 189841"/>
                  <a:gd name="connsiteY627" fmla="*/ 84025 h 175170"/>
                  <a:gd name="connsiteX628" fmla="*/ 86749 w 189841"/>
                  <a:gd name="connsiteY628" fmla="*/ 84955 h 175170"/>
                  <a:gd name="connsiteX629" fmla="*/ 89278 w 189841"/>
                  <a:gd name="connsiteY629" fmla="*/ 88478 h 175170"/>
                  <a:gd name="connsiteX630" fmla="*/ 92640 w 189841"/>
                  <a:gd name="connsiteY630" fmla="*/ 89171 h 175170"/>
                  <a:gd name="connsiteX631" fmla="*/ 95536 w 189841"/>
                  <a:gd name="connsiteY631" fmla="*/ 90469 h 175170"/>
                  <a:gd name="connsiteX632" fmla="*/ 96384 w 189841"/>
                  <a:gd name="connsiteY632" fmla="*/ 91707 h 175170"/>
                  <a:gd name="connsiteX633" fmla="*/ 96807 w 189841"/>
                  <a:gd name="connsiteY633" fmla="*/ 93941 h 175170"/>
                  <a:gd name="connsiteX634" fmla="*/ 96995 w 189841"/>
                  <a:gd name="connsiteY634" fmla="*/ 98672 h 175170"/>
                  <a:gd name="connsiteX635" fmla="*/ 97622 w 189841"/>
                  <a:gd name="connsiteY635" fmla="*/ 102191 h 175170"/>
                  <a:gd name="connsiteX636" fmla="*/ 97643 w 189841"/>
                  <a:gd name="connsiteY636" fmla="*/ 103303 h 175170"/>
                  <a:gd name="connsiteX637" fmla="*/ 97490 w 189841"/>
                  <a:gd name="connsiteY637" fmla="*/ 104963 h 175170"/>
                  <a:gd name="connsiteX638" fmla="*/ 96702 w 189841"/>
                  <a:gd name="connsiteY638" fmla="*/ 105778 h 175170"/>
                  <a:gd name="connsiteX639" fmla="*/ 95637 w 189841"/>
                  <a:gd name="connsiteY639" fmla="*/ 105803 h 175170"/>
                  <a:gd name="connsiteX640" fmla="*/ 93553 w 189841"/>
                  <a:gd name="connsiteY640" fmla="*/ 103219 h 175170"/>
                  <a:gd name="connsiteX641" fmla="*/ 90357 w 189841"/>
                  <a:gd name="connsiteY641" fmla="*/ 100497 h 175170"/>
                  <a:gd name="connsiteX642" fmla="*/ 86989 w 189841"/>
                  <a:gd name="connsiteY642" fmla="*/ 97256 h 175170"/>
                  <a:gd name="connsiteX643" fmla="*/ 86032 w 189841"/>
                  <a:gd name="connsiteY643" fmla="*/ 96687 h 175170"/>
                  <a:gd name="connsiteX644" fmla="*/ 85249 w 189841"/>
                  <a:gd name="connsiteY644" fmla="*/ 96633 h 175170"/>
                  <a:gd name="connsiteX645" fmla="*/ 83446 w 189841"/>
                  <a:gd name="connsiteY645" fmla="*/ 97730 h 175170"/>
                  <a:gd name="connsiteX646" fmla="*/ 78436 w 189841"/>
                  <a:gd name="connsiteY646" fmla="*/ 98577 h 175170"/>
                  <a:gd name="connsiteX647" fmla="*/ 76086 w 189841"/>
                  <a:gd name="connsiteY647" fmla="*/ 99761 h 175170"/>
                  <a:gd name="connsiteX648" fmla="*/ 75203 w 189841"/>
                  <a:gd name="connsiteY648" fmla="*/ 100022 h 175170"/>
                  <a:gd name="connsiteX649" fmla="*/ 74957 w 189841"/>
                  <a:gd name="connsiteY649" fmla="*/ 100643 h 175170"/>
                  <a:gd name="connsiteX650" fmla="*/ 76058 w 189841"/>
                  <a:gd name="connsiteY650" fmla="*/ 101290 h 175170"/>
                  <a:gd name="connsiteX651" fmla="*/ 77408 w 189841"/>
                  <a:gd name="connsiteY651" fmla="*/ 102770 h 175170"/>
                  <a:gd name="connsiteX652" fmla="*/ 77408 w 189841"/>
                  <a:gd name="connsiteY652" fmla="*/ 104793 h 175170"/>
                  <a:gd name="connsiteX653" fmla="*/ 78522 w 189841"/>
                  <a:gd name="connsiteY653" fmla="*/ 107248 h 175170"/>
                  <a:gd name="connsiteX654" fmla="*/ 79962 w 189841"/>
                  <a:gd name="connsiteY654" fmla="*/ 107882 h 175170"/>
                  <a:gd name="connsiteX655" fmla="*/ 81839 w 189841"/>
                  <a:gd name="connsiteY655" fmla="*/ 107828 h 175170"/>
                  <a:gd name="connsiteX656" fmla="*/ 82914 w 189841"/>
                  <a:gd name="connsiteY656" fmla="*/ 108281 h 175170"/>
                  <a:gd name="connsiteX657" fmla="*/ 83193 w 189841"/>
                  <a:gd name="connsiteY657" fmla="*/ 109258 h 175170"/>
                  <a:gd name="connsiteX658" fmla="*/ 84283 w 189841"/>
                  <a:gd name="connsiteY658" fmla="*/ 110398 h 175170"/>
                  <a:gd name="connsiteX659" fmla="*/ 85002 w 189841"/>
                  <a:gd name="connsiteY659" fmla="*/ 111242 h 175170"/>
                  <a:gd name="connsiteX660" fmla="*/ 84972 w 189841"/>
                  <a:gd name="connsiteY660" fmla="*/ 111846 h 175170"/>
                  <a:gd name="connsiteX661" fmla="*/ 79738 w 189841"/>
                  <a:gd name="connsiteY661" fmla="*/ 113451 h 175170"/>
                  <a:gd name="connsiteX662" fmla="*/ 78643 w 189841"/>
                  <a:gd name="connsiteY662" fmla="*/ 114184 h 175170"/>
                  <a:gd name="connsiteX663" fmla="*/ 77725 w 189841"/>
                  <a:gd name="connsiteY663" fmla="*/ 114559 h 175170"/>
                  <a:gd name="connsiteX664" fmla="*/ 76365 w 189841"/>
                  <a:gd name="connsiteY664" fmla="*/ 113796 h 175170"/>
                  <a:gd name="connsiteX665" fmla="*/ 76287 w 189841"/>
                  <a:gd name="connsiteY665" fmla="*/ 111836 h 175170"/>
                  <a:gd name="connsiteX666" fmla="*/ 74488 w 189841"/>
                  <a:gd name="connsiteY666" fmla="*/ 110784 h 175170"/>
                  <a:gd name="connsiteX667" fmla="*/ 72838 w 189841"/>
                  <a:gd name="connsiteY667" fmla="*/ 109883 h 175170"/>
                  <a:gd name="connsiteX668" fmla="*/ 70861 w 189841"/>
                  <a:gd name="connsiteY668" fmla="*/ 109496 h 175170"/>
                  <a:gd name="connsiteX669" fmla="*/ 69178 w 189841"/>
                  <a:gd name="connsiteY669" fmla="*/ 108146 h 175170"/>
                  <a:gd name="connsiteX670" fmla="*/ 68081 w 189841"/>
                  <a:gd name="connsiteY670" fmla="*/ 109243 h 175170"/>
                  <a:gd name="connsiteX671" fmla="*/ 68958 w 189841"/>
                  <a:gd name="connsiteY671" fmla="*/ 113042 h 175170"/>
                  <a:gd name="connsiteX672" fmla="*/ 70861 w 189841"/>
                  <a:gd name="connsiteY672" fmla="*/ 115656 h 175170"/>
                  <a:gd name="connsiteX673" fmla="*/ 74043 w 189841"/>
                  <a:gd name="connsiteY673" fmla="*/ 122656 h 175170"/>
                  <a:gd name="connsiteX674" fmla="*/ 75488 w 189841"/>
                  <a:gd name="connsiteY674" fmla="*/ 126783 h 175170"/>
                  <a:gd name="connsiteX675" fmla="*/ 75780 w 189841"/>
                  <a:gd name="connsiteY675" fmla="*/ 128778 h 175170"/>
                  <a:gd name="connsiteX676" fmla="*/ 75060 w 189841"/>
                  <a:gd name="connsiteY676" fmla="*/ 132087 h 175170"/>
                  <a:gd name="connsiteX677" fmla="*/ 76624 w 189841"/>
                  <a:gd name="connsiteY677" fmla="*/ 134544 h 175170"/>
                  <a:gd name="connsiteX678" fmla="*/ 77695 w 189841"/>
                  <a:gd name="connsiteY678" fmla="*/ 137065 h 175170"/>
                  <a:gd name="connsiteX679" fmla="*/ 76516 w 189841"/>
                  <a:gd name="connsiteY679" fmla="*/ 136970 h 175170"/>
                  <a:gd name="connsiteX680" fmla="*/ 75493 w 189841"/>
                  <a:gd name="connsiteY680" fmla="*/ 136081 h 175170"/>
                  <a:gd name="connsiteX681" fmla="*/ 73776 w 189841"/>
                  <a:gd name="connsiteY681" fmla="*/ 135032 h 175170"/>
                  <a:gd name="connsiteX682" fmla="*/ 70446 w 189841"/>
                  <a:gd name="connsiteY682" fmla="*/ 131007 h 175170"/>
                  <a:gd name="connsiteX683" fmla="*/ 69286 w 189841"/>
                  <a:gd name="connsiteY683" fmla="*/ 128493 h 175170"/>
                  <a:gd name="connsiteX684" fmla="*/ 67900 w 189841"/>
                  <a:gd name="connsiteY684" fmla="*/ 128296 h 175170"/>
                  <a:gd name="connsiteX685" fmla="*/ 65494 w 189841"/>
                  <a:gd name="connsiteY685" fmla="*/ 128657 h 175170"/>
                  <a:gd name="connsiteX686" fmla="*/ 62856 w 189841"/>
                  <a:gd name="connsiteY686" fmla="*/ 134024 h 175170"/>
                  <a:gd name="connsiteX687" fmla="*/ 62864 w 189841"/>
                  <a:gd name="connsiteY687" fmla="*/ 137095 h 175170"/>
                  <a:gd name="connsiteX688" fmla="*/ 61500 w 189841"/>
                  <a:gd name="connsiteY688" fmla="*/ 136364 h 175170"/>
                  <a:gd name="connsiteX689" fmla="*/ 60329 w 189841"/>
                  <a:gd name="connsiteY689" fmla="*/ 135407 h 175170"/>
                  <a:gd name="connsiteX690" fmla="*/ 60472 w 189841"/>
                  <a:gd name="connsiteY690" fmla="*/ 132045 h 175170"/>
                  <a:gd name="connsiteX691" fmla="*/ 60355 w 189841"/>
                  <a:gd name="connsiteY691" fmla="*/ 130632 h 175170"/>
                  <a:gd name="connsiteX692" fmla="*/ 57153 w 189841"/>
                  <a:gd name="connsiteY692" fmla="*/ 126045 h 175170"/>
                  <a:gd name="connsiteX693" fmla="*/ 55684 w 189841"/>
                  <a:gd name="connsiteY693" fmla="*/ 125530 h 175170"/>
                  <a:gd name="connsiteX694" fmla="*/ 55000 w 189841"/>
                  <a:gd name="connsiteY694" fmla="*/ 123978 h 175170"/>
                  <a:gd name="connsiteX695" fmla="*/ 53821 w 189841"/>
                  <a:gd name="connsiteY695" fmla="*/ 122324 h 175170"/>
                  <a:gd name="connsiteX696" fmla="*/ 52301 w 189841"/>
                  <a:gd name="connsiteY696" fmla="*/ 122641 h 175170"/>
                  <a:gd name="connsiteX697" fmla="*/ 51059 w 189841"/>
                  <a:gd name="connsiteY697" fmla="*/ 123312 h 175170"/>
                  <a:gd name="connsiteX698" fmla="*/ 50716 w 189841"/>
                  <a:gd name="connsiteY698" fmla="*/ 125811 h 175170"/>
                  <a:gd name="connsiteX699" fmla="*/ 50588 w 189841"/>
                  <a:gd name="connsiteY699" fmla="*/ 128050 h 175170"/>
                  <a:gd name="connsiteX700" fmla="*/ 49662 w 189841"/>
                  <a:gd name="connsiteY700" fmla="*/ 129734 h 175170"/>
                  <a:gd name="connsiteX701" fmla="*/ 46250 w 189841"/>
                  <a:gd name="connsiteY701" fmla="*/ 126536 h 175170"/>
                  <a:gd name="connsiteX702" fmla="*/ 42819 w 189841"/>
                  <a:gd name="connsiteY702" fmla="*/ 121001 h 175170"/>
                  <a:gd name="connsiteX703" fmla="*/ 42728 w 189841"/>
                  <a:gd name="connsiteY703" fmla="*/ 117960 h 175170"/>
                  <a:gd name="connsiteX704" fmla="*/ 45242 w 189841"/>
                  <a:gd name="connsiteY704" fmla="*/ 115185 h 175170"/>
                  <a:gd name="connsiteX705" fmla="*/ 44941 w 189841"/>
                  <a:gd name="connsiteY705" fmla="*/ 113198 h 175170"/>
                  <a:gd name="connsiteX706" fmla="*/ 42562 w 189841"/>
                  <a:gd name="connsiteY706" fmla="*/ 109272 h 175170"/>
                  <a:gd name="connsiteX707" fmla="*/ 39133 w 189841"/>
                  <a:gd name="connsiteY707" fmla="*/ 106744 h 175170"/>
                  <a:gd name="connsiteX708" fmla="*/ 37211 w 189841"/>
                  <a:gd name="connsiteY708" fmla="*/ 105993 h 175170"/>
                  <a:gd name="connsiteX709" fmla="*/ 36308 w 189841"/>
                  <a:gd name="connsiteY709" fmla="*/ 103303 h 175170"/>
                  <a:gd name="connsiteX710" fmla="*/ 34468 w 189841"/>
                  <a:gd name="connsiteY710" fmla="*/ 101912 h 175170"/>
                  <a:gd name="connsiteX711" fmla="*/ 32980 w 189841"/>
                  <a:gd name="connsiteY711" fmla="*/ 101264 h 175170"/>
                  <a:gd name="connsiteX712" fmla="*/ 32687 w 189841"/>
                  <a:gd name="connsiteY712" fmla="*/ 100305 h 175170"/>
                  <a:gd name="connsiteX713" fmla="*/ 33136 w 189841"/>
                  <a:gd name="connsiteY713" fmla="*/ 99595 h 175170"/>
                  <a:gd name="connsiteX714" fmla="*/ 36742 w 189841"/>
                  <a:gd name="connsiteY714" fmla="*/ 96823 h 175170"/>
                  <a:gd name="connsiteX715" fmla="*/ 38856 w 189841"/>
                  <a:gd name="connsiteY715" fmla="*/ 92481 h 175170"/>
                  <a:gd name="connsiteX716" fmla="*/ 39906 w 189841"/>
                  <a:gd name="connsiteY716" fmla="*/ 92274 h 175170"/>
                  <a:gd name="connsiteX717" fmla="*/ 42063 w 189841"/>
                  <a:gd name="connsiteY717" fmla="*/ 93304 h 175170"/>
                  <a:gd name="connsiteX718" fmla="*/ 44488 w 189841"/>
                  <a:gd name="connsiteY718" fmla="*/ 93035 h 175170"/>
                  <a:gd name="connsiteX719" fmla="*/ 46479 w 189841"/>
                  <a:gd name="connsiteY719" fmla="*/ 90489 h 175170"/>
                  <a:gd name="connsiteX720" fmla="*/ 48165 w 189841"/>
                  <a:gd name="connsiteY720" fmla="*/ 89103 h 175170"/>
                  <a:gd name="connsiteX721" fmla="*/ 51009 w 189841"/>
                  <a:gd name="connsiteY721" fmla="*/ 89282 h 175170"/>
                  <a:gd name="connsiteX722" fmla="*/ 57431 w 189841"/>
                  <a:gd name="connsiteY722" fmla="*/ 92685 h 175170"/>
                  <a:gd name="connsiteX723" fmla="*/ 64333 w 189841"/>
                  <a:gd name="connsiteY723" fmla="*/ 94623 h 175170"/>
                  <a:gd name="connsiteX724" fmla="*/ 67775 w 189841"/>
                  <a:gd name="connsiteY724" fmla="*/ 96324 h 175170"/>
                  <a:gd name="connsiteX725" fmla="*/ 69722 w 189841"/>
                  <a:gd name="connsiteY725" fmla="*/ 98009 h 175170"/>
                  <a:gd name="connsiteX726" fmla="*/ 70757 w 189841"/>
                  <a:gd name="connsiteY726" fmla="*/ 98358 h 175170"/>
                  <a:gd name="connsiteX727" fmla="*/ 72392 w 189841"/>
                  <a:gd name="connsiteY727" fmla="*/ 98596 h 175170"/>
                  <a:gd name="connsiteX728" fmla="*/ 72318 w 189841"/>
                  <a:gd name="connsiteY728" fmla="*/ 97336 h 175170"/>
                  <a:gd name="connsiteX729" fmla="*/ 71791 w 189841"/>
                  <a:gd name="connsiteY729" fmla="*/ 96221 h 175170"/>
                  <a:gd name="connsiteX730" fmla="*/ 73154 w 189841"/>
                  <a:gd name="connsiteY730" fmla="*/ 95614 h 175170"/>
                  <a:gd name="connsiteX731" fmla="*/ 76853 w 189841"/>
                  <a:gd name="connsiteY731" fmla="*/ 95646 h 175170"/>
                  <a:gd name="connsiteX732" fmla="*/ 77526 w 189841"/>
                  <a:gd name="connsiteY732" fmla="*/ 95055 h 175170"/>
                  <a:gd name="connsiteX733" fmla="*/ 78211 w 189841"/>
                  <a:gd name="connsiteY733" fmla="*/ 94098 h 175170"/>
                  <a:gd name="connsiteX734" fmla="*/ 77447 w 189841"/>
                  <a:gd name="connsiteY734" fmla="*/ 93010 h 175170"/>
                  <a:gd name="connsiteX735" fmla="*/ 76222 w 189841"/>
                  <a:gd name="connsiteY735" fmla="*/ 92487 h 175170"/>
                  <a:gd name="connsiteX736" fmla="*/ 74913 w 189841"/>
                  <a:gd name="connsiteY736" fmla="*/ 92342 h 175170"/>
                  <a:gd name="connsiteX737" fmla="*/ 74052 w 189841"/>
                  <a:gd name="connsiteY737" fmla="*/ 91997 h 175170"/>
                  <a:gd name="connsiteX738" fmla="*/ 72661 w 189841"/>
                  <a:gd name="connsiteY738" fmla="*/ 92345 h 175170"/>
                  <a:gd name="connsiteX739" fmla="*/ 70491 w 189841"/>
                  <a:gd name="connsiteY739" fmla="*/ 91504 h 175170"/>
                  <a:gd name="connsiteX740" fmla="*/ 69370 w 189841"/>
                  <a:gd name="connsiteY740" fmla="*/ 90810 h 175170"/>
                  <a:gd name="connsiteX741" fmla="*/ 68712 w 189841"/>
                  <a:gd name="connsiteY741" fmla="*/ 90096 h 175170"/>
                  <a:gd name="connsiteX742" fmla="*/ 64942 w 189841"/>
                  <a:gd name="connsiteY742" fmla="*/ 88672 h 175170"/>
                  <a:gd name="connsiteX743" fmla="*/ 61366 w 189841"/>
                  <a:gd name="connsiteY743" fmla="*/ 86264 h 175170"/>
                  <a:gd name="connsiteX744" fmla="*/ 60560 w 189841"/>
                  <a:gd name="connsiteY744" fmla="*/ 87627 h 175170"/>
                  <a:gd name="connsiteX745" fmla="*/ 59116 w 189841"/>
                  <a:gd name="connsiteY745" fmla="*/ 88366 h 175170"/>
                  <a:gd name="connsiteX746" fmla="*/ 57058 w 189841"/>
                  <a:gd name="connsiteY746" fmla="*/ 88468 h 175170"/>
                  <a:gd name="connsiteX747" fmla="*/ 51275 w 189841"/>
                  <a:gd name="connsiteY747" fmla="*/ 86935 h 175170"/>
                  <a:gd name="connsiteX748" fmla="*/ 47722 w 189841"/>
                  <a:gd name="connsiteY748" fmla="*/ 88105 h 175170"/>
                  <a:gd name="connsiteX749" fmla="*/ 45786 w 189841"/>
                  <a:gd name="connsiteY749" fmla="*/ 88412 h 175170"/>
                  <a:gd name="connsiteX750" fmla="*/ 44304 w 189841"/>
                  <a:gd name="connsiteY750" fmla="*/ 88438 h 175170"/>
                  <a:gd name="connsiteX751" fmla="*/ 42482 w 189841"/>
                  <a:gd name="connsiteY751" fmla="*/ 88963 h 175170"/>
                  <a:gd name="connsiteX752" fmla="*/ 40379 w 189841"/>
                  <a:gd name="connsiteY752" fmla="*/ 89277 h 175170"/>
                  <a:gd name="connsiteX753" fmla="*/ 38556 w 189841"/>
                  <a:gd name="connsiteY753" fmla="*/ 87054 h 175170"/>
                  <a:gd name="connsiteX754" fmla="*/ 37789 w 189841"/>
                  <a:gd name="connsiteY754" fmla="*/ 85331 h 175170"/>
                  <a:gd name="connsiteX755" fmla="*/ 37249 w 189841"/>
                  <a:gd name="connsiteY755" fmla="*/ 85009 h 175170"/>
                  <a:gd name="connsiteX756" fmla="*/ 37222 w 189841"/>
                  <a:gd name="connsiteY756" fmla="*/ 86628 h 175170"/>
                  <a:gd name="connsiteX757" fmla="*/ 36636 w 189841"/>
                  <a:gd name="connsiteY757" fmla="*/ 87926 h 175170"/>
                  <a:gd name="connsiteX758" fmla="*/ 33968 w 189841"/>
                  <a:gd name="connsiteY758" fmla="*/ 88655 h 175170"/>
                  <a:gd name="connsiteX759" fmla="*/ 32432 w 189841"/>
                  <a:gd name="connsiteY759" fmla="*/ 87650 h 175170"/>
                  <a:gd name="connsiteX760" fmla="*/ 31251 w 189841"/>
                  <a:gd name="connsiteY760" fmla="*/ 84598 h 175170"/>
                  <a:gd name="connsiteX761" fmla="*/ 29757 w 189841"/>
                  <a:gd name="connsiteY761" fmla="*/ 80715 h 175170"/>
                  <a:gd name="connsiteX762" fmla="*/ 27126 w 189841"/>
                  <a:gd name="connsiteY762" fmla="*/ 77576 h 175170"/>
                  <a:gd name="connsiteX763" fmla="*/ 24995 w 189841"/>
                  <a:gd name="connsiteY763" fmla="*/ 76755 h 175170"/>
                  <a:gd name="connsiteX764" fmla="*/ 24811 w 189841"/>
                  <a:gd name="connsiteY764" fmla="*/ 75029 h 175170"/>
                  <a:gd name="connsiteX765" fmla="*/ 25006 w 189841"/>
                  <a:gd name="connsiteY765" fmla="*/ 73647 h 175170"/>
                  <a:gd name="connsiteX766" fmla="*/ 27567 w 189841"/>
                  <a:gd name="connsiteY766" fmla="*/ 73306 h 175170"/>
                  <a:gd name="connsiteX767" fmla="*/ 31570 w 189841"/>
                  <a:gd name="connsiteY767" fmla="*/ 74751 h 175170"/>
                  <a:gd name="connsiteX768" fmla="*/ 32397 w 189841"/>
                  <a:gd name="connsiteY768" fmla="*/ 74464 h 175170"/>
                  <a:gd name="connsiteX769" fmla="*/ 33298 w 189841"/>
                  <a:gd name="connsiteY769" fmla="*/ 73797 h 175170"/>
                  <a:gd name="connsiteX770" fmla="*/ 33125 w 189841"/>
                  <a:gd name="connsiteY770" fmla="*/ 72322 h 175170"/>
                  <a:gd name="connsiteX771" fmla="*/ 32547 w 189841"/>
                  <a:gd name="connsiteY771" fmla="*/ 71008 h 175170"/>
                  <a:gd name="connsiteX772" fmla="*/ 31445 w 189841"/>
                  <a:gd name="connsiteY772" fmla="*/ 70949 h 175170"/>
                  <a:gd name="connsiteX773" fmla="*/ 30683 w 189841"/>
                  <a:gd name="connsiteY773" fmla="*/ 71105 h 175170"/>
                  <a:gd name="connsiteX774" fmla="*/ 28221 w 189841"/>
                  <a:gd name="connsiteY774" fmla="*/ 70833 h 175170"/>
                  <a:gd name="connsiteX775" fmla="*/ 25058 w 189841"/>
                  <a:gd name="connsiteY775" fmla="*/ 71563 h 175170"/>
                  <a:gd name="connsiteX776" fmla="*/ 23591 w 189841"/>
                  <a:gd name="connsiteY776" fmla="*/ 70875 h 175170"/>
                  <a:gd name="connsiteX777" fmla="*/ 23103 w 189841"/>
                  <a:gd name="connsiteY777" fmla="*/ 70039 h 175170"/>
                  <a:gd name="connsiteX778" fmla="*/ 20458 w 189841"/>
                  <a:gd name="connsiteY778" fmla="*/ 67963 h 175170"/>
                  <a:gd name="connsiteX779" fmla="*/ 18172 w 189841"/>
                  <a:gd name="connsiteY779" fmla="*/ 65177 h 175170"/>
                  <a:gd name="connsiteX780" fmla="*/ 14468 w 189841"/>
                  <a:gd name="connsiteY780" fmla="*/ 63316 h 175170"/>
                  <a:gd name="connsiteX781" fmla="*/ 12049 w 189841"/>
                  <a:gd name="connsiteY781" fmla="*/ 57641 h 175170"/>
                  <a:gd name="connsiteX782" fmla="*/ 10015 w 189841"/>
                  <a:gd name="connsiteY782" fmla="*/ 55161 h 175170"/>
                  <a:gd name="connsiteX783" fmla="*/ 7845 w 189841"/>
                  <a:gd name="connsiteY783" fmla="*/ 53389 h 175170"/>
                  <a:gd name="connsiteX784" fmla="*/ 8316 w 189841"/>
                  <a:gd name="connsiteY784" fmla="*/ 53356 h 175170"/>
                  <a:gd name="connsiteX785" fmla="*/ 9139 w 189841"/>
                  <a:gd name="connsiteY785" fmla="*/ 53657 h 175170"/>
                  <a:gd name="connsiteX786" fmla="*/ 10715 w 189841"/>
                  <a:gd name="connsiteY786" fmla="*/ 54632 h 175170"/>
                  <a:gd name="connsiteX787" fmla="*/ 12391 w 189841"/>
                  <a:gd name="connsiteY787" fmla="*/ 54842 h 175170"/>
                  <a:gd name="connsiteX788" fmla="*/ 13306 w 189841"/>
                  <a:gd name="connsiteY788" fmla="*/ 54196 h 175170"/>
                  <a:gd name="connsiteX789" fmla="*/ 13833 w 189841"/>
                  <a:gd name="connsiteY789" fmla="*/ 53603 h 175170"/>
                  <a:gd name="connsiteX790" fmla="*/ 14176 w 189841"/>
                  <a:gd name="connsiteY790" fmla="*/ 52630 h 175170"/>
                  <a:gd name="connsiteX791" fmla="*/ 14315 w 189841"/>
                  <a:gd name="connsiteY791" fmla="*/ 51495 h 175170"/>
                  <a:gd name="connsiteX792" fmla="*/ 14587 w 189841"/>
                  <a:gd name="connsiteY792" fmla="*/ 51119 h 175170"/>
                  <a:gd name="connsiteX793" fmla="*/ 15867 w 189841"/>
                  <a:gd name="connsiteY793" fmla="*/ 51247 h 175170"/>
                  <a:gd name="connsiteX794" fmla="*/ 16273 w 189841"/>
                  <a:gd name="connsiteY794" fmla="*/ 50964 h 175170"/>
                  <a:gd name="connsiteX795" fmla="*/ 16256 w 189841"/>
                  <a:gd name="connsiteY795" fmla="*/ 49944 h 175170"/>
                  <a:gd name="connsiteX796" fmla="*/ 15429 w 189841"/>
                  <a:gd name="connsiteY796" fmla="*/ 48672 h 175170"/>
                  <a:gd name="connsiteX797" fmla="*/ 14701 w 189841"/>
                  <a:gd name="connsiteY797" fmla="*/ 47105 h 175170"/>
                  <a:gd name="connsiteX798" fmla="*/ 14697 w 189841"/>
                  <a:gd name="connsiteY798" fmla="*/ 46358 h 175170"/>
                  <a:gd name="connsiteX799" fmla="*/ 15302 w 189841"/>
                  <a:gd name="connsiteY799" fmla="*/ 46055 h 175170"/>
                  <a:gd name="connsiteX800" fmla="*/ 16302 w 189841"/>
                  <a:gd name="connsiteY800" fmla="*/ 45374 h 175170"/>
                  <a:gd name="connsiteX801" fmla="*/ 16839 w 189841"/>
                  <a:gd name="connsiteY801" fmla="*/ 44532 h 175170"/>
                  <a:gd name="connsiteX802" fmla="*/ 17901 w 189841"/>
                  <a:gd name="connsiteY802" fmla="*/ 44112 h 175170"/>
                  <a:gd name="connsiteX803" fmla="*/ 19472 w 189841"/>
                  <a:gd name="connsiteY803" fmla="*/ 44035 h 175170"/>
                  <a:gd name="connsiteX804" fmla="*/ 21223 w 189841"/>
                  <a:gd name="connsiteY804" fmla="*/ 43666 h 175170"/>
                  <a:gd name="connsiteX805" fmla="*/ 22354 w 189841"/>
                  <a:gd name="connsiteY805" fmla="*/ 42760 h 175170"/>
                  <a:gd name="connsiteX806" fmla="*/ 22521 w 189841"/>
                  <a:gd name="connsiteY806" fmla="*/ 41862 h 175170"/>
                  <a:gd name="connsiteX807" fmla="*/ 23229 w 189841"/>
                  <a:gd name="connsiteY807" fmla="*/ 39391 h 175170"/>
                  <a:gd name="connsiteX808" fmla="*/ 23691 w 189841"/>
                  <a:gd name="connsiteY808" fmla="*/ 38181 h 175170"/>
                  <a:gd name="connsiteX809" fmla="*/ 24438 w 189841"/>
                  <a:gd name="connsiteY809" fmla="*/ 37076 h 175170"/>
                  <a:gd name="connsiteX810" fmla="*/ 24844 w 189841"/>
                  <a:gd name="connsiteY810" fmla="*/ 35586 h 175170"/>
                  <a:gd name="connsiteX811" fmla="*/ 25641 w 189841"/>
                  <a:gd name="connsiteY811" fmla="*/ 34184 h 175170"/>
                  <a:gd name="connsiteX812" fmla="*/ 27312 w 189841"/>
                  <a:gd name="connsiteY812" fmla="*/ 33596 h 175170"/>
                  <a:gd name="connsiteX813" fmla="*/ 28828 w 189841"/>
                  <a:gd name="connsiteY813" fmla="*/ 32903 h 175170"/>
                  <a:gd name="connsiteX814" fmla="*/ 29972 w 189841"/>
                  <a:gd name="connsiteY814" fmla="*/ 31096 h 175170"/>
                  <a:gd name="connsiteX815" fmla="*/ 30612 w 189841"/>
                  <a:gd name="connsiteY815" fmla="*/ 29547 h 175170"/>
                  <a:gd name="connsiteX816" fmla="*/ 30616 w 189841"/>
                  <a:gd name="connsiteY816" fmla="*/ 28599 h 175170"/>
                  <a:gd name="connsiteX817" fmla="*/ 29662 w 189841"/>
                  <a:gd name="connsiteY817" fmla="*/ 27047 h 175170"/>
                  <a:gd name="connsiteX818" fmla="*/ 28951 w 189841"/>
                  <a:gd name="connsiteY818" fmla="*/ 25538 h 175170"/>
                  <a:gd name="connsiteX819" fmla="*/ 29139 w 189841"/>
                  <a:gd name="connsiteY819" fmla="*/ 23578 h 175170"/>
                  <a:gd name="connsiteX820" fmla="*/ 32141 w 189841"/>
                  <a:gd name="connsiteY820" fmla="*/ 23414 h 175170"/>
                  <a:gd name="connsiteX821" fmla="*/ 33192 w 189841"/>
                  <a:gd name="connsiteY821" fmla="*/ 23231 h 175170"/>
                  <a:gd name="connsiteX822" fmla="*/ 37088 w 189841"/>
                  <a:gd name="connsiteY822" fmla="*/ 23125 h 175170"/>
                  <a:gd name="connsiteX823" fmla="*/ 38865 w 189841"/>
                  <a:gd name="connsiteY823" fmla="*/ 22073 h 175170"/>
                  <a:gd name="connsiteX824" fmla="*/ 40094 w 189841"/>
                  <a:gd name="connsiteY824" fmla="*/ 22167 h 175170"/>
                  <a:gd name="connsiteX825" fmla="*/ 42661 w 189841"/>
                  <a:gd name="connsiteY825" fmla="*/ 23078 h 175170"/>
                  <a:gd name="connsiteX826" fmla="*/ 43806 w 189841"/>
                  <a:gd name="connsiteY826" fmla="*/ 22358 h 175170"/>
                  <a:gd name="connsiteX827" fmla="*/ 47166 w 189841"/>
                  <a:gd name="connsiteY827" fmla="*/ 20936 h 175170"/>
                  <a:gd name="connsiteX828" fmla="*/ 50482 w 189841"/>
                  <a:gd name="connsiteY828" fmla="*/ 16805 h 175170"/>
                  <a:gd name="connsiteX829" fmla="*/ 51895 w 189841"/>
                  <a:gd name="connsiteY829" fmla="*/ 16185 h 175170"/>
                  <a:gd name="connsiteX830" fmla="*/ 55112 w 189841"/>
                  <a:gd name="connsiteY830" fmla="*/ 15934 h 175170"/>
                  <a:gd name="connsiteX831" fmla="*/ 56120 w 189841"/>
                  <a:gd name="connsiteY831" fmla="*/ 15456 h 175170"/>
                  <a:gd name="connsiteX832" fmla="*/ 57297 w 189841"/>
                  <a:gd name="connsiteY832" fmla="*/ 15547 h 175170"/>
                  <a:gd name="connsiteX833" fmla="*/ 60903 w 189841"/>
                  <a:gd name="connsiteY833" fmla="*/ 16385 h 175170"/>
                  <a:gd name="connsiteX834" fmla="*/ 62955 w 189841"/>
                  <a:gd name="connsiteY834" fmla="*/ 16513 h 175170"/>
                  <a:gd name="connsiteX835" fmla="*/ 65388 w 189841"/>
                  <a:gd name="connsiteY835" fmla="*/ 15942 h 175170"/>
                  <a:gd name="connsiteX836" fmla="*/ 68069 w 189841"/>
                  <a:gd name="connsiteY836" fmla="*/ 14932 h 175170"/>
                  <a:gd name="connsiteX837" fmla="*/ 68738 w 189841"/>
                  <a:gd name="connsiteY837" fmla="*/ 11394 h 175170"/>
                  <a:gd name="connsiteX838" fmla="*/ 69375 w 189841"/>
                  <a:gd name="connsiteY838" fmla="*/ 10886 h 175170"/>
                  <a:gd name="connsiteX839" fmla="*/ 71042 w 189841"/>
                  <a:gd name="connsiteY839" fmla="*/ 10744 h 175170"/>
                  <a:gd name="connsiteX840" fmla="*/ 72297 w 189841"/>
                  <a:gd name="connsiteY840" fmla="*/ 10773 h 175170"/>
                  <a:gd name="connsiteX841" fmla="*/ 74719 w 189841"/>
                  <a:gd name="connsiteY841" fmla="*/ 11054 h 175170"/>
                  <a:gd name="connsiteX842" fmla="*/ 77602 w 189841"/>
                  <a:gd name="connsiteY842" fmla="*/ 11148 h 175170"/>
                  <a:gd name="connsiteX843" fmla="*/ 79457 w 189841"/>
                  <a:gd name="connsiteY843" fmla="*/ 9488 h 175170"/>
                  <a:gd name="connsiteX844" fmla="*/ 82381 w 189841"/>
                  <a:gd name="connsiteY844" fmla="*/ 9364 h 175170"/>
                  <a:gd name="connsiteX845" fmla="*/ 83737 w 189841"/>
                  <a:gd name="connsiteY845" fmla="*/ 9124 h 175170"/>
                  <a:gd name="connsiteX846" fmla="*/ 86002 w 189841"/>
                  <a:gd name="connsiteY846" fmla="*/ 9459 h 175170"/>
                  <a:gd name="connsiteX847" fmla="*/ 88198 w 189841"/>
                  <a:gd name="connsiteY847" fmla="*/ 9440 h 175170"/>
                  <a:gd name="connsiteX848" fmla="*/ 91010 w 189841"/>
                  <a:gd name="connsiteY848" fmla="*/ 8748 h 175170"/>
                  <a:gd name="connsiteX849" fmla="*/ 93631 w 189841"/>
                  <a:gd name="connsiteY849" fmla="*/ 7613 h 175170"/>
                  <a:gd name="connsiteX850" fmla="*/ 95680 w 189841"/>
                  <a:gd name="connsiteY850" fmla="*/ 7710 h 175170"/>
                  <a:gd name="connsiteX851" fmla="*/ 96516 w 189841"/>
                  <a:gd name="connsiteY851" fmla="*/ 7505 h 175170"/>
                  <a:gd name="connsiteX852" fmla="*/ 96994 w 189841"/>
                  <a:gd name="connsiteY852" fmla="*/ 7266 h 175170"/>
                  <a:gd name="connsiteX853" fmla="*/ 97505 w 189841"/>
                  <a:gd name="connsiteY853" fmla="*/ 5729 h 175170"/>
                  <a:gd name="connsiteX854" fmla="*/ 101360 w 189841"/>
                  <a:gd name="connsiteY854" fmla="*/ 5635 h 175170"/>
                  <a:gd name="connsiteX855" fmla="*/ 102666 w 189841"/>
                  <a:gd name="connsiteY855" fmla="*/ 5788 h 175170"/>
                  <a:gd name="connsiteX856" fmla="*/ 104817 w 189841"/>
                  <a:gd name="connsiteY856" fmla="*/ 5828 h 175170"/>
                  <a:gd name="connsiteX857" fmla="*/ 107054 w 189841"/>
                  <a:gd name="connsiteY857" fmla="*/ 4990 h 175170"/>
                  <a:gd name="connsiteX858" fmla="*/ 107725 w 189841"/>
                  <a:gd name="connsiteY858" fmla="*/ 5061 h 175170"/>
                  <a:gd name="connsiteX859" fmla="*/ 108855 w 189841"/>
                  <a:gd name="connsiteY859" fmla="*/ 7311 h 175170"/>
                  <a:gd name="connsiteX860" fmla="*/ 109444 w 189841"/>
                  <a:gd name="connsiteY860" fmla="*/ 7963 h 175170"/>
                  <a:gd name="connsiteX861" fmla="*/ 110662 w 189841"/>
                  <a:gd name="connsiteY861" fmla="*/ 8564 h 175170"/>
                  <a:gd name="connsiteX862" fmla="*/ 113374 w 189841"/>
                  <a:gd name="connsiteY862" fmla="*/ 10250 h 175170"/>
                  <a:gd name="connsiteX863" fmla="*/ 113863 w 189841"/>
                  <a:gd name="connsiteY863" fmla="*/ 9806 h 175170"/>
                  <a:gd name="connsiteX864" fmla="*/ 114992 w 189841"/>
                  <a:gd name="connsiteY864" fmla="*/ 9243 h 175170"/>
                  <a:gd name="connsiteX865" fmla="*/ 118235 w 189841"/>
                  <a:gd name="connsiteY865" fmla="*/ 10015 h 175170"/>
                  <a:gd name="connsiteX866" fmla="*/ 121327 w 189841"/>
                  <a:gd name="connsiteY866" fmla="*/ 11314 h 175170"/>
                  <a:gd name="connsiteX867" fmla="*/ 123932 w 189841"/>
                  <a:gd name="connsiteY867" fmla="*/ 13219 h 175170"/>
                  <a:gd name="connsiteX868" fmla="*/ 126823 w 189841"/>
                  <a:gd name="connsiteY868" fmla="*/ 12670 h 175170"/>
                  <a:gd name="connsiteX869" fmla="*/ 130032 w 189841"/>
                  <a:gd name="connsiteY869" fmla="*/ 11735 h 175170"/>
                  <a:gd name="connsiteX870" fmla="*/ 132120 w 189841"/>
                  <a:gd name="connsiteY870" fmla="*/ 11463 h 175170"/>
                  <a:gd name="connsiteX871" fmla="*/ 134385 w 189841"/>
                  <a:gd name="connsiteY871" fmla="*/ 11333 h 175170"/>
                  <a:gd name="connsiteX872" fmla="*/ 135735 w 189841"/>
                  <a:gd name="connsiteY872" fmla="*/ 10927 h 175170"/>
                  <a:gd name="connsiteX873" fmla="*/ 138795 w 189841"/>
                  <a:gd name="connsiteY873" fmla="*/ 11416 h 175170"/>
                  <a:gd name="connsiteX874" fmla="*/ 141958 w 189841"/>
                  <a:gd name="connsiteY874" fmla="*/ 10393 h 175170"/>
                  <a:gd name="connsiteX875" fmla="*/ 143483 w 189841"/>
                  <a:gd name="connsiteY875" fmla="*/ 9467 h 175170"/>
                  <a:gd name="connsiteX876" fmla="*/ 143921 w 189841"/>
                  <a:gd name="connsiteY876" fmla="*/ 8170 h 175170"/>
                  <a:gd name="connsiteX877" fmla="*/ 143664 w 189841"/>
                  <a:gd name="connsiteY877" fmla="*/ 5881 h 175170"/>
                  <a:gd name="connsiteX878" fmla="*/ 142949 w 189841"/>
                  <a:gd name="connsiteY878" fmla="*/ 3589 h 175170"/>
                  <a:gd name="connsiteX879" fmla="*/ 142192 w 189841"/>
                  <a:gd name="connsiteY879" fmla="*/ 2743 h 175170"/>
                  <a:gd name="connsiteX880" fmla="*/ 141950 w 189841"/>
                  <a:gd name="connsiteY880" fmla="*/ 1868 h 175170"/>
                  <a:gd name="connsiteX881" fmla="*/ 142381 w 189841"/>
                  <a:gd name="connsiteY881" fmla="*/ 1050 h 175170"/>
                  <a:gd name="connsiteX882" fmla="*/ 142865 w 189841"/>
                  <a:gd name="connsiteY882" fmla="*/ 479 h 175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</a:cxnLst>
                <a:rect l="l" t="t" r="r" b="b"/>
                <a:pathLst>
                  <a:path w="189841" h="175170">
                    <a:moveTo>
                      <a:pt x="90448" y="157073"/>
                    </a:moveTo>
                    <a:lnTo>
                      <a:pt x="91198" y="157609"/>
                    </a:lnTo>
                    <a:lnTo>
                      <a:pt x="91697" y="159571"/>
                    </a:lnTo>
                    <a:lnTo>
                      <a:pt x="92998" y="160093"/>
                    </a:lnTo>
                    <a:lnTo>
                      <a:pt x="94510" y="160276"/>
                    </a:lnTo>
                    <a:lnTo>
                      <a:pt x="96559" y="160244"/>
                    </a:lnTo>
                    <a:lnTo>
                      <a:pt x="97026" y="160094"/>
                    </a:lnTo>
                    <a:lnTo>
                      <a:pt x="98330" y="158624"/>
                    </a:lnTo>
                    <a:lnTo>
                      <a:pt x="99937" y="158590"/>
                    </a:lnTo>
                    <a:lnTo>
                      <a:pt x="100638" y="160043"/>
                    </a:lnTo>
                    <a:lnTo>
                      <a:pt x="99008" y="160712"/>
                    </a:lnTo>
                    <a:lnTo>
                      <a:pt x="98676" y="161090"/>
                    </a:lnTo>
                    <a:lnTo>
                      <a:pt x="98989" y="161396"/>
                    </a:lnTo>
                    <a:lnTo>
                      <a:pt x="100213" y="162002"/>
                    </a:lnTo>
                    <a:lnTo>
                      <a:pt x="101913" y="161773"/>
                    </a:lnTo>
                    <a:lnTo>
                      <a:pt x="101964" y="162916"/>
                    </a:lnTo>
                    <a:lnTo>
                      <a:pt x="102344" y="163849"/>
                    </a:lnTo>
                    <a:lnTo>
                      <a:pt x="103184" y="164406"/>
                    </a:lnTo>
                    <a:lnTo>
                      <a:pt x="104093" y="164515"/>
                    </a:lnTo>
                    <a:lnTo>
                      <a:pt x="106104" y="164350"/>
                    </a:lnTo>
                    <a:lnTo>
                      <a:pt x="108086" y="163980"/>
                    </a:lnTo>
                    <a:lnTo>
                      <a:pt x="110129" y="163248"/>
                    </a:lnTo>
                    <a:lnTo>
                      <a:pt x="112215" y="162874"/>
                    </a:lnTo>
                    <a:lnTo>
                      <a:pt x="118447" y="163249"/>
                    </a:lnTo>
                    <a:lnTo>
                      <a:pt x="120684" y="164830"/>
                    </a:lnTo>
                    <a:lnTo>
                      <a:pt x="124940" y="165020"/>
                    </a:lnTo>
                    <a:lnTo>
                      <a:pt x="128896" y="165852"/>
                    </a:lnTo>
                    <a:lnTo>
                      <a:pt x="130974" y="165303"/>
                    </a:lnTo>
                    <a:lnTo>
                      <a:pt x="134523" y="164788"/>
                    </a:lnTo>
                    <a:lnTo>
                      <a:pt x="135092" y="165346"/>
                    </a:lnTo>
                    <a:lnTo>
                      <a:pt x="134633" y="168918"/>
                    </a:lnTo>
                    <a:lnTo>
                      <a:pt x="134852" y="169953"/>
                    </a:lnTo>
                    <a:lnTo>
                      <a:pt x="135875" y="170451"/>
                    </a:lnTo>
                    <a:lnTo>
                      <a:pt x="136888" y="170208"/>
                    </a:lnTo>
                    <a:lnTo>
                      <a:pt x="138132" y="169039"/>
                    </a:lnTo>
                    <a:lnTo>
                      <a:pt x="141109" y="168134"/>
                    </a:lnTo>
                    <a:lnTo>
                      <a:pt x="144202" y="168139"/>
                    </a:lnTo>
                    <a:lnTo>
                      <a:pt x="146804" y="165763"/>
                    </a:lnTo>
                    <a:lnTo>
                      <a:pt x="147571" y="165628"/>
                    </a:lnTo>
                    <a:lnTo>
                      <a:pt x="147093" y="166796"/>
                    </a:lnTo>
                    <a:lnTo>
                      <a:pt x="146700" y="169539"/>
                    </a:lnTo>
                    <a:lnTo>
                      <a:pt x="146141" y="171145"/>
                    </a:lnTo>
                    <a:lnTo>
                      <a:pt x="145892" y="172410"/>
                    </a:lnTo>
                    <a:lnTo>
                      <a:pt x="144152" y="173063"/>
                    </a:lnTo>
                    <a:lnTo>
                      <a:pt x="141522" y="173175"/>
                    </a:lnTo>
                    <a:lnTo>
                      <a:pt x="136724" y="172898"/>
                    </a:lnTo>
                    <a:lnTo>
                      <a:pt x="131887" y="173346"/>
                    </a:lnTo>
                    <a:lnTo>
                      <a:pt x="122928" y="174549"/>
                    </a:lnTo>
                    <a:lnTo>
                      <a:pt x="113951" y="175170"/>
                    </a:lnTo>
                    <a:lnTo>
                      <a:pt x="112744" y="174765"/>
                    </a:lnTo>
                    <a:lnTo>
                      <a:pt x="112716" y="173170"/>
                    </a:lnTo>
                    <a:lnTo>
                      <a:pt x="112522" y="172069"/>
                    </a:lnTo>
                    <a:lnTo>
                      <a:pt x="111941" y="171298"/>
                    </a:lnTo>
                    <a:lnTo>
                      <a:pt x="109166" y="170640"/>
                    </a:lnTo>
                    <a:lnTo>
                      <a:pt x="106519" y="169511"/>
                    </a:lnTo>
                    <a:lnTo>
                      <a:pt x="96140" y="167967"/>
                    </a:lnTo>
                    <a:lnTo>
                      <a:pt x="93692" y="167361"/>
                    </a:lnTo>
                    <a:lnTo>
                      <a:pt x="89718" y="167677"/>
                    </a:lnTo>
                    <a:lnTo>
                      <a:pt x="88263" y="167635"/>
                    </a:lnTo>
                    <a:lnTo>
                      <a:pt x="87261" y="167081"/>
                    </a:lnTo>
                    <a:lnTo>
                      <a:pt x="86572" y="166129"/>
                    </a:lnTo>
                    <a:lnTo>
                      <a:pt x="86261" y="163106"/>
                    </a:lnTo>
                    <a:lnTo>
                      <a:pt x="86753" y="160110"/>
                    </a:lnTo>
                    <a:lnTo>
                      <a:pt x="87613" y="159318"/>
                    </a:lnTo>
                    <a:lnTo>
                      <a:pt x="88008" y="160221"/>
                    </a:lnTo>
                    <a:lnTo>
                      <a:pt x="89027" y="160634"/>
                    </a:lnTo>
                    <a:lnTo>
                      <a:pt x="89973" y="159724"/>
                    </a:lnTo>
                    <a:lnTo>
                      <a:pt x="89964" y="158350"/>
                    </a:lnTo>
                    <a:close/>
                    <a:moveTo>
                      <a:pt x="167536" y="152919"/>
                    </a:moveTo>
                    <a:lnTo>
                      <a:pt x="167180" y="155589"/>
                    </a:lnTo>
                    <a:lnTo>
                      <a:pt x="166078" y="157728"/>
                    </a:lnTo>
                    <a:lnTo>
                      <a:pt x="167221" y="159502"/>
                    </a:lnTo>
                    <a:lnTo>
                      <a:pt x="167767" y="161523"/>
                    </a:lnTo>
                    <a:lnTo>
                      <a:pt x="166495" y="161857"/>
                    </a:lnTo>
                    <a:lnTo>
                      <a:pt x="165651" y="163269"/>
                    </a:lnTo>
                    <a:lnTo>
                      <a:pt x="164794" y="162079"/>
                    </a:lnTo>
                    <a:lnTo>
                      <a:pt x="165163" y="160705"/>
                    </a:lnTo>
                    <a:lnTo>
                      <a:pt x="164165" y="158526"/>
                    </a:lnTo>
                    <a:lnTo>
                      <a:pt x="166053" y="155292"/>
                    </a:lnTo>
                    <a:lnTo>
                      <a:pt x="166096" y="153720"/>
                    </a:lnTo>
                    <a:close/>
                    <a:moveTo>
                      <a:pt x="73059" y="138689"/>
                    </a:moveTo>
                    <a:lnTo>
                      <a:pt x="74106" y="140102"/>
                    </a:lnTo>
                    <a:lnTo>
                      <a:pt x="76300" y="142164"/>
                    </a:lnTo>
                    <a:lnTo>
                      <a:pt x="75343" y="143599"/>
                    </a:lnTo>
                    <a:lnTo>
                      <a:pt x="75086" y="144696"/>
                    </a:lnTo>
                    <a:lnTo>
                      <a:pt x="72815" y="143942"/>
                    </a:lnTo>
                    <a:lnTo>
                      <a:pt x="72182" y="142810"/>
                    </a:lnTo>
                    <a:lnTo>
                      <a:pt x="72068" y="140299"/>
                    </a:lnTo>
                    <a:lnTo>
                      <a:pt x="72664" y="139074"/>
                    </a:lnTo>
                    <a:close/>
                    <a:moveTo>
                      <a:pt x="189841" y="137431"/>
                    </a:moveTo>
                    <a:lnTo>
                      <a:pt x="189801" y="139035"/>
                    </a:lnTo>
                    <a:lnTo>
                      <a:pt x="187899" y="143092"/>
                    </a:lnTo>
                    <a:lnTo>
                      <a:pt x="186211" y="145117"/>
                    </a:lnTo>
                    <a:lnTo>
                      <a:pt x="186655" y="146743"/>
                    </a:lnTo>
                    <a:lnTo>
                      <a:pt x="183952" y="147193"/>
                    </a:lnTo>
                    <a:lnTo>
                      <a:pt x="181238" y="150175"/>
                    </a:lnTo>
                    <a:lnTo>
                      <a:pt x="179642" y="150705"/>
                    </a:lnTo>
                    <a:lnTo>
                      <a:pt x="179091" y="150636"/>
                    </a:lnTo>
                    <a:lnTo>
                      <a:pt x="178424" y="149468"/>
                    </a:lnTo>
                    <a:lnTo>
                      <a:pt x="179348" y="146645"/>
                    </a:lnTo>
                    <a:lnTo>
                      <a:pt x="178493" y="144829"/>
                    </a:lnTo>
                    <a:lnTo>
                      <a:pt x="178441" y="144059"/>
                    </a:lnTo>
                    <a:lnTo>
                      <a:pt x="179726" y="142993"/>
                    </a:lnTo>
                    <a:lnTo>
                      <a:pt x="180629" y="141396"/>
                    </a:lnTo>
                    <a:lnTo>
                      <a:pt x="182822" y="139667"/>
                    </a:lnTo>
                    <a:lnTo>
                      <a:pt x="188506" y="137619"/>
                    </a:lnTo>
                    <a:close/>
                    <a:moveTo>
                      <a:pt x="127421" y="136416"/>
                    </a:moveTo>
                    <a:lnTo>
                      <a:pt x="128713" y="137395"/>
                    </a:lnTo>
                    <a:lnTo>
                      <a:pt x="129045" y="138469"/>
                    </a:lnTo>
                    <a:lnTo>
                      <a:pt x="128017" y="139799"/>
                    </a:lnTo>
                    <a:lnTo>
                      <a:pt x="126570" y="139322"/>
                    </a:lnTo>
                    <a:lnTo>
                      <a:pt x="127160" y="138816"/>
                    </a:lnTo>
                    <a:lnTo>
                      <a:pt x="127508" y="138159"/>
                    </a:lnTo>
                    <a:lnTo>
                      <a:pt x="127546" y="137212"/>
                    </a:lnTo>
                    <a:lnTo>
                      <a:pt x="127154" y="136629"/>
                    </a:lnTo>
                    <a:close/>
                    <a:moveTo>
                      <a:pt x="148672" y="132238"/>
                    </a:moveTo>
                    <a:lnTo>
                      <a:pt x="149805" y="132602"/>
                    </a:lnTo>
                    <a:lnTo>
                      <a:pt x="150676" y="133587"/>
                    </a:lnTo>
                    <a:lnTo>
                      <a:pt x="148929" y="134192"/>
                    </a:lnTo>
                    <a:lnTo>
                      <a:pt x="147819" y="135462"/>
                    </a:lnTo>
                    <a:lnTo>
                      <a:pt x="146461" y="134562"/>
                    </a:lnTo>
                    <a:lnTo>
                      <a:pt x="146456" y="133333"/>
                    </a:lnTo>
                    <a:lnTo>
                      <a:pt x="147942" y="133709"/>
                    </a:lnTo>
                    <a:lnTo>
                      <a:pt x="148985" y="133017"/>
                    </a:lnTo>
                    <a:close/>
                    <a:moveTo>
                      <a:pt x="181674" y="132173"/>
                    </a:moveTo>
                    <a:lnTo>
                      <a:pt x="181836" y="132646"/>
                    </a:lnTo>
                    <a:lnTo>
                      <a:pt x="181818" y="133656"/>
                    </a:lnTo>
                    <a:lnTo>
                      <a:pt x="181622" y="134385"/>
                    </a:lnTo>
                    <a:lnTo>
                      <a:pt x="181138" y="134788"/>
                    </a:lnTo>
                    <a:lnTo>
                      <a:pt x="180028" y="133630"/>
                    </a:lnTo>
                    <a:lnTo>
                      <a:pt x="179976" y="133026"/>
                    </a:lnTo>
                    <a:lnTo>
                      <a:pt x="181106" y="132333"/>
                    </a:lnTo>
                    <a:close/>
                    <a:moveTo>
                      <a:pt x="108112" y="129062"/>
                    </a:moveTo>
                    <a:lnTo>
                      <a:pt x="108151" y="130553"/>
                    </a:lnTo>
                    <a:lnTo>
                      <a:pt x="108000" y="131087"/>
                    </a:lnTo>
                    <a:lnTo>
                      <a:pt x="103474" y="131806"/>
                    </a:lnTo>
                    <a:lnTo>
                      <a:pt x="103893" y="130097"/>
                    </a:lnTo>
                    <a:lnTo>
                      <a:pt x="104169" y="129557"/>
                    </a:lnTo>
                    <a:lnTo>
                      <a:pt x="105668" y="130352"/>
                    </a:lnTo>
                    <a:lnTo>
                      <a:pt x="106220" y="129946"/>
                    </a:lnTo>
                    <a:lnTo>
                      <a:pt x="106445" y="129476"/>
                    </a:lnTo>
                    <a:close/>
                    <a:moveTo>
                      <a:pt x="124921" y="128417"/>
                    </a:moveTo>
                    <a:lnTo>
                      <a:pt x="127376" y="130240"/>
                    </a:lnTo>
                    <a:lnTo>
                      <a:pt x="126819" y="131339"/>
                    </a:lnTo>
                    <a:lnTo>
                      <a:pt x="126434" y="131737"/>
                    </a:lnTo>
                    <a:lnTo>
                      <a:pt x="124761" y="130134"/>
                    </a:lnTo>
                    <a:lnTo>
                      <a:pt x="124126" y="129197"/>
                    </a:lnTo>
                    <a:close/>
                    <a:moveTo>
                      <a:pt x="168476" y="125472"/>
                    </a:moveTo>
                    <a:lnTo>
                      <a:pt x="170389" y="126393"/>
                    </a:lnTo>
                    <a:lnTo>
                      <a:pt x="166873" y="127910"/>
                    </a:lnTo>
                    <a:lnTo>
                      <a:pt x="165940" y="128712"/>
                    </a:lnTo>
                    <a:lnTo>
                      <a:pt x="163345" y="128885"/>
                    </a:lnTo>
                    <a:lnTo>
                      <a:pt x="161488" y="129993"/>
                    </a:lnTo>
                    <a:lnTo>
                      <a:pt x="160797" y="130023"/>
                    </a:lnTo>
                    <a:lnTo>
                      <a:pt x="161619" y="128797"/>
                    </a:lnTo>
                    <a:lnTo>
                      <a:pt x="163954" y="127117"/>
                    </a:lnTo>
                    <a:lnTo>
                      <a:pt x="167355" y="125637"/>
                    </a:lnTo>
                    <a:close/>
                    <a:moveTo>
                      <a:pt x="140505" y="124652"/>
                    </a:moveTo>
                    <a:lnTo>
                      <a:pt x="141915" y="125533"/>
                    </a:lnTo>
                    <a:lnTo>
                      <a:pt x="140151" y="126118"/>
                    </a:lnTo>
                    <a:lnTo>
                      <a:pt x="137380" y="128386"/>
                    </a:lnTo>
                    <a:lnTo>
                      <a:pt x="135428" y="128594"/>
                    </a:lnTo>
                    <a:lnTo>
                      <a:pt x="134811" y="128403"/>
                    </a:lnTo>
                    <a:lnTo>
                      <a:pt x="135996" y="127964"/>
                    </a:lnTo>
                    <a:lnTo>
                      <a:pt x="136828" y="127498"/>
                    </a:lnTo>
                    <a:lnTo>
                      <a:pt x="137227" y="126934"/>
                    </a:lnTo>
                    <a:lnTo>
                      <a:pt x="139207" y="125943"/>
                    </a:lnTo>
                    <a:close/>
                    <a:moveTo>
                      <a:pt x="112100" y="122454"/>
                    </a:moveTo>
                    <a:lnTo>
                      <a:pt x="113141" y="124351"/>
                    </a:lnTo>
                    <a:lnTo>
                      <a:pt x="112206" y="125057"/>
                    </a:lnTo>
                    <a:lnTo>
                      <a:pt x="111802" y="125168"/>
                    </a:lnTo>
                    <a:lnTo>
                      <a:pt x="111224" y="124096"/>
                    </a:lnTo>
                    <a:lnTo>
                      <a:pt x="111103" y="123096"/>
                    </a:lnTo>
                    <a:lnTo>
                      <a:pt x="111334" y="122510"/>
                    </a:lnTo>
                    <a:close/>
                    <a:moveTo>
                      <a:pt x="160140" y="120840"/>
                    </a:moveTo>
                    <a:lnTo>
                      <a:pt x="161864" y="121735"/>
                    </a:lnTo>
                    <a:lnTo>
                      <a:pt x="162956" y="122814"/>
                    </a:lnTo>
                    <a:lnTo>
                      <a:pt x="163489" y="123020"/>
                    </a:lnTo>
                    <a:lnTo>
                      <a:pt x="163366" y="123671"/>
                    </a:lnTo>
                    <a:lnTo>
                      <a:pt x="163038" y="124102"/>
                    </a:lnTo>
                    <a:lnTo>
                      <a:pt x="160831" y="124453"/>
                    </a:lnTo>
                    <a:lnTo>
                      <a:pt x="161224" y="122434"/>
                    </a:lnTo>
                    <a:close/>
                    <a:moveTo>
                      <a:pt x="123575" y="119280"/>
                    </a:moveTo>
                    <a:lnTo>
                      <a:pt x="124465" y="119553"/>
                    </a:lnTo>
                    <a:lnTo>
                      <a:pt x="124381" y="120919"/>
                    </a:lnTo>
                    <a:lnTo>
                      <a:pt x="124545" y="121320"/>
                    </a:lnTo>
                    <a:lnTo>
                      <a:pt x="122787" y="123281"/>
                    </a:lnTo>
                    <a:lnTo>
                      <a:pt x="121325" y="123069"/>
                    </a:lnTo>
                    <a:lnTo>
                      <a:pt x="120710" y="122171"/>
                    </a:lnTo>
                    <a:lnTo>
                      <a:pt x="121617" y="120327"/>
                    </a:lnTo>
                    <a:close/>
                    <a:moveTo>
                      <a:pt x="129993" y="118062"/>
                    </a:moveTo>
                    <a:lnTo>
                      <a:pt x="130857" y="118349"/>
                    </a:lnTo>
                    <a:lnTo>
                      <a:pt x="131377" y="119179"/>
                    </a:lnTo>
                    <a:lnTo>
                      <a:pt x="131297" y="122060"/>
                    </a:lnTo>
                    <a:lnTo>
                      <a:pt x="130449" y="123885"/>
                    </a:lnTo>
                    <a:lnTo>
                      <a:pt x="128477" y="124848"/>
                    </a:lnTo>
                    <a:lnTo>
                      <a:pt x="127132" y="123458"/>
                    </a:lnTo>
                    <a:lnTo>
                      <a:pt x="126380" y="121269"/>
                    </a:lnTo>
                    <a:close/>
                    <a:moveTo>
                      <a:pt x="106963" y="117710"/>
                    </a:moveTo>
                    <a:lnTo>
                      <a:pt x="107965" y="118165"/>
                    </a:lnTo>
                    <a:lnTo>
                      <a:pt x="108116" y="118793"/>
                    </a:lnTo>
                    <a:lnTo>
                      <a:pt x="107842" y="119877"/>
                    </a:lnTo>
                    <a:lnTo>
                      <a:pt x="107024" y="120260"/>
                    </a:lnTo>
                    <a:lnTo>
                      <a:pt x="105659" y="119702"/>
                    </a:lnTo>
                    <a:lnTo>
                      <a:pt x="106022" y="118304"/>
                    </a:lnTo>
                    <a:close/>
                    <a:moveTo>
                      <a:pt x="105802" y="110953"/>
                    </a:moveTo>
                    <a:lnTo>
                      <a:pt x="106184" y="111607"/>
                    </a:lnTo>
                    <a:lnTo>
                      <a:pt x="106912" y="112667"/>
                    </a:lnTo>
                    <a:lnTo>
                      <a:pt x="105901" y="114289"/>
                    </a:lnTo>
                    <a:lnTo>
                      <a:pt x="104644" y="115062"/>
                    </a:lnTo>
                    <a:lnTo>
                      <a:pt x="105061" y="113294"/>
                    </a:lnTo>
                    <a:lnTo>
                      <a:pt x="104441" y="112371"/>
                    </a:lnTo>
                    <a:lnTo>
                      <a:pt x="104996" y="111586"/>
                    </a:lnTo>
                    <a:close/>
                    <a:moveTo>
                      <a:pt x="116311" y="110092"/>
                    </a:moveTo>
                    <a:lnTo>
                      <a:pt x="117114" y="110485"/>
                    </a:lnTo>
                    <a:lnTo>
                      <a:pt x="117004" y="113135"/>
                    </a:lnTo>
                    <a:lnTo>
                      <a:pt x="116421" y="113112"/>
                    </a:lnTo>
                    <a:lnTo>
                      <a:pt x="116082" y="112703"/>
                    </a:lnTo>
                    <a:lnTo>
                      <a:pt x="116063" y="111689"/>
                    </a:lnTo>
                    <a:close/>
                    <a:moveTo>
                      <a:pt x="126076" y="110085"/>
                    </a:moveTo>
                    <a:lnTo>
                      <a:pt x="128615" y="111057"/>
                    </a:lnTo>
                    <a:lnTo>
                      <a:pt x="128492" y="111670"/>
                    </a:lnTo>
                    <a:lnTo>
                      <a:pt x="127283" y="112383"/>
                    </a:lnTo>
                    <a:lnTo>
                      <a:pt x="125169" y="112540"/>
                    </a:lnTo>
                    <a:lnTo>
                      <a:pt x="125292" y="110592"/>
                    </a:lnTo>
                    <a:close/>
                    <a:moveTo>
                      <a:pt x="148259" y="105865"/>
                    </a:moveTo>
                    <a:lnTo>
                      <a:pt x="147054" y="107265"/>
                    </a:lnTo>
                    <a:lnTo>
                      <a:pt x="145020" y="108570"/>
                    </a:lnTo>
                    <a:lnTo>
                      <a:pt x="141138" y="109568"/>
                    </a:lnTo>
                    <a:lnTo>
                      <a:pt x="140101" y="109666"/>
                    </a:lnTo>
                    <a:lnTo>
                      <a:pt x="140418" y="108645"/>
                    </a:lnTo>
                    <a:lnTo>
                      <a:pt x="142399" y="106873"/>
                    </a:lnTo>
                    <a:lnTo>
                      <a:pt x="145167" y="106786"/>
                    </a:lnTo>
                    <a:lnTo>
                      <a:pt x="147689" y="105898"/>
                    </a:lnTo>
                    <a:close/>
                    <a:moveTo>
                      <a:pt x="119248" y="105703"/>
                    </a:moveTo>
                    <a:lnTo>
                      <a:pt x="120408" y="106538"/>
                    </a:lnTo>
                    <a:lnTo>
                      <a:pt x="123362" y="106981"/>
                    </a:lnTo>
                    <a:lnTo>
                      <a:pt x="124035" y="107775"/>
                    </a:lnTo>
                    <a:lnTo>
                      <a:pt x="123215" y="109423"/>
                    </a:lnTo>
                    <a:lnTo>
                      <a:pt x="121835" y="109169"/>
                    </a:lnTo>
                    <a:lnTo>
                      <a:pt x="119527" y="107396"/>
                    </a:lnTo>
                    <a:lnTo>
                      <a:pt x="118738" y="106591"/>
                    </a:lnTo>
                    <a:lnTo>
                      <a:pt x="118300" y="105799"/>
                    </a:lnTo>
                    <a:close/>
                    <a:moveTo>
                      <a:pt x="104648" y="105651"/>
                    </a:moveTo>
                    <a:lnTo>
                      <a:pt x="105128" y="106512"/>
                    </a:lnTo>
                    <a:lnTo>
                      <a:pt x="104136" y="108356"/>
                    </a:lnTo>
                    <a:lnTo>
                      <a:pt x="102655" y="109597"/>
                    </a:lnTo>
                    <a:lnTo>
                      <a:pt x="102401" y="107736"/>
                    </a:lnTo>
                    <a:lnTo>
                      <a:pt x="103350" y="105778"/>
                    </a:lnTo>
                    <a:close/>
                    <a:moveTo>
                      <a:pt x="158719" y="102358"/>
                    </a:moveTo>
                    <a:lnTo>
                      <a:pt x="161438" y="103201"/>
                    </a:lnTo>
                    <a:lnTo>
                      <a:pt x="162194" y="103111"/>
                    </a:lnTo>
                    <a:lnTo>
                      <a:pt x="163479" y="103417"/>
                    </a:lnTo>
                    <a:lnTo>
                      <a:pt x="163820" y="104971"/>
                    </a:lnTo>
                    <a:lnTo>
                      <a:pt x="162118" y="105196"/>
                    </a:lnTo>
                    <a:lnTo>
                      <a:pt x="159173" y="106622"/>
                    </a:lnTo>
                    <a:lnTo>
                      <a:pt x="157920" y="106309"/>
                    </a:lnTo>
                    <a:lnTo>
                      <a:pt x="156422" y="105069"/>
                    </a:lnTo>
                    <a:lnTo>
                      <a:pt x="154042" y="104940"/>
                    </a:lnTo>
                    <a:lnTo>
                      <a:pt x="153338" y="104602"/>
                    </a:lnTo>
                    <a:lnTo>
                      <a:pt x="154612" y="103140"/>
                    </a:lnTo>
                    <a:lnTo>
                      <a:pt x="156927" y="102400"/>
                    </a:lnTo>
                    <a:close/>
                    <a:moveTo>
                      <a:pt x="23108" y="99333"/>
                    </a:moveTo>
                    <a:lnTo>
                      <a:pt x="24593" y="101294"/>
                    </a:lnTo>
                    <a:lnTo>
                      <a:pt x="26388" y="101608"/>
                    </a:lnTo>
                    <a:lnTo>
                      <a:pt x="27463" y="102513"/>
                    </a:lnTo>
                    <a:lnTo>
                      <a:pt x="29795" y="105004"/>
                    </a:lnTo>
                    <a:lnTo>
                      <a:pt x="27919" y="104387"/>
                    </a:lnTo>
                    <a:lnTo>
                      <a:pt x="25917" y="106110"/>
                    </a:lnTo>
                    <a:lnTo>
                      <a:pt x="23380" y="104097"/>
                    </a:lnTo>
                    <a:lnTo>
                      <a:pt x="21860" y="102058"/>
                    </a:lnTo>
                    <a:lnTo>
                      <a:pt x="21516" y="101241"/>
                    </a:lnTo>
                    <a:close/>
                    <a:moveTo>
                      <a:pt x="113744" y="97780"/>
                    </a:moveTo>
                    <a:lnTo>
                      <a:pt x="115173" y="99739"/>
                    </a:lnTo>
                    <a:lnTo>
                      <a:pt x="117412" y="99967"/>
                    </a:lnTo>
                    <a:lnTo>
                      <a:pt x="117238" y="101174"/>
                    </a:lnTo>
                    <a:lnTo>
                      <a:pt x="117946" y="102729"/>
                    </a:lnTo>
                    <a:lnTo>
                      <a:pt x="118194" y="103684"/>
                    </a:lnTo>
                    <a:lnTo>
                      <a:pt x="117542" y="105403"/>
                    </a:lnTo>
                    <a:lnTo>
                      <a:pt x="115814" y="103405"/>
                    </a:lnTo>
                    <a:lnTo>
                      <a:pt x="113923" y="102035"/>
                    </a:lnTo>
                    <a:lnTo>
                      <a:pt x="113215" y="100840"/>
                    </a:lnTo>
                    <a:lnTo>
                      <a:pt x="112062" y="100118"/>
                    </a:lnTo>
                    <a:lnTo>
                      <a:pt x="111748" y="98509"/>
                    </a:lnTo>
                    <a:lnTo>
                      <a:pt x="113146" y="97847"/>
                    </a:lnTo>
                    <a:close/>
                    <a:moveTo>
                      <a:pt x="84849" y="97755"/>
                    </a:moveTo>
                    <a:lnTo>
                      <a:pt x="85553" y="97885"/>
                    </a:lnTo>
                    <a:lnTo>
                      <a:pt x="85981" y="98290"/>
                    </a:lnTo>
                    <a:lnTo>
                      <a:pt x="86337" y="99426"/>
                    </a:lnTo>
                    <a:lnTo>
                      <a:pt x="85462" y="100060"/>
                    </a:lnTo>
                    <a:lnTo>
                      <a:pt x="84475" y="100028"/>
                    </a:lnTo>
                    <a:lnTo>
                      <a:pt x="83778" y="99795"/>
                    </a:lnTo>
                    <a:lnTo>
                      <a:pt x="83426" y="99289"/>
                    </a:lnTo>
                    <a:lnTo>
                      <a:pt x="83862" y="99047"/>
                    </a:lnTo>
                    <a:lnTo>
                      <a:pt x="84374" y="98030"/>
                    </a:lnTo>
                    <a:close/>
                    <a:moveTo>
                      <a:pt x="20270" y="85327"/>
                    </a:moveTo>
                    <a:lnTo>
                      <a:pt x="21357" y="87684"/>
                    </a:lnTo>
                    <a:lnTo>
                      <a:pt x="21631" y="90652"/>
                    </a:lnTo>
                    <a:lnTo>
                      <a:pt x="23190" y="91209"/>
                    </a:lnTo>
                    <a:lnTo>
                      <a:pt x="25261" y="93882"/>
                    </a:lnTo>
                    <a:lnTo>
                      <a:pt x="25082" y="95249"/>
                    </a:lnTo>
                    <a:lnTo>
                      <a:pt x="24652" y="95717"/>
                    </a:lnTo>
                    <a:lnTo>
                      <a:pt x="21221" y="94456"/>
                    </a:lnTo>
                    <a:lnTo>
                      <a:pt x="20398" y="95022"/>
                    </a:lnTo>
                    <a:lnTo>
                      <a:pt x="19394" y="94792"/>
                    </a:lnTo>
                    <a:lnTo>
                      <a:pt x="18774" y="93316"/>
                    </a:lnTo>
                    <a:lnTo>
                      <a:pt x="18845" y="92797"/>
                    </a:lnTo>
                    <a:lnTo>
                      <a:pt x="18284" y="91913"/>
                    </a:lnTo>
                    <a:lnTo>
                      <a:pt x="17815" y="91518"/>
                    </a:lnTo>
                    <a:lnTo>
                      <a:pt x="16464" y="92692"/>
                    </a:lnTo>
                    <a:lnTo>
                      <a:pt x="15612" y="92912"/>
                    </a:lnTo>
                    <a:lnTo>
                      <a:pt x="15606" y="91837"/>
                    </a:lnTo>
                    <a:lnTo>
                      <a:pt x="16854" y="88881"/>
                    </a:lnTo>
                    <a:lnTo>
                      <a:pt x="17437" y="88382"/>
                    </a:lnTo>
                    <a:lnTo>
                      <a:pt x="18463" y="89358"/>
                    </a:lnTo>
                    <a:lnTo>
                      <a:pt x="19307" y="88995"/>
                    </a:lnTo>
                    <a:lnTo>
                      <a:pt x="19942" y="87396"/>
                    </a:lnTo>
                    <a:lnTo>
                      <a:pt x="19985" y="85801"/>
                    </a:lnTo>
                    <a:close/>
                    <a:moveTo>
                      <a:pt x="22184" y="85094"/>
                    </a:moveTo>
                    <a:lnTo>
                      <a:pt x="22739" y="85292"/>
                    </a:lnTo>
                    <a:lnTo>
                      <a:pt x="23324" y="85933"/>
                    </a:lnTo>
                    <a:lnTo>
                      <a:pt x="23319" y="86588"/>
                    </a:lnTo>
                    <a:lnTo>
                      <a:pt x="23553" y="87290"/>
                    </a:lnTo>
                    <a:lnTo>
                      <a:pt x="24162" y="88136"/>
                    </a:lnTo>
                    <a:lnTo>
                      <a:pt x="24593" y="89070"/>
                    </a:lnTo>
                    <a:lnTo>
                      <a:pt x="23501" y="89348"/>
                    </a:lnTo>
                    <a:lnTo>
                      <a:pt x="22110" y="86887"/>
                    </a:lnTo>
                    <a:lnTo>
                      <a:pt x="21607" y="85189"/>
                    </a:lnTo>
                    <a:close/>
                    <a:moveTo>
                      <a:pt x="140766" y="82063"/>
                    </a:moveTo>
                    <a:lnTo>
                      <a:pt x="142932" y="83533"/>
                    </a:lnTo>
                    <a:lnTo>
                      <a:pt x="144036" y="83634"/>
                    </a:lnTo>
                    <a:lnTo>
                      <a:pt x="143612" y="85038"/>
                    </a:lnTo>
                    <a:lnTo>
                      <a:pt x="143798" y="85494"/>
                    </a:lnTo>
                    <a:lnTo>
                      <a:pt x="143962" y="89751"/>
                    </a:lnTo>
                    <a:lnTo>
                      <a:pt x="142939" y="90350"/>
                    </a:lnTo>
                    <a:lnTo>
                      <a:pt x="142770" y="91518"/>
                    </a:lnTo>
                    <a:lnTo>
                      <a:pt x="142569" y="91932"/>
                    </a:lnTo>
                    <a:lnTo>
                      <a:pt x="140458" y="93383"/>
                    </a:lnTo>
                    <a:lnTo>
                      <a:pt x="138100" y="91283"/>
                    </a:lnTo>
                    <a:lnTo>
                      <a:pt x="137711" y="90607"/>
                    </a:lnTo>
                    <a:lnTo>
                      <a:pt x="139442" y="89759"/>
                    </a:lnTo>
                    <a:lnTo>
                      <a:pt x="140300" y="88451"/>
                    </a:lnTo>
                    <a:lnTo>
                      <a:pt x="139604" y="86844"/>
                    </a:lnTo>
                    <a:lnTo>
                      <a:pt x="137201" y="84466"/>
                    </a:lnTo>
                    <a:lnTo>
                      <a:pt x="137087" y="82776"/>
                    </a:lnTo>
                    <a:close/>
                    <a:moveTo>
                      <a:pt x="23166" y="75808"/>
                    </a:moveTo>
                    <a:lnTo>
                      <a:pt x="23730" y="76971"/>
                    </a:lnTo>
                    <a:lnTo>
                      <a:pt x="23624" y="81119"/>
                    </a:lnTo>
                    <a:lnTo>
                      <a:pt x="23002" y="81883"/>
                    </a:lnTo>
                    <a:lnTo>
                      <a:pt x="22143" y="82082"/>
                    </a:lnTo>
                    <a:lnTo>
                      <a:pt x="21402" y="81946"/>
                    </a:lnTo>
                    <a:lnTo>
                      <a:pt x="20730" y="82063"/>
                    </a:lnTo>
                    <a:lnTo>
                      <a:pt x="20083" y="82556"/>
                    </a:lnTo>
                    <a:lnTo>
                      <a:pt x="20154" y="80513"/>
                    </a:lnTo>
                    <a:lnTo>
                      <a:pt x="20918" y="77978"/>
                    </a:lnTo>
                    <a:lnTo>
                      <a:pt x="21851" y="76496"/>
                    </a:lnTo>
                    <a:close/>
                    <a:moveTo>
                      <a:pt x="107004" y="72294"/>
                    </a:moveTo>
                    <a:lnTo>
                      <a:pt x="108738" y="73277"/>
                    </a:lnTo>
                    <a:lnTo>
                      <a:pt x="109118" y="74914"/>
                    </a:lnTo>
                    <a:lnTo>
                      <a:pt x="111185" y="76712"/>
                    </a:lnTo>
                    <a:lnTo>
                      <a:pt x="108848" y="77341"/>
                    </a:lnTo>
                    <a:lnTo>
                      <a:pt x="108228" y="77242"/>
                    </a:lnTo>
                    <a:lnTo>
                      <a:pt x="108749" y="76448"/>
                    </a:lnTo>
                    <a:lnTo>
                      <a:pt x="108790" y="76114"/>
                    </a:lnTo>
                    <a:lnTo>
                      <a:pt x="106460" y="74662"/>
                    </a:lnTo>
                    <a:lnTo>
                      <a:pt x="106734" y="72775"/>
                    </a:lnTo>
                    <a:close/>
                    <a:moveTo>
                      <a:pt x="81068" y="70881"/>
                    </a:moveTo>
                    <a:lnTo>
                      <a:pt x="83340" y="72853"/>
                    </a:lnTo>
                    <a:lnTo>
                      <a:pt x="84590" y="75656"/>
                    </a:lnTo>
                    <a:lnTo>
                      <a:pt x="85762" y="76602"/>
                    </a:lnTo>
                    <a:lnTo>
                      <a:pt x="88222" y="77718"/>
                    </a:lnTo>
                    <a:lnTo>
                      <a:pt x="89377" y="77860"/>
                    </a:lnTo>
                    <a:lnTo>
                      <a:pt x="93573" y="79875"/>
                    </a:lnTo>
                    <a:lnTo>
                      <a:pt x="98455" y="80277"/>
                    </a:lnTo>
                    <a:lnTo>
                      <a:pt x="99086" y="80857"/>
                    </a:lnTo>
                    <a:lnTo>
                      <a:pt x="99686" y="82409"/>
                    </a:lnTo>
                    <a:lnTo>
                      <a:pt x="100682" y="83626"/>
                    </a:lnTo>
                    <a:lnTo>
                      <a:pt x="100932" y="84573"/>
                    </a:lnTo>
                    <a:lnTo>
                      <a:pt x="100412" y="85623"/>
                    </a:lnTo>
                    <a:lnTo>
                      <a:pt x="101133" y="88834"/>
                    </a:lnTo>
                    <a:lnTo>
                      <a:pt x="102364" y="91881"/>
                    </a:lnTo>
                    <a:lnTo>
                      <a:pt x="104219" y="93358"/>
                    </a:lnTo>
                    <a:lnTo>
                      <a:pt x="106525" y="93804"/>
                    </a:lnTo>
                    <a:lnTo>
                      <a:pt x="108721" y="93743"/>
                    </a:lnTo>
                    <a:lnTo>
                      <a:pt x="109276" y="94347"/>
                    </a:lnTo>
                    <a:lnTo>
                      <a:pt x="109058" y="97010"/>
                    </a:lnTo>
                    <a:lnTo>
                      <a:pt x="108129" y="98046"/>
                    </a:lnTo>
                    <a:lnTo>
                      <a:pt x="107374" y="98298"/>
                    </a:lnTo>
                    <a:lnTo>
                      <a:pt x="106717" y="98026"/>
                    </a:lnTo>
                    <a:lnTo>
                      <a:pt x="106123" y="97399"/>
                    </a:lnTo>
                    <a:lnTo>
                      <a:pt x="105476" y="97103"/>
                    </a:lnTo>
                    <a:lnTo>
                      <a:pt x="104214" y="97051"/>
                    </a:lnTo>
                    <a:lnTo>
                      <a:pt x="103292" y="95979"/>
                    </a:lnTo>
                    <a:lnTo>
                      <a:pt x="100954" y="94512"/>
                    </a:lnTo>
                    <a:lnTo>
                      <a:pt x="100524" y="93637"/>
                    </a:lnTo>
                    <a:lnTo>
                      <a:pt x="100446" y="92285"/>
                    </a:lnTo>
                    <a:lnTo>
                      <a:pt x="99453" y="91289"/>
                    </a:lnTo>
                    <a:lnTo>
                      <a:pt x="98540" y="89393"/>
                    </a:lnTo>
                    <a:lnTo>
                      <a:pt x="97671" y="88870"/>
                    </a:lnTo>
                    <a:lnTo>
                      <a:pt x="97192" y="87921"/>
                    </a:lnTo>
                    <a:lnTo>
                      <a:pt x="97153" y="87513"/>
                    </a:lnTo>
                    <a:lnTo>
                      <a:pt x="93750" y="87237"/>
                    </a:lnTo>
                    <a:lnTo>
                      <a:pt x="90932" y="87224"/>
                    </a:lnTo>
                    <a:lnTo>
                      <a:pt x="88544" y="86147"/>
                    </a:lnTo>
                    <a:lnTo>
                      <a:pt x="87805" y="83329"/>
                    </a:lnTo>
                    <a:lnTo>
                      <a:pt x="86389" y="82571"/>
                    </a:lnTo>
                    <a:lnTo>
                      <a:pt x="85326" y="81773"/>
                    </a:lnTo>
                    <a:lnTo>
                      <a:pt x="84441" y="80667"/>
                    </a:lnTo>
                    <a:lnTo>
                      <a:pt x="82204" y="78627"/>
                    </a:lnTo>
                    <a:lnTo>
                      <a:pt x="79729" y="76918"/>
                    </a:lnTo>
                    <a:lnTo>
                      <a:pt x="77337" y="75793"/>
                    </a:lnTo>
                    <a:lnTo>
                      <a:pt x="74797" y="75055"/>
                    </a:lnTo>
                    <a:lnTo>
                      <a:pt x="72733" y="75926"/>
                    </a:lnTo>
                    <a:lnTo>
                      <a:pt x="71530" y="75719"/>
                    </a:lnTo>
                    <a:lnTo>
                      <a:pt x="71286" y="75130"/>
                    </a:lnTo>
                    <a:lnTo>
                      <a:pt x="73851" y="73957"/>
                    </a:lnTo>
                    <a:lnTo>
                      <a:pt x="77378" y="71714"/>
                    </a:lnTo>
                    <a:lnTo>
                      <a:pt x="79863" y="70973"/>
                    </a:lnTo>
                    <a:close/>
                    <a:moveTo>
                      <a:pt x="87287" y="66387"/>
                    </a:moveTo>
                    <a:lnTo>
                      <a:pt x="91396" y="68825"/>
                    </a:lnTo>
                    <a:lnTo>
                      <a:pt x="90409" y="69700"/>
                    </a:lnTo>
                    <a:lnTo>
                      <a:pt x="88883" y="69317"/>
                    </a:lnTo>
                    <a:close/>
                    <a:moveTo>
                      <a:pt x="95622" y="64855"/>
                    </a:moveTo>
                    <a:lnTo>
                      <a:pt x="94933" y="66595"/>
                    </a:lnTo>
                    <a:lnTo>
                      <a:pt x="93789" y="67688"/>
                    </a:lnTo>
                    <a:lnTo>
                      <a:pt x="92755" y="67992"/>
                    </a:lnTo>
                    <a:lnTo>
                      <a:pt x="93791" y="65926"/>
                    </a:lnTo>
                    <a:close/>
                    <a:moveTo>
                      <a:pt x="148180" y="61866"/>
                    </a:moveTo>
                    <a:lnTo>
                      <a:pt x="149559" y="63255"/>
                    </a:lnTo>
                    <a:lnTo>
                      <a:pt x="149175" y="64793"/>
                    </a:lnTo>
                    <a:lnTo>
                      <a:pt x="152233" y="67340"/>
                    </a:lnTo>
                    <a:lnTo>
                      <a:pt x="153276" y="68951"/>
                    </a:lnTo>
                    <a:lnTo>
                      <a:pt x="153660" y="70521"/>
                    </a:lnTo>
                    <a:lnTo>
                      <a:pt x="153403" y="70971"/>
                    </a:lnTo>
                    <a:lnTo>
                      <a:pt x="152243" y="70120"/>
                    </a:lnTo>
                    <a:lnTo>
                      <a:pt x="151296" y="69849"/>
                    </a:lnTo>
                    <a:lnTo>
                      <a:pt x="151615" y="70971"/>
                    </a:lnTo>
                    <a:lnTo>
                      <a:pt x="152589" y="71935"/>
                    </a:lnTo>
                    <a:lnTo>
                      <a:pt x="150855" y="72487"/>
                    </a:lnTo>
                    <a:lnTo>
                      <a:pt x="149117" y="72458"/>
                    </a:lnTo>
                    <a:lnTo>
                      <a:pt x="144046" y="71115"/>
                    </a:lnTo>
                    <a:lnTo>
                      <a:pt x="142876" y="69688"/>
                    </a:lnTo>
                    <a:lnTo>
                      <a:pt x="145910" y="67538"/>
                    </a:lnTo>
                    <a:lnTo>
                      <a:pt x="146530" y="66672"/>
                    </a:lnTo>
                    <a:lnTo>
                      <a:pt x="144381" y="66757"/>
                    </a:lnTo>
                    <a:lnTo>
                      <a:pt x="142090" y="69311"/>
                    </a:lnTo>
                    <a:lnTo>
                      <a:pt x="138417" y="68189"/>
                    </a:lnTo>
                    <a:lnTo>
                      <a:pt x="137294" y="67162"/>
                    </a:lnTo>
                    <a:lnTo>
                      <a:pt x="137043" y="66608"/>
                    </a:lnTo>
                    <a:lnTo>
                      <a:pt x="138490" y="64341"/>
                    </a:lnTo>
                    <a:lnTo>
                      <a:pt x="141075" y="64417"/>
                    </a:lnTo>
                    <a:lnTo>
                      <a:pt x="142444" y="63907"/>
                    </a:lnTo>
                    <a:lnTo>
                      <a:pt x="144135" y="63190"/>
                    </a:lnTo>
                    <a:lnTo>
                      <a:pt x="144148" y="62112"/>
                    </a:lnTo>
                    <a:close/>
                    <a:moveTo>
                      <a:pt x="4248" y="50509"/>
                    </a:moveTo>
                    <a:lnTo>
                      <a:pt x="5422" y="51103"/>
                    </a:lnTo>
                    <a:lnTo>
                      <a:pt x="6182" y="51716"/>
                    </a:lnTo>
                    <a:lnTo>
                      <a:pt x="6420" y="52418"/>
                    </a:lnTo>
                    <a:lnTo>
                      <a:pt x="4770" y="53826"/>
                    </a:lnTo>
                    <a:lnTo>
                      <a:pt x="4427" y="54463"/>
                    </a:lnTo>
                    <a:lnTo>
                      <a:pt x="5697" y="55727"/>
                    </a:lnTo>
                    <a:lnTo>
                      <a:pt x="5675" y="56233"/>
                    </a:lnTo>
                    <a:lnTo>
                      <a:pt x="6211" y="58677"/>
                    </a:lnTo>
                    <a:lnTo>
                      <a:pt x="6828" y="59599"/>
                    </a:lnTo>
                    <a:lnTo>
                      <a:pt x="8430" y="60334"/>
                    </a:lnTo>
                    <a:lnTo>
                      <a:pt x="9540" y="60577"/>
                    </a:lnTo>
                    <a:lnTo>
                      <a:pt x="10020" y="62032"/>
                    </a:lnTo>
                    <a:lnTo>
                      <a:pt x="7265" y="61129"/>
                    </a:lnTo>
                    <a:lnTo>
                      <a:pt x="5252" y="59829"/>
                    </a:lnTo>
                    <a:lnTo>
                      <a:pt x="3591" y="56615"/>
                    </a:lnTo>
                    <a:lnTo>
                      <a:pt x="54" y="52953"/>
                    </a:lnTo>
                    <a:lnTo>
                      <a:pt x="0" y="51889"/>
                    </a:lnTo>
                    <a:lnTo>
                      <a:pt x="1345" y="51082"/>
                    </a:lnTo>
                    <a:close/>
                    <a:moveTo>
                      <a:pt x="128309" y="44914"/>
                    </a:moveTo>
                    <a:lnTo>
                      <a:pt x="128056" y="46257"/>
                    </a:lnTo>
                    <a:lnTo>
                      <a:pt x="127220" y="47137"/>
                    </a:lnTo>
                    <a:lnTo>
                      <a:pt x="126605" y="48654"/>
                    </a:lnTo>
                    <a:lnTo>
                      <a:pt x="126272" y="50821"/>
                    </a:lnTo>
                    <a:lnTo>
                      <a:pt x="124983" y="50873"/>
                    </a:lnTo>
                    <a:lnTo>
                      <a:pt x="124202" y="50435"/>
                    </a:lnTo>
                    <a:lnTo>
                      <a:pt x="123945" y="49616"/>
                    </a:lnTo>
                    <a:lnTo>
                      <a:pt x="123893" y="48581"/>
                    </a:lnTo>
                    <a:lnTo>
                      <a:pt x="123327" y="48621"/>
                    </a:lnTo>
                    <a:lnTo>
                      <a:pt x="122871" y="49746"/>
                    </a:lnTo>
                    <a:lnTo>
                      <a:pt x="122472" y="50253"/>
                    </a:lnTo>
                    <a:lnTo>
                      <a:pt x="121174" y="50360"/>
                    </a:lnTo>
                    <a:lnTo>
                      <a:pt x="119753" y="49668"/>
                    </a:lnTo>
                    <a:lnTo>
                      <a:pt x="119820" y="48171"/>
                    </a:lnTo>
                    <a:lnTo>
                      <a:pt x="119535" y="46438"/>
                    </a:lnTo>
                    <a:lnTo>
                      <a:pt x="119660" y="45831"/>
                    </a:lnTo>
                    <a:lnTo>
                      <a:pt x="123556" y="45681"/>
                    </a:lnTo>
                    <a:lnTo>
                      <a:pt x="124696" y="46961"/>
                    </a:lnTo>
                    <a:lnTo>
                      <a:pt x="126074" y="46219"/>
                    </a:lnTo>
                    <a:lnTo>
                      <a:pt x="126639" y="45417"/>
                    </a:lnTo>
                    <a:close/>
                    <a:moveTo>
                      <a:pt x="130950" y="32341"/>
                    </a:moveTo>
                    <a:lnTo>
                      <a:pt x="132183" y="32966"/>
                    </a:lnTo>
                    <a:lnTo>
                      <a:pt x="133066" y="33702"/>
                    </a:lnTo>
                    <a:lnTo>
                      <a:pt x="133541" y="34679"/>
                    </a:lnTo>
                    <a:lnTo>
                      <a:pt x="131040" y="35363"/>
                    </a:lnTo>
                    <a:lnTo>
                      <a:pt x="128285" y="33206"/>
                    </a:lnTo>
                    <a:close/>
                    <a:moveTo>
                      <a:pt x="110049" y="25075"/>
                    </a:moveTo>
                    <a:lnTo>
                      <a:pt x="112167" y="25249"/>
                    </a:lnTo>
                    <a:lnTo>
                      <a:pt x="113372" y="26719"/>
                    </a:lnTo>
                    <a:lnTo>
                      <a:pt x="113653" y="27413"/>
                    </a:lnTo>
                    <a:lnTo>
                      <a:pt x="113262" y="28592"/>
                    </a:lnTo>
                    <a:lnTo>
                      <a:pt x="113385" y="29738"/>
                    </a:lnTo>
                    <a:lnTo>
                      <a:pt x="110548" y="30675"/>
                    </a:lnTo>
                    <a:lnTo>
                      <a:pt x="107665" y="28903"/>
                    </a:lnTo>
                    <a:lnTo>
                      <a:pt x="107691" y="27849"/>
                    </a:lnTo>
                    <a:lnTo>
                      <a:pt x="109213" y="25709"/>
                    </a:lnTo>
                    <a:close/>
                    <a:moveTo>
                      <a:pt x="144925" y="0"/>
                    </a:moveTo>
                    <a:lnTo>
                      <a:pt x="147585" y="721"/>
                    </a:lnTo>
                    <a:lnTo>
                      <a:pt x="149568" y="1256"/>
                    </a:lnTo>
                    <a:lnTo>
                      <a:pt x="150717" y="2129"/>
                    </a:lnTo>
                    <a:lnTo>
                      <a:pt x="151436" y="2926"/>
                    </a:lnTo>
                    <a:lnTo>
                      <a:pt x="152530" y="3614"/>
                    </a:lnTo>
                    <a:lnTo>
                      <a:pt x="153345" y="3772"/>
                    </a:lnTo>
                    <a:lnTo>
                      <a:pt x="153973" y="6128"/>
                    </a:lnTo>
                    <a:lnTo>
                      <a:pt x="154308" y="9045"/>
                    </a:lnTo>
                    <a:lnTo>
                      <a:pt x="153809" y="10301"/>
                    </a:lnTo>
                    <a:lnTo>
                      <a:pt x="152351" y="10592"/>
                    </a:lnTo>
                    <a:lnTo>
                      <a:pt x="147802" y="13345"/>
                    </a:lnTo>
                    <a:lnTo>
                      <a:pt x="147692" y="15861"/>
                    </a:lnTo>
                    <a:lnTo>
                      <a:pt x="147752" y="17079"/>
                    </a:lnTo>
                    <a:lnTo>
                      <a:pt x="147845" y="17940"/>
                    </a:lnTo>
                    <a:lnTo>
                      <a:pt x="148320" y="18665"/>
                    </a:lnTo>
                    <a:lnTo>
                      <a:pt x="148320" y="19710"/>
                    </a:lnTo>
                    <a:lnTo>
                      <a:pt x="147810" y="20829"/>
                    </a:lnTo>
                    <a:lnTo>
                      <a:pt x="145823" y="22703"/>
                    </a:lnTo>
                    <a:lnTo>
                      <a:pt x="144446" y="24193"/>
                    </a:lnTo>
                    <a:lnTo>
                      <a:pt x="142904" y="26211"/>
                    </a:lnTo>
                    <a:lnTo>
                      <a:pt x="142032" y="26457"/>
                    </a:lnTo>
                    <a:lnTo>
                      <a:pt x="141352" y="26812"/>
                    </a:lnTo>
                    <a:lnTo>
                      <a:pt x="140727" y="25699"/>
                    </a:lnTo>
                    <a:lnTo>
                      <a:pt x="137298" y="23731"/>
                    </a:lnTo>
                    <a:lnTo>
                      <a:pt x="129362" y="22583"/>
                    </a:lnTo>
                    <a:lnTo>
                      <a:pt x="125571" y="21129"/>
                    </a:lnTo>
                    <a:lnTo>
                      <a:pt x="123908" y="21399"/>
                    </a:lnTo>
                    <a:lnTo>
                      <a:pt x="120688" y="19771"/>
                    </a:lnTo>
                    <a:lnTo>
                      <a:pt x="118481" y="20486"/>
                    </a:lnTo>
                    <a:lnTo>
                      <a:pt x="113800" y="23378"/>
                    </a:lnTo>
                    <a:lnTo>
                      <a:pt x="111273" y="23064"/>
                    </a:lnTo>
                    <a:lnTo>
                      <a:pt x="108572" y="21326"/>
                    </a:lnTo>
                    <a:lnTo>
                      <a:pt x="106814" y="21006"/>
                    </a:lnTo>
                    <a:lnTo>
                      <a:pt x="104752" y="21927"/>
                    </a:lnTo>
                    <a:lnTo>
                      <a:pt x="101448" y="25253"/>
                    </a:lnTo>
                    <a:lnTo>
                      <a:pt x="98086" y="26882"/>
                    </a:lnTo>
                    <a:lnTo>
                      <a:pt x="95074" y="26245"/>
                    </a:lnTo>
                    <a:lnTo>
                      <a:pt x="91021" y="26259"/>
                    </a:lnTo>
                    <a:lnTo>
                      <a:pt x="90588" y="28117"/>
                    </a:lnTo>
                    <a:lnTo>
                      <a:pt x="91373" y="29402"/>
                    </a:lnTo>
                    <a:lnTo>
                      <a:pt x="93588" y="31593"/>
                    </a:lnTo>
                    <a:lnTo>
                      <a:pt x="92549" y="33239"/>
                    </a:lnTo>
                    <a:lnTo>
                      <a:pt x="93320" y="34888"/>
                    </a:lnTo>
                    <a:lnTo>
                      <a:pt x="94763" y="35223"/>
                    </a:lnTo>
                    <a:lnTo>
                      <a:pt x="96942" y="35130"/>
                    </a:lnTo>
                    <a:lnTo>
                      <a:pt x="100971" y="37263"/>
                    </a:lnTo>
                    <a:lnTo>
                      <a:pt x="102733" y="39510"/>
                    </a:lnTo>
                    <a:lnTo>
                      <a:pt x="103858" y="41968"/>
                    </a:lnTo>
                    <a:lnTo>
                      <a:pt x="101405" y="40206"/>
                    </a:lnTo>
                    <a:lnTo>
                      <a:pt x="99777" y="38511"/>
                    </a:lnTo>
                    <a:lnTo>
                      <a:pt x="97505" y="37896"/>
                    </a:lnTo>
                    <a:lnTo>
                      <a:pt x="94346" y="36452"/>
                    </a:lnTo>
                    <a:lnTo>
                      <a:pt x="92362" y="36211"/>
                    </a:lnTo>
                    <a:lnTo>
                      <a:pt x="90250" y="37212"/>
                    </a:lnTo>
                    <a:lnTo>
                      <a:pt x="90085" y="38348"/>
                    </a:lnTo>
                    <a:lnTo>
                      <a:pt x="92362" y="40468"/>
                    </a:lnTo>
                    <a:lnTo>
                      <a:pt x="94443" y="41772"/>
                    </a:lnTo>
                    <a:lnTo>
                      <a:pt x="95547" y="42833"/>
                    </a:lnTo>
                    <a:lnTo>
                      <a:pt x="96283" y="45180"/>
                    </a:lnTo>
                    <a:lnTo>
                      <a:pt x="95864" y="45977"/>
                    </a:lnTo>
                    <a:lnTo>
                      <a:pt x="95095" y="46719"/>
                    </a:lnTo>
                    <a:lnTo>
                      <a:pt x="92625" y="45241"/>
                    </a:lnTo>
                    <a:lnTo>
                      <a:pt x="88848" y="39980"/>
                    </a:lnTo>
                    <a:lnTo>
                      <a:pt x="83579" y="38931"/>
                    </a:lnTo>
                    <a:lnTo>
                      <a:pt x="82698" y="40029"/>
                    </a:lnTo>
                    <a:lnTo>
                      <a:pt x="83733" y="42811"/>
                    </a:lnTo>
                    <a:lnTo>
                      <a:pt x="84482" y="43894"/>
                    </a:lnTo>
                    <a:lnTo>
                      <a:pt x="89060" y="46894"/>
                    </a:lnTo>
                    <a:lnTo>
                      <a:pt x="88693" y="47530"/>
                    </a:lnTo>
                    <a:lnTo>
                      <a:pt x="88025" y="47801"/>
                    </a:lnTo>
                    <a:lnTo>
                      <a:pt x="82901" y="46087"/>
                    </a:lnTo>
                    <a:lnTo>
                      <a:pt x="81411" y="43476"/>
                    </a:lnTo>
                    <a:lnTo>
                      <a:pt x="81053" y="40173"/>
                    </a:lnTo>
                    <a:lnTo>
                      <a:pt x="76324" y="37877"/>
                    </a:lnTo>
                    <a:lnTo>
                      <a:pt x="71864" y="35377"/>
                    </a:lnTo>
                    <a:lnTo>
                      <a:pt x="70867" y="33002"/>
                    </a:lnTo>
                    <a:lnTo>
                      <a:pt x="71785" y="32121"/>
                    </a:lnTo>
                    <a:lnTo>
                      <a:pt x="72435" y="30375"/>
                    </a:lnTo>
                    <a:lnTo>
                      <a:pt x="69984" y="30697"/>
                    </a:lnTo>
                    <a:lnTo>
                      <a:pt x="68446" y="31801"/>
                    </a:lnTo>
                    <a:lnTo>
                      <a:pt x="65961" y="32872"/>
                    </a:lnTo>
                    <a:lnTo>
                      <a:pt x="65859" y="34625"/>
                    </a:lnTo>
                    <a:lnTo>
                      <a:pt x="66252" y="36248"/>
                    </a:lnTo>
                    <a:lnTo>
                      <a:pt x="65430" y="38606"/>
                    </a:lnTo>
                    <a:lnTo>
                      <a:pt x="64631" y="42709"/>
                    </a:lnTo>
                    <a:lnTo>
                      <a:pt x="65136" y="44859"/>
                    </a:lnTo>
                    <a:lnTo>
                      <a:pt x="70521" y="51017"/>
                    </a:lnTo>
                    <a:lnTo>
                      <a:pt x="72363" y="55482"/>
                    </a:lnTo>
                    <a:lnTo>
                      <a:pt x="73685" y="57173"/>
                    </a:lnTo>
                    <a:lnTo>
                      <a:pt x="76441" y="59037"/>
                    </a:lnTo>
                    <a:lnTo>
                      <a:pt x="79314" y="62503"/>
                    </a:lnTo>
                    <a:lnTo>
                      <a:pt x="80533" y="64308"/>
                    </a:lnTo>
                    <a:lnTo>
                      <a:pt x="81400" y="67259"/>
                    </a:lnTo>
                    <a:lnTo>
                      <a:pt x="78982" y="69084"/>
                    </a:lnTo>
                    <a:lnTo>
                      <a:pt x="77574" y="69160"/>
                    </a:lnTo>
                    <a:lnTo>
                      <a:pt x="76794" y="68350"/>
                    </a:lnTo>
                    <a:lnTo>
                      <a:pt x="77885" y="66339"/>
                    </a:lnTo>
                    <a:lnTo>
                      <a:pt x="77730" y="65113"/>
                    </a:lnTo>
                    <a:lnTo>
                      <a:pt x="73996" y="63214"/>
                    </a:lnTo>
                    <a:lnTo>
                      <a:pt x="72415" y="63854"/>
                    </a:lnTo>
                    <a:lnTo>
                      <a:pt x="70593" y="65091"/>
                    </a:lnTo>
                    <a:lnTo>
                      <a:pt x="71633" y="67387"/>
                    </a:lnTo>
                    <a:lnTo>
                      <a:pt x="72804" y="68899"/>
                    </a:lnTo>
                    <a:lnTo>
                      <a:pt x="73391" y="70984"/>
                    </a:lnTo>
                    <a:lnTo>
                      <a:pt x="75629" y="70803"/>
                    </a:lnTo>
                    <a:lnTo>
                      <a:pt x="72616" y="73135"/>
                    </a:lnTo>
                    <a:lnTo>
                      <a:pt x="69789" y="74326"/>
                    </a:lnTo>
                    <a:lnTo>
                      <a:pt x="67008" y="74395"/>
                    </a:lnTo>
                    <a:lnTo>
                      <a:pt x="65237" y="74611"/>
                    </a:lnTo>
                    <a:lnTo>
                      <a:pt x="64627" y="75207"/>
                    </a:lnTo>
                    <a:lnTo>
                      <a:pt x="66067" y="75641"/>
                    </a:lnTo>
                    <a:lnTo>
                      <a:pt x="67243" y="75680"/>
                    </a:lnTo>
                    <a:lnTo>
                      <a:pt x="69157" y="76939"/>
                    </a:lnTo>
                    <a:lnTo>
                      <a:pt x="74603" y="78449"/>
                    </a:lnTo>
                    <a:lnTo>
                      <a:pt x="77198" y="80355"/>
                    </a:lnTo>
                    <a:lnTo>
                      <a:pt x="79747" y="80529"/>
                    </a:lnTo>
                    <a:lnTo>
                      <a:pt x="82312" y="84025"/>
                    </a:lnTo>
                    <a:lnTo>
                      <a:pt x="86749" y="84955"/>
                    </a:lnTo>
                    <a:lnTo>
                      <a:pt x="89278" y="88478"/>
                    </a:lnTo>
                    <a:lnTo>
                      <a:pt x="92640" y="89171"/>
                    </a:lnTo>
                    <a:lnTo>
                      <a:pt x="95536" y="90469"/>
                    </a:lnTo>
                    <a:lnTo>
                      <a:pt x="96384" y="91707"/>
                    </a:lnTo>
                    <a:lnTo>
                      <a:pt x="96807" y="93941"/>
                    </a:lnTo>
                    <a:lnTo>
                      <a:pt x="96995" y="98672"/>
                    </a:lnTo>
                    <a:lnTo>
                      <a:pt x="97622" y="102191"/>
                    </a:lnTo>
                    <a:lnTo>
                      <a:pt x="97643" y="103303"/>
                    </a:lnTo>
                    <a:lnTo>
                      <a:pt x="97490" y="104963"/>
                    </a:lnTo>
                    <a:lnTo>
                      <a:pt x="96702" y="105778"/>
                    </a:lnTo>
                    <a:lnTo>
                      <a:pt x="95637" y="105803"/>
                    </a:lnTo>
                    <a:lnTo>
                      <a:pt x="93553" y="103219"/>
                    </a:lnTo>
                    <a:lnTo>
                      <a:pt x="90357" y="100497"/>
                    </a:lnTo>
                    <a:lnTo>
                      <a:pt x="86989" y="97256"/>
                    </a:lnTo>
                    <a:lnTo>
                      <a:pt x="86032" y="96687"/>
                    </a:lnTo>
                    <a:lnTo>
                      <a:pt x="85249" y="96633"/>
                    </a:lnTo>
                    <a:lnTo>
                      <a:pt x="83446" y="97730"/>
                    </a:lnTo>
                    <a:lnTo>
                      <a:pt x="78436" y="98577"/>
                    </a:lnTo>
                    <a:lnTo>
                      <a:pt x="76086" y="99761"/>
                    </a:lnTo>
                    <a:lnTo>
                      <a:pt x="75203" y="100022"/>
                    </a:lnTo>
                    <a:lnTo>
                      <a:pt x="74957" y="100643"/>
                    </a:lnTo>
                    <a:lnTo>
                      <a:pt x="76058" y="101290"/>
                    </a:lnTo>
                    <a:lnTo>
                      <a:pt x="77408" y="102770"/>
                    </a:lnTo>
                    <a:lnTo>
                      <a:pt x="77408" y="104793"/>
                    </a:lnTo>
                    <a:lnTo>
                      <a:pt x="78522" y="107248"/>
                    </a:lnTo>
                    <a:lnTo>
                      <a:pt x="79962" y="107882"/>
                    </a:lnTo>
                    <a:lnTo>
                      <a:pt x="81839" y="107828"/>
                    </a:lnTo>
                    <a:lnTo>
                      <a:pt x="82914" y="108281"/>
                    </a:lnTo>
                    <a:lnTo>
                      <a:pt x="83193" y="109258"/>
                    </a:lnTo>
                    <a:lnTo>
                      <a:pt x="84283" y="110398"/>
                    </a:lnTo>
                    <a:lnTo>
                      <a:pt x="85002" y="111242"/>
                    </a:lnTo>
                    <a:lnTo>
                      <a:pt x="84972" y="111846"/>
                    </a:lnTo>
                    <a:lnTo>
                      <a:pt x="79738" y="113451"/>
                    </a:lnTo>
                    <a:lnTo>
                      <a:pt x="78643" y="114184"/>
                    </a:lnTo>
                    <a:lnTo>
                      <a:pt x="77725" y="114559"/>
                    </a:lnTo>
                    <a:lnTo>
                      <a:pt x="76365" y="113796"/>
                    </a:lnTo>
                    <a:lnTo>
                      <a:pt x="76287" y="111836"/>
                    </a:lnTo>
                    <a:lnTo>
                      <a:pt x="74488" y="110784"/>
                    </a:lnTo>
                    <a:lnTo>
                      <a:pt x="72838" y="109883"/>
                    </a:lnTo>
                    <a:lnTo>
                      <a:pt x="70861" y="109496"/>
                    </a:lnTo>
                    <a:lnTo>
                      <a:pt x="69178" y="108146"/>
                    </a:lnTo>
                    <a:lnTo>
                      <a:pt x="68081" y="109243"/>
                    </a:lnTo>
                    <a:lnTo>
                      <a:pt x="68958" y="113042"/>
                    </a:lnTo>
                    <a:lnTo>
                      <a:pt x="70861" y="115656"/>
                    </a:lnTo>
                    <a:lnTo>
                      <a:pt x="74043" y="122656"/>
                    </a:lnTo>
                    <a:lnTo>
                      <a:pt x="75488" y="126783"/>
                    </a:lnTo>
                    <a:lnTo>
                      <a:pt x="75780" y="128778"/>
                    </a:lnTo>
                    <a:lnTo>
                      <a:pt x="75060" y="132087"/>
                    </a:lnTo>
                    <a:lnTo>
                      <a:pt x="76624" y="134544"/>
                    </a:lnTo>
                    <a:lnTo>
                      <a:pt x="77695" y="137065"/>
                    </a:lnTo>
                    <a:lnTo>
                      <a:pt x="76516" y="136970"/>
                    </a:lnTo>
                    <a:lnTo>
                      <a:pt x="75493" y="136081"/>
                    </a:lnTo>
                    <a:lnTo>
                      <a:pt x="73776" y="135032"/>
                    </a:lnTo>
                    <a:lnTo>
                      <a:pt x="70446" y="131007"/>
                    </a:lnTo>
                    <a:lnTo>
                      <a:pt x="69286" y="128493"/>
                    </a:lnTo>
                    <a:lnTo>
                      <a:pt x="67900" y="128296"/>
                    </a:lnTo>
                    <a:lnTo>
                      <a:pt x="65494" y="128657"/>
                    </a:lnTo>
                    <a:lnTo>
                      <a:pt x="62856" y="134024"/>
                    </a:lnTo>
                    <a:lnTo>
                      <a:pt x="62864" y="137095"/>
                    </a:lnTo>
                    <a:lnTo>
                      <a:pt x="61500" y="136364"/>
                    </a:lnTo>
                    <a:lnTo>
                      <a:pt x="60329" y="135407"/>
                    </a:lnTo>
                    <a:lnTo>
                      <a:pt x="60472" y="132045"/>
                    </a:lnTo>
                    <a:lnTo>
                      <a:pt x="60355" y="130632"/>
                    </a:lnTo>
                    <a:lnTo>
                      <a:pt x="57153" y="126045"/>
                    </a:lnTo>
                    <a:lnTo>
                      <a:pt x="55684" y="125530"/>
                    </a:lnTo>
                    <a:lnTo>
                      <a:pt x="55000" y="123978"/>
                    </a:lnTo>
                    <a:lnTo>
                      <a:pt x="53821" y="122324"/>
                    </a:lnTo>
                    <a:lnTo>
                      <a:pt x="52301" y="122641"/>
                    </a:lnTo>
                    <a:lnTo>
                      <a:pt x="51059" y="123312"/>
                    </a:lnTo>
                    <a:lnTo>
                      <a:pt x="50716" y="125811"/>
                    </a:lnTo>
                    <a:lnTo>
                      <a:pt x="50588" y="128050"/>
                    </a:lnTo>
                    <a:lnTo>
                      <a:pt x="49662" y="129734"/>
                    </a:lnTo>
                    <a:lnTo>
                      <a:pt x="46250" y="126536"/>
                    </a:lnTo>
                    <a:lnTo>
                      <a:pt x="42819" y="121001"/>
                    </a:lnTo>
                    <a:lnTo>
                      <a:pt x="42728" y="117960"/>
                    </a:lnTo>
                    <a:lnTo>
                      <a:pt x="45242" y="115185"/>
                    </a:lnTo>
                    <a:lnTo>
                      <a:pt x="44941" y="113198"/>
                    </a:lnTo>
                    <a:lnTo>
                      <a:pt x="42562" y="109272"/>
                    </a:lnTo>
                    <a:lnTo>
                      <a:pt x="39133" y="106744"/>
                    </a:lnTo>
                    <a:lnTo>
                      <a:pt x="37211" y="105993"/>
                    </a:lnTo>
                    <a:lnTo>
                      <a:pt x="36308" y="103303"/>
                    </a:lnTo>
                    <a:lnTo>
                      <a:pt x="34468" y="101912"/>
                    </a:lnTo>
                    <a:lnTo>
                      <a:pt x="32980" y="101264"/>
                    </a:lnTo>
                    <a:lnTo>
                      <a:pt x="32687" y="100305"/>
                    </a:lnTo>
                    <a:lnTo>
                      <a:pt x="33136" y="99595"/>
                    </a:lnTo>
                    <a:lnTo>
                      <a:pt x="36742" y="96823"/>
                    </a:lnTo>
                    <a:lnTo>
                      <a:pt x="38856" y="92481"/>
                    </a:lnTo>
                    <a:lnTo>
                      <a:pt x="39906" y="92274"/>
                    </a:lnTo>
                    <a:lnTo>
                      <a:pt x="42063" y="93304"/>
                    </a:lnTo>
                    <a:lnTo>
                      <a:pt x="44488" y="93035"/>
                    </a:lnTo>
                    <a:lnTo>
                      <a:pt x="46479" y="90489"/>
                    </a:lnTo>
                    <a:lnTo>
                      <a:pt x="48165" y="89103"/>
                    </a:lnTo>
                    <a:lnTo>
                      <a:pt x="51009" y="89282"/>
                    </a:lnTo>
                    <a:lnTo>
                      <a:pt x="57431" y="92685"/>
                    </a:lnTo>
                    <a:lnTo>
                      <a:pt x="64333" y="94623"/>
                    </a:lnTo>
                    <a:lnTo>
                      <a:pt x="67775" y="96324"/>
                    </a:lnTo>
                    <a:lnTo>
                      <a:pt x="69722" y="98009"/>
                    </a:lnTo>
                    <a:lnTo>
                      <a:pt x="70757" y="98358"/>
                    </a:lnTo>
                    <a:lnTo>
                      <a:pt x="72392" y="98596"/>
                    </a:lnTo>
                    <a:lnTo>
                      <a:pt x="72318" y="97336"/>
                    </a:lnTo>
                    <a:lnTo>
                      <a:pt x="71791" y="96221"/>
                    </a:lnTo>
                    <a:lnTo>
                      <a:pt x="73154" y="95614"/>
                    </a:lnTo>
                    <a:lnTo>
                      <a:pt x="76853" y="95646"/>
                    </a:lnTo>
                    <a:lnTo>
                      <a:pt x="77526" y="95055"/>
                    </a:lnTo>
                    <a:lnTo>
                      <a:pt x="78211" y="94098"/>
                    </a:lnTo>
                    <a:lnTo>
                      <a:pt x="77447" y="93010"/>
                    </a:lnTo>
                    <a:lnTo>
                      <a:pt x="76222" y="92487"/>
                    </a:lnTo>
                    <a:lnTo>
                      <a:pt x="74913" y="92342"/>
                    </a:lnTo>
                    <a:lnTo>
                      <a:pt x="74052" y="91997"/>
                    </a:lnTo>
                    <a:lnTo>
                      <a:pt x="72661" y="92345"/>
                    </a:lnTo>
                    <a:lnTo>
                      <a:pt x="70491" y="91504"/>
                    </a:lnTo>
                    <a:lnTo>
                      <a:pt x="69370" y="90810"/>
                    </a:lnTo>
                    <a:lnTo>
                      <a:pt x="68712" y="90096"/>
                    </a:lnTo>
                    <a:lnTo>
                      <a:pt x="64942" y="88672"/>
                    </a:lnTo>
                    <a:lnTo>
                      <a:pt x="61366" y="86264"/>
                    </a:lnTo>
                    <a:lnTo>
                      <a:pt x="60560" y="87627"/>
                    </a:lnTo>
                    <a:lnTo>
                      <a:pt x="59116" y="88366"/>
                    </a:lnTo>
                    <a:lnTo>
                      <a:pt x="57058" y="88468"/>
                    </a:lnTo>
                    <a:lnTo>
                      <a:pt x="51275" y="86935"/>
                    </a:lnTo>
                    <a:lnTo>
                      <a:pt x="47722" y="88105"/>
                    </a:lnTo>
                    <a:lnTo>
                      <a:pt x="45786" y="88412"/>
                    </a:lnTo>
                    <a:lnTo>
                      <a:pt x="44304" y="88438"/>
                    </a:lnTo>
                    <a:lnTo>
                      <a:pt x="42482" y="88963"/>
                    </a:lnTo>
                    <a:lnTo>
                      <a:pt x="40379" y="89277"/>
                    </a:lnTo>
                    <a:lnTo>
                      <a:pt x="38556" y="87054"/>
                    </a:lnTo>
                    <a:lnTo>
                      <a:pt x="37789" y="85331"/>
                    </a:lnTo>
                    <a:lnTo>
                      <a:pt x="37249" y="85009"/>
                    </a:lnTo>
                    <a:lnTo>
                      <a:pt x="37222" y="86628"/>
                    </a:lnTo>
                    <a:lnTo>
                      <a:pt x="36636" y="87926"/>
                    </a:lnTo>
                    <a:lnTo>
                      <a:pt x="33968" y="88655"/>
                    </a:lnTo>
                    <a:lnTo>
                      <a:pt x="32432" y="87650"/>
                    </a:lnTo>
                    <a:lnTo>
                      <a:pt x="31251" y="84598"/>
                    </a:lnTo>
                    <a:lnTo>
                      <a:pt x="29757" y="80715"/>
                    </a:lnTo>
                    <a:lnTo>
                      <a:pt x="27126" y="77576"/>
                    </a:lnTo>
                    <a:lnTo>
                      <a:pt x="24995" y="76755"/>
                    </a:lnTo>
                    <a:lnTo>
                      <a:pt x="24811" y="75029"/>
                    </a:lnTo>
                    <a:lnTo>
                      <a:pt x="25006" y="73647"/>
                    </a:lnTo>
                    <a:lnTo>
                      <a:pt x="27567" y="73306"/>
                    </a:lnTo>
                    <a:lnTo>
                      <a:pt x="31570" y="74751"/>
                    </a:lnTo>
                    <a:lnTo>
                      <a:pt x="32397" y="74464"/>
                    </a:lnTo>
                    <a:lnTo>
                      <a:pt x="33298" y="73797"/>
                    </a:lnTo>
                    <a:lnTo>
                      <a:pt x="33125" y="72322"/>
                    </a:lnTo>
                    <a:lnTo>
                      <a:pt x="32547" y="71008"/>
                    </a:lnTo>
                    <a:lnTo>
                      <a:pt x="31445" y="70949"/>
                    </a:lnTo>
                    <a:lnTo>
                      <a:pt x="30683" y="71105"/>
                    </a:lnTo>
                    <a:lnTo>
                      <a:pt x="28221" y="70833"/>
                    </a:lnTo>
                    <a:lnTo>
                      <a:pt x="25058" y="71563"/>
                    </a:lnTo>
                    <a:lnTo>
                      <a:pt x="23591" y="70875"/>
                    </a:lnTo>
                    <a:lnTo>
                      <a:pt x="23103" y="70039"/>
                    </a:lnTo>
                    <a:lnTo>
                      <a:pt x="20458" y="67963"/>
                    </a:lnTo>
                    <a:lnTo>
                      <a:pt x="18172" y="65177"/>
                    </a:lnTo>
                    <a:lnTo>
                      <a:pt x="14468" y="63316"/>
                    </a:lnTo>
                    <a:lnTo>
                      <a:pt x="12049" y="57641"/>
                    </a:lnTo>
                    <a:lnTo>
                      <a:pt x="10015" y="55161"/>
                    </a:lnTo>
                    <a:lnTo>
                      <a:pt x="7845" y="53389"/>
                    </a:lnTo>
                    <a:lnTo>
                      <a:pt x="8316" y="53356"/>
                    </a:lnTo>
                    <a:lnTo>
                      <a:pt x="9139" y="53657"/>
                    </a:lnTo>
                    <a:lnTo>
                      <a:pt x="10715" y="54632"/>
                    </a:lnTo>
                    <a:lnTo>
                      <a:pt x="12391" y="54842"/>
                    </a:lnTo>
                    <a:lnTo>
                      <a:pt x="13306" y="54196"/>
                    </a:lnTo>
                    <a:lnTo>
                      <a:pt x="13833" y="53603"/>
                    </a:lnTo>
                    <a:lnTo>
                      <a:pt x="14176" y="52630"/>
                    </a:lnTo>
                    <a:lnTo>
                      <a:pt x="14315" y="51495"/>
                    </a:lnTo>
                    <a:lnTo>
                      <a:pt x="14587" y="51119"/>
                    </a:lnTo>
                    <a:lnTo>
                      <a:pt x="15867" y="51247"/>
                    </a:lnTo>
                    <a:lnTo>
                      <a:pt x="16273" y="50964"/>
                    </a:lnTo>
                    <a:lnTo>
                      <a:pt x="16256" y="49944"/>
                    </a:lnTo>
                    <a:lnTo>
                      <a:pt x="15429" y="48672"/>
                    </a:lnTo>
                    <a:lnTo>
                      <a:pt x="14701" y="47105"/>
                    </a:lnTo>
                    <a:lnTo>
                      <a:pt x="14697" y="46358"/>
                    </a:lnTo>
                    <a:lnTo>
                      <a:pt x="15302" y="46055"/>
                    </a:lnTo>
                    <a:lnTo>
                      <a:pt x="16302" y="45374"/>
                    </a:lnTo>
                    <a:lnTo>
                      <a:pt x="16839" y="44532"/>
                    </a:lnTo>
                    <a:lnTo>
                      <a:pt x="17901" y="44112"/>
                    </a:lnTo>
                    <a:lnTo>
                      <a:pt x="19472" y="44035"/>
                    </a:lnTo>
                    <a:lnTo>
                      <a:pt x="21223" y="43666"/>
                    </a:lnTo>
                    <a:lnTo>
                      <a:pt x="22354" y="42760"/>
                    </a:lnTo>
                    <a:lnTo>
                      <a:pt x="22521" y="41862"/>
                    </a:lnTo>
                    <a:lnTo>
                      <a:pt x="23229" y="39391"/>
                    </a:lnTo>
                    <a:lnTo>
                      <a:pt x="23691" y="38181"/>
                    </a:lnTo>
                    <a:lnTo>
                      <a:pt x="24438" y="37076"/>
                    </a:lnTo>
                    <a:lnTo>
                      <a:pt x="24844" y="35586"/>
                    </a:lnTo>
                    <a:lnTo>
                      <a:pt x="25641" y="34184"/>
                    </a:lnTo>
                    <a:lnTo>
                      <a:pt x="27312" y="33596"/>
                    </a:lnTo>
                    <a:lnTo>
                      <a:pt x="28828" y="32903"/>
                    </a:lnTo>
                    <a:lnTo>
                      <a:pt x="29972" y="31096"/>
                    </a:lnTo>
                    <a:lnTo>
                      <a:pt x="30612" y="29547"/>
                    </a:lnTo>
                    <a:lnTo>
                      <a:pt x="30616" y="28599"/>
                    </a:lnTo>
                    <a:lnTo>
                      <a:pt x="29662" y="27047"/>
                    </a:lnTo>
                    <a:lnTo>
                      <a:pt x="28951" y="25538"/>
                    </a:lnTo>
                    <a:lnTo>
                      <a:pt x="29139" y="23578"/>
                    </a:lnTo>
                    <a:lnTo>
                      <a:pt x="32141" y="23414"/>
                    </a:lnTo>
                    <a:lnTo>
                      <a:pt x="33192" y="23231"/>
                    </a:lnTo>
                    <a:lnTo>
                      <a:pt x="37088" y="23125"/>
                    </a:lnTo>
                    <a:lnTo>
                      <a:pt x="38865" y="22073"/>
                    </a:lnTo>
                    <a:lnTo>
                      <a:pt x="40094" y="22167"/>
                    </a:lnTo>
                    <a:lnTo>
                      <a:pt x="42661" y="23078"/>
                    </a:lnTo>
                    <a:lnTo>
                      <a:pt x="43806" y="22358"/>
                    </a:lnTo>
                    <a:lnTo>
                      <a:pt x="47166" y="20936"/>
                    </a:lnTo>
                    <a:lnTo>
                      <a:pt x="50482" y="16805"/>
                    </a:lnTo>
                    <a:lnTo>
                      <a:pt x="51895" y="16185"/>
                    </a:lnTo>
                    <a:lnTo>
                      <a:pt x="55112" y="15934"/>
                    </a:lnTo>
                    <a:lnTo>
                      <a:pt x="56120" y="15456"/>
                    </a:lnTo>
                    <a:lnTo>
                      <a:pt x="57297" y="15547"/>
                    </a:lnTo>
                    <a:lnTo>
                      <a:pt x="60903" y="16385"/>
                    </a:lnTo>
                    <a:lnTo>
                      <a:pt x="62955" y="16513"/>
                    </a:lnTo>
                    <a:lnTo>
                      <a:pt x="65388" y="15942"/>
                    </a:lnTo>
                    <a:lnTo>
                      <a:pt x="68069" y="14932"/>
                    </a:lnTo>
                    <a:lnTo>
                      <a:pt x="68738" y="11394"/>
                    </a:lnTo>
                    <a:lnTo>
                      <a:pt x="69375" y="10886"/>
                    </a:lnTo>
                    <a:lnTo>
                      <a:pt x="71042" y="10744"/>
                    </a:lnTo>
                    <a:lnTo>
                      <a:pt x="72297" y="10773"/>
                    </a:lnTo>
                    <a:lnTo>
                      <a:pt x="74719" y="11054"/>
                    </a:lnTo>
                    <a:lnTo>
                      <a:pt x="77602" y="11148"/>
                    </a:lnTo>
                    <a:lnTo>
                      <a:pt x="79457" y="9488"/>
                    </a:lnTo>
                    <a:lnTo>
                      <a:pt x="82381" y="9364"/>
                    </a:lnTo>
                    <a:lnTo>
                      <a:pt x="83737" y="9124"/>
                    </a:lnTo>
                    <a:lnTo>
                      <a:pt x="86002" y="9459"/>
                    </a:lnTo>
                    <a:lnTo>
                      <a:pt x="88198" y="9440"/>
                    </a:lnTo>
                    <a:lnTo>
                      <a:pt x="91010" y="8748"/>
                    </a:lnTo>
                    <a:lnTo>
                      <a:pt x="93631" y="7613"/>
                    </a:lnTo>
                    <a:lnTo>
                      <a:pt x="95680" y="7710"/>
                    </a:lnTo>
                    <a:lnTo>
                      <a:pt x="96516" y="7505"/>
                    </a:lnTo>
                    <a:lnTo>
                      <a:pt x="96994" y="7266"/>
                    </a:lnTo>
                    <a:lnTo>
                      <a:pt x="97505" y="5729"/>
                    </a:lnTo>
                    <a:lnTo>
                      <a:pt x="101360" y="5635"/>
                    </a:lnTo>
                    <a:lnTo>
                      <a:pt x="102666" y="5788"/>
                    </a:lnTo>
                    <a:lnTo>
                      <a:pt x="104817" y="5828"/>
                    </a:lnTo>
                    <a:lnTo>
                      <a:pt x="107054" y="4990"/>
                    </a:lnTo>
                    <a:lnTo>
                      <a:pt x="107725" y="5061"/>
                    </a:lnTo>
                    <a:lnTo>
                      <a:pt x="108855" y="7311"/>
                    </a:lnTo>
                    <a:lnTo>
                      <a:pt x="109444" y="7963"/>
                    </a:lnTo>
                    <a:lnTo>
                      <a:pt x="110662" y="8564"/>
                    </a:lnTo>
                    <a:lnTo>
                      <a:pt x="113374" y="10250"/>
                    </a:lnTo>
                    <a:lnTo>
                      <a:pt x="113863" y="9806"/>
                    </a:lnTo>
                    <a:lnTo>
                      <a:pt x="114992" y="9243"/>
                    </a:lnTo>
                    <a:lnTo>
                      <a:pt x="118235" y="10015"/>
                    </a:lnTo>
                    <a:lnTo>
                      <a:pt x="121327" y="11314"/>
                    </a:lnTo>
                    <a:lnTo>
                      <a:pt x="123932" y="13219"/>
                    </a:lnTo>
                    <a:lnTo>
                      <a:pt x="126823" y="12670"/>
                    </a:lnTo>
                    <a:lnTo>
                      <a:pt x="130032" y="11735"/>
                    </a:lnTo>
                    <a:lnTo>
                      <a:pt x="132120" y="11463"/>
                    </a:lnTo>
                    <a:lnTo>
                      <a:pt x="134385" y="11333"/>
                    </a:lnTo>
                    <a:lnTo>
                      <a:pt x="135735" y="10927"/>
                    </a:lnTo>
                    <a:lnTo>
                      <a:pt x="138795" y="11416"/>
                    </a:lnTo>
                    <a:lnTo>
                      <a:pt x="141958" y="10393"/>
                    </a:lnTo>
                    <a:lnTo>
                      <a:pt x="143483" y="9467"/>
                    </a:lnTo>
                    <a:lnTo>
                      <a:pt x="143921" y="8170"/>
                    </a:lnTo>
                    <a:lnTo>
                      <a:pt x="143664" y="5881"/>
                    </a:lnTo>
                    <a:lnTo>
                      <a:pt x="142949" y="3589"/>
                    </a:lnTo>
                    <a:lnTo>
                      <a:pt x="142192" y="2743"/>
                    </a:lnTo>
                    <a:lnTo>
                      <a:pt x="141950" y="1868"/>
                    </a:lnTo>
                    <a:lnTo>
                      <a:pt x="142381" y="1050"/>
                    </a:lnTo>
                    <a:lnTo>
                      <a:pt x="142865" y="47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2" name="ee4p_HR_1_15912">
                <a:extLst>
                  <a:ext uri="{FF2B5EF4-FFF2-40B4-BE49-F238E27FC236}">
                    <a16:creationId xmlns:a16="http://schemas.microsoft.com/office/drawing/2014/main" id="{B54EA3DD-8520-3B6D-4306-7E2AACB4EE22}"/>
                  </a:ext>
                </a:extLst>
              </p:cNvPr>
              <p:cNvSpPr>
                <a:spLocks noChangeAspect="1"/>
              </p:cNvSpPr>
              <p:nvPr>
                <p:custDataLst>
                  <p:tags r:id="rId253"/>
                </p:custDataLst>
              </p:nvPr>
            </p:nvSpPr>
            <p:spPr>
              <a:xfrm>
                <a:off x="4956596" y="4920452"/>
                <a:ext cx="515754" cy="442242"/>
              </a:xfrm>
              <a:custGeom>
                <a:avLst/>
                <a:gdLst>
                  <a:gd name="connsiteX0" fmla="*/ 86563 w 130102"/>
                  <a:gd name="connsiteY0" fmla="*/ 101746 h 111558"/>
                  <a:gd name="connsiteX1" fmla="*/ 90452 w 130102"/>
                  <a:gd name="connsiteY1" fmla="*/ 102584 h 111558"/>
                  <a:gd name="connsiteX2" fmla="*/ 93469 w 130102"/>
                  <a:gd name="connsiteY2" fmla="*/ 104421 h 111558"/>
                  <a:gd name="connsiteX3" fmla="*/ 84622 w 130102"/>
                  <a:gd name="connsiteY3" fmla="*/ 102014 h 111558"/>
                  <a:gd name="connsiteX4" fmla="*/ 85626 w 130102"/>
                  <a:gd name="connsiteY4" fmla="*/ 101793 h 111558"/>
                  <a:gd name="connsiteX5" fmla="*/ 69288 w 130102"/>
                  <a:gd name="connsiteY5" fmla="*/ 96494 h 111558"/>
                  <a:gd name="connsiteX6" fmla="*/ 73375 w 130102"/>
                  <a:gd name="connsiteY6" fmla="*/ 97242 h 111558"/>
                  <a:gd name="connsiteX7" fmla="*/ 76373 w 130102"/>
                  <a:gd name="connsiteY7" fmla="*/ 96898 h 111558"/>
                  <a:gd name="connsiteX8" fmla="*/ 79083 w 130102"/>
                  <a:gd name="connsiteY8" fmla="*/ 97357 h 111558"/>
                  <a:gd name="connsiteX9" fmla="*/ 80767 w 130102"/>
                  <a:gd name="connsiteY9" fmla="*/ 98207 h 111558"/>
                  <a:gd name="connsiteX10" fmla="*/ 81175 w 130102"/>
                  <a:gd name="connsiteY10" fmla="*/ 98624 h 111558"/>
                  <a:gd name="connsiteX11" fmla="*/ 78988 w 130102"/>
                  <a:gd name="connsiteY11" fmla="*/ 98682 h 111558"/>
                  <a:gd name="connsiteX12" fmla="*/ 76515 w 130102"/>
                  <a:gd name="connsiteY12" fmla="*/ 98337 h 111558"/>
                  <a:gd name="connsiteX13" fmla="*/ 73710 w 130102"/>
                  <a:gd name="connsiteY13" fmla="*/ 99201 h 111558"/>
                  <a:gd name="connsiteX14" fmla="*/ 71238 w 130102"/>
                  <a:gd name="connsiteY14" fmla="*/ 98739 h 111558"/>
                  <a:gd name="connsiteX15" fmla="*/ 70298 w 130102"/>
                  <a:gd name="connsiteY15" fmla="*/ 98178 h 111558"/>
                  <a:gd name="connsiteX16" fmla="*/ 69633 w 130102"/>
                  <a:gd name="connsiteY16" fmla="*/ 97476 h 111558"/>
                  <a:gd name="connsiteX17" fmla="*/ 81872 w 130102"/>
                  <a:gd name="connsiteY17" fmla="*/ 95708 h 111558"/>
                  <a:gd name="connsiteX18" fmla="*/ 93013 w 130102"/>
                  <a:gd name="connsiteY18" fmla="*/ 100400 h 111558"/>
                  <a:gd name="connsiteX19" fmla="*/ 91773 w 130102"/>
                  <a:gd name="connsiteY19" fmla="*/ 99158 h 111558"/>
                  <a:gd name="connsiteX20" fmla="*/ 93380 w 130102"/>
                  <a:gd name="connsiteY20" fmla="*/ 98666 h 111558"/>
                  <a:gd name="connsiteX21" fmla="*/ 94745 w 130102"/>
                  <a:gd name="connsiteY21" fmla="*/ 99020 h 111558"/>
                  <a:gd name="connsiteX22" fmla="*/ 95615 w 130102"/>
                  <a:gd name="connsiteY22" fmla="*/ 100551 h 111558"/>
                  <a:gd name="connsiteX23" fmla="*/ 97330 w 130102"/>
                  <a:gd name="connsiteY23" fmla="*/ 101558 h 111558"/>
                  <a:gd name="connsiteX24" fmla="*/ 100109 w 130102"/>
                  <a:gd name="connsiteY24" fmla="*/ 103327 h 111558"/>
                  <a:gd name="connsiteX25" fmla="*/ 101864 w 130102"/>
                  <a:gd name="connsiteY25" fmla="*/ 104682 h 111558"/>
                  <a:gd name="connsiteX26" fmla="*/ 105846 w 130102"/>
                  <a:gd name="connsiteY26" fmla="*/ 107117 h 111558"/>
                  <a:gd name="connsiteX27" fmla="*/ 106788 w 130102"/>
                  <a:gd name="connsiteY27" fmla="*/ 107457 h 111558"/>
                  <a:gd name="connsiteX28" fmla="*/ 108772 w 130102"/>
                  <a:gd name="connsiteY28" fmla="*/ 108176 h 111558"/>
                  <a:gd name="connsiteX29" fmla="*/ 108811 w 130102"/>
                  <a:gd name="connsiteY29" fmla="*/ 109157 h 111558"/>
                  <a:gd name="connsiteX30" fmla="*/ 109664 w 130102"/>
                  <a:gd name="connsiteY30" fmla="*/ 110273 h 111558"/>
                  <a:gd name="connsiteX31" fmla="*/ 110566 w 130102"/>
                  <a:gd name="connsiteY31" fmla="*/ 111558 h 111558"/>
                  <a:gd name="connsiteX32" fmla="*/ 106488 w 130102"/>
                  <a:gd name="connsiteY32" fmla="*/ 109026 h 111558"/>
                  <a:gd name="connsiteX33" fmla="*/ 102676 w 130102"/>
                  <a:gd name="connsiteY33" fmla="*/ 106192 h 111558"/>
                  <a:gd name="connsiteX34" fmla="*/ 95229 w 130102"/>
                  <a:gd name="connsiteY34" fmla="*/ 101826 h 111558"/>
                  <a:gd name="connsiteX35" fmla="*/ 89946 w 130102"/>
                  <a:gd name="connsiteY35" fmla="*/ 100762 h 111558"/>
                  <a:gd name="connsiteX36" fmla="*/ 82721 w 130102"/>
                  <a:gd name="connsiteY36" fmla="*/ 97247 h 111558"/>
                  <a:gd name="connsiteX37" fmla="*/ 78016 w 130102"/>
                  <a:gd name="connsiteY37" fmla="*/ 96003 h 111558"/>
                  <a:gd name="connsiteX38" fmla="*/ 79808 w 130102"/>
                  <a:gd name="connsiteY38" fmla="*/ 95716 h 111558"/>
                  <a:gd name="connsiteX39" fmla="*/ 66429 w 130102"/>
                  <a:gd name="connsiteY39" fmla="*/ 90251 h 111558"/>
                  <a:gd name="connsiteX40" fmla="*/ 69404 w 130102"/>
                  <a:gd name="connsiteY40" fmla="*/ 90667 h 111558"/>
                  <a:gd name="connsiteX41" fmla="*/ 70318 w 130102"/>
                  <a:gd name="connsiteY41" fmla="*/ 91709 h 111558"/>
                  <a:gd name="connsiteX42" fmla="*/ 78364 w 130102"/>
                  <a:gd name="connsiteY42" fmla="*/ 92543 h 111558"/>
                  <a:gd name="connsiteX43" fmla="*/ 81302 w 130102"/>
                  <a:gd name="connsiteY43" fmla="*/ 93029 h 111558"/>
                  <a:gd name="connsiteX44" fmla="*/ 79756 w 130102"/>
                  <a:gd name="connsiteY44" fmla="*/ 93307 h 111558"/>
                  <a:gd name="connsiteX45" fmla="*/ 69918 w 130102"/>
                  <a:gd name="connsiteY45" fmla="*/ 93100 h 111558"/>
                  <a:gd name="connsiteX46" fmla="*/ 67057 w 130102"/>
                  <a:gd name="connsiteY46" fmla="*/ 92543 h 111558"/>
                  <a:gd name="connsiteX47" fmla="*/ 63874 w 130102"/>
                  <a:gd name="connsiteY47" fmla="*/ 91108 h 111558"/>
                  <a:gd name="connsiteX48" fmla="*/ 63224 w 130102"/>
                  <a:gd name="connsiteY48" fmla="*/ 90667 h 111558"/>
                  <a:gd name="connsiteX49" fmla="*/ 64827 w 130102"/>
                  <a:gd name="connsiteY49" fmla="*/ 86010 h 111558"/>
                  <a:gd name="connsiteX50" fmla="*/ 68202 w 130102"/>
                  <a:gd name="connsiteY50" fmla="*/ 86149 h 111558"/>
                  <a:gd name="connsiteX51" fmla="*/ 73350 w 130102"/>
                  <a:gd name="connsiteY51" fmla="*/ 86984 h 111558"/>
                  <a:gd name="connsiteX52" fmla="*/ 74609 w 130102"/>
                  <a:gd name="connsiteY52" fmla="*/ 87957 h 111558"/>
                  <a:gd name="connsiteX53" fmla="*/ 74218 w 130102"/>
                  <a:gd name="connsiteY53" fmla="*/ 88406 h 111558"/>
                  <a:gd name="connsiteX54" fmla="*/ 72263 w 130102"/>
                  <a:gd name="connsiteY54" fmla="*/ 89139 h 111558"/>
                  <a:gd name="connsiteX55" fmla="*/ 68774 w 130102"/>
                  <a:gd name="connsiteY55" fmla="*/ 89209 h 111558"/>
                  <a:gd name="connsiteX56" fmla="*/ 65742 w 130102"/>
                  <a:gd name="connsiteY56" fmla="*/ 88722 h 111558"/>
                  <a:gd name="connsiteX57" fmla="*/ 64256 w 130102"/>
                  <a:gd name="connsiteY57" fmla="*/ 87887 h 111558"/>
                  <a:gd name="connsiteX58" fmla="*/ 64367 w 130102"/>
                  <a:gd name="connsiteY58" fmla="*/ 87184 h 111558"/>
                  <a:gd name="connsiteX59" fmla="*/ 38758 w 130102"/>
                  <a:gd name="connsiteY59" fmla="*/ 69183 h 111558"/>
                  <a:gd name="connsiteX60" fmla="*/ 41000 w 130102"/>
                  <a:gd name="connsiteY60" fmla="*/ 70181 h 111558"/>
                  <a:gd name="connsiteX61" fmla="*/ 42455 w 130102"/>
                  <a:gd name="connsiteY61" fmla="*/ 72191 h 111558"/>
                  <a:gd name="connsiteX62" fmla="*/ 41063 w 130102"/>
                  <a:gd name="connsiteY62" fmla="*/ 71778 h 111558"/>
                  <a:gd name="connsiteX63" fmla="*/ 39611 w 130102"/>
                  <a:gd name="connsiteY63" fmla="*/ 70534 h 111558"/>
                  <a:gd name="connsiteX64" fmla="*/ 34243 w 130102"/>
                  <a:gd name="connsiteY64" fmla="*/ 65203 h 111558"/>
                  <a:gd name="connsiteX65" fmla="*/ 37897 w 130102"/>
                  <a:gd name="connsiteY65" fmla="*/ 67787 h 111558"/>
                  <a:gd name="connsiteX66" fmla="*/ 38242 w 130102"/>
                  <a:gd name="connsiteY66" fmla="*/ 68741 h 111558"/>
                  <a:gd name="connsiteX67" fmla="*/ 35483 w 130102"/>
                  <a:gd name="connsiteY67" fmla="*/ 66947 h 111558"/>
                  <a:gd name="connsiteX68" fmla="*/ 34437 w 130102"/>
                  <a:gd name="connsiteY68" fmla="*/ 65741 h 111558"/>
                  <a:gd name="connsiteX69" fmla="*/ 29804 w 130102"/>
                  <a:gd name="connsiteY69" fmla="*/ 64924 h 111558"/>
                  <a:gd name="connsiteX70" fmla="*/ 31738 w 130102"/>
                  <a:gd name="connsiteY70" fmla="*/ 66300 h 111558"/>
                  <a:gd name="connsiteX71" fmla="*/ 36962 w 130102"/>
                  <a:gd name="connsiteY71" fmla="*/ 71573 h 111558"/>
                  <a:gd name="connsiteX72" fmla="*/ 37277 w 130102"/>
                  <a:gd name="connsiteY72" fmla="*/ 71969 h 111558"/>
                  <a:gd name="connsiteX73" fmla="*/ 37247 w 130102"/>
                  <a:gd name="connsiteY73" fmla="*/ 72239 h 111558"/>
                  <a:gd name="connsiteX74" fmla="*/ 36100 w 130102"/>
                  <a:gd name="connsiteY74" fmla="*/ 71858 h 111558"/>
                  <a:gd name="connsiteX75" fmla="*/ 35791 w 130102"/>
                  <a:gd name="connsiteY75" fmla="*/ 71981 h 111558"/>
                  <a:gd name="connsiteX76" fmla="*/ 30384 w 130102"/>
                  <a:gd name="connsiteY76" fmla="*/ 66074 h 111558"/>
                  <a:gd name="connsiteX77" fmla="*/ 27080 w 130102"/>
                  <a:gd name="connsiteY77" fmla="*/ 50537 h 111558"/>
                  <a:gd name="connsiteX78" fmla="*/ 28449 w 130102"/>
                  <a:gd name="connsiteY78" fmla="*/ 51863 h 111558"/>
                  <a:gd name="connsiteX79" fmla="*/ 29590 w 130102"/>
                  <a:gd name="connsiteY79" fmla="*/ 52692 h 111558"/>
                  <a:gd name="connsiteX80" fmla="*/ 30533 w 130102"/>
                  <a:gd name="connsiteY80" fmla="*/ 52894 h 111558"/>
                  <a:gd name="connsiteX81" fmla="*/ 32930 w 130102"/>
                  <a:gd name="connsiteY81" fmla="*/ 54978 h 111558"/>
                  <a:gd name="connsiteX82" fmla="*/ 35286 w 130102"/>
                  <a:gd name="connsiteY82" fmla="*/ 57656 h 111558"/>
                  <a:gd name="connsiteX83" fmla="*/ 38093 w 130102"/>
                  <a:gd name="connsiteY83" fmla="*/ 59980 h 111558"/>
                  <a:gd name="connsiteX84" fmla="*/ 37510 w 130102"/>
                  <a:gd name="connsiteY84" fmla="*/ 60052 h 111558"/>
                  <a:gd name="connsiteX85" fmla="*/ 36955 w 130102"/>
                  <a:gd name="connsiteY85" fmla="*/ 60373 h 111558"/>
                  <a:gd name="connsiteX86" fmla="*/ 36383 w 130102"/>
                  <a:gd name="connsiteY86" fmla="*/ 61094 h 111558"/>
                  <a:gd name="connsiteX87" fmla="*/ 34954 w 130102"/>
                  <a:gd name="connsiteY87" fmla="*/ 59765 h 111558"/>
                  <a:gd name="connsiteX88" fmla="*/ 33641 w 130102"/>
                  <a:gd name="connsiteY88" fmla="*/ 58817 h 111558"/>
                  <a:gd name="connsiteX89" fmla="*/ 32701 w 130102"/>
                  <a:gd name="connsiteY89" fmla="*/ 57695 h 111558"/>
                  <a:gd name="connsiteX90" fmla="*/ 30859 w 130102"/>
                  <a:gd name="connsiteY90" fmla="*/ 56295 h 111558"/>
                  <a:gd name="connsiteX91" fmla="*/ 30237 w 130102"/>
                  <a:gd name="connsiteY91" fmla="*/ 54693 h 111558"/>
                  <a:gd name="connsiteX92" fmla="*/ 27491 w 130102"/>
                  <a:gd name="connsiteY92" fmla="*/ 51425 h 111558"/>
                  <a:gd name="connsiteX93" fmla="*/ 25944 w 130102"/>
                  <a:gd name="connsiteY93" fmla="*/ 46425 h 111558"/>
                  <a:gd name="connsiteX94" fmla="*/ 27353 w 130102"/>
                  <a:gd name="connsiteY94" fmla="*/ 46516 h 111558"/>
                  <a:gd name="connsiteX95" fmla="*/ 27564 w 130102"/>
                  <a:gd name="connsiteY95" fmla="*/ 47155 h 111558"/>
                  <a:gd name="connsiteX96" fmla="*/ 29061 w 130102"/>
                  <a:gd name="connsiteY96" fmla="*/ 48859 h 111558"/>
                  <a:gd name="connsiteX97" fmla="*/ 29618 w 130102"/>
                  <a:gd name="connsiteY97" fmla="*/ 50061 h 111558"/>
                  <a:gd name="connsiteX98" fmla="*/ 27536 w 130102"/>
                  <a:gd name="connsiteY98" fmla="*/ 48976 h 111558"/>
                  <a:gd name="connsiteX99" fmla="*/ 25672 w 130102"/>
                  <a:gd name="connsiteY99" fmla="*/ 48561 h 111558"/>
                  <a:gd name="connsiteX100" fmla="*/ 25277 w 130102"/>
                  <a:gd name="connsiteY100" fmla="*/ 47744 h 111558"/>
                  <a:gd name="connsiteX101" fmla="*/ 25545 w 130102"/>
                  <a:gd name="connsiteY101" fmla="*/ 47074 h 111558"/>
                  <a:gd name="connsiteX102" fmla="*/ 18596 w 130102"/>
                  <a:gd name="connsiteY102" fmla="*/ 37698 h 111558"/>
                  <a:gd name="connsiteX103" fmla="*/ 18838 w 130102"/>
                  <a:gd name="connsiteY103" fmla="*/ 40065 h 111558"/>
                  <a:gd name="connsiteX104" fmla="*/ 19382 w 130102"/>
                  <a:gd name="connsiteY104" fmla="*/ 41424 h 111558"/>
                  <a:gd name="connsiteX105" fmla="*/ 21010 w 130102"/>
                  <a:gd name="connsiteY105" fmla="*/ 43092 h 111558"/>
                  <a:gd name="connsiteX106" fmla="*/ 20682 w 130102"/>
                  <a:gd name="connsiteY106" fmla="*/ 45851 h 111558"/>
                  <a:gd name="connsiteX107" fmla="*/ 21015 w 130102"/>
                  <a:gd name="connsiteY107" fmla="*/ 49774 h 111558"/>
                  <a:gd name="connsiteX108" fmla="*/ 21345 w 130102"/>
                  <a:gd name="connsiteY108" fmla="*/ 50646 h 111558"/>
                  <a:gd name="connsiteX109" fmla="*/ 21468 w 130102"/>
                  <a:gd name="connsiteY109" fmla="*/ 51553 h 111558"/>
                  <a:gd name="connsiteX110" fmla="*/ 21297 w 130102"/>
                  <a:gd name="connsiteY110" fmla="*/ 52610 h 111558"/>
                  <a:gd name="connsiteX111" fmla="*/ 19952 w 130102"/>
                  <a:gd name="connsiteY111" fmla="*/ 51274 h 111558"/>
                  <a:gd name="connsiteX112" fmla="*/ 19274 w 130102"/>
                  <a:gd name="connsiteY112" fmla="*/ 48876 h 111558"/>
                  <a:gd name="connsiteX113" fmla="*/ 17583 w 130102"/>
                  <a:gd name="connsiteY113" fmla="*/ 44999 h 111558"/>
                  <a:gd name="connsiteX114" fmla="*/ 17365 w 130102"/>
                  <a:gd name="connsiteY114" fmla="*/ 43906 h 111558"/>
                  <a:gd name="connsiteX115" fmla="*/ 18242 w 130102"/>
                  <a:gd name="connsiteY115" fmla="*/ 42826 h 111558"/>
                  <a:gd name="connsiteX116" fmla="*/ 18195 w 130102"/>
                  <a:gd name="connsiteY116" fmla="*/ 41732 h 111558"/>
                  <a:gd name="connsiteX117" fmla="*/ 16996 w 130102"/>
                  <a:gd name="connsiteY117" fmla="*/ 38322 h 111558"/>
                  <a:gd name="connsiteX118" fmla="*/ 18000 w 130102"/>
                  <a:gd name="connsiteY118" fmla="*/ 37765 h 111558"/>
                  <a:gd name="connsiteX119" fmla="*/ 23304 w 130102"/>
                  <a:gd name="connsiteY119" fmla="*/ 36128 h 111558"/>
                  <a:gd name="connsiteX120" fmla="*/ 24606 w 130102"/>
                  <a:gd name="connsiteY120" fmla="*/ 37408 h 111558"/>
                  <a:gd name="connsiteX121" fmla="*/ 26180 w 130102"/>
                  <a:gd name="connsiteY121" fmla="*/ 39816 h 111558"/>
                  <a:gd name="connsiteX122" fmla="*/ 27020 w 130102"/>
                  <a:gd name="connsiteY122" fmla="*/ 40488 h 111558"/>
                  <a:gd name="connsiteX123" fmla="*/ 28592 w 130102"/>
                  <a:gd name="connsiteY123" fmla="*/ 42905 h 111558"/>
                  <a:gd name="connsiteX124" fmla="*/ 25867 w 130102"/>
                  <a:gd name="connsiteY124" fmla="*/ 43491 h 111558"/>
                  <a:gd name="connsiteX125" fmla="*/ 24569 w 130102"/>
                  <a:gd name="connsiteY125" fmla="*/ 42443 h 111558"/>
                  <a:gd name="connsiteX126" fmla="*/ 24230 w 130102"/>
                  <a:gd name="connsiteY126" fmla="*/ 41583 h 111558"/>
                  <a:gd name="connsiteX127" fmla="*/ 21991 w 130102"/>
                  <a:gd name="connsiteY127" fmla="*/ 41310 h 111558"/>
                  <a:gd name="connsiteX128" fmla="*/ 20635 w 130102"/>
                  <a:gd name="connsiteY128" fmla="*/ 40112 h 111558"/>
                  <a:gd name="connsiteX129" fmla="*/ 20358 w 130102"/>
                  <a:gd name="connsiteY129" fmla="*/ 39581 h 111558"/>
                  <a:gd name="connsiteX130" fmla="*/ 22276 w 130102"/>
                  <a:gd name="connsiteY130" fmla="*/ 38262 h 111558"/>
                  <a:gd name="connsiteX131" fmla="*/ 62002 w 130102"/>
                  <a:gd name="connsiteY131" fmla="*/ 0 h 111558"/>
                  <a:gd name="connsiteX132" fmla="*/ 64356 w 130102"/>
                  <a:gd name="connsiteY132" fmla="*/ 284 h 111558"/>
                  <a:gd name="connsiteX133" fmla="*/ 66314 w 130102"/>
                  <a:gd name="connsiteY133" fmla="*/ 964 h 111558"/>
                  <a:gd name="connsiteX134" fmla="*/ 67502 w 130102"/>
                  <a:gd name="connsiteY134" fmla="*/ 1378 h 111558"/>
                  <a:gd name="connsiteX135" fmla="*/ 71441 w 130102"/>
                  <a:gd name="connsiteY135" fmla="*/ 3281 h 111558"/>
                  <a:gd name="connsiteX136" fmla="*/ 74170 w 130102"/>
                  <a:gd name="connsiteY136" fmla="*/ 5419 h 111558"/>
                  <a:gd name="connsiteX137" fmla="*/ 75684 w 130102"/>
                  <a:gd name="connsiteY137" fmla="*/ 7791 h 111558"/>
                  <a:gd name="connsiteX138" fmla="*/ 77735 w 130102"/>
                  <a:gd name="connsiteY138" fmla="*/ 9628 h 111558"/>
                  <a:gd name="connsiteX139" fmla="*/ 80320 w 130102"/>
                  <a:gd name="connsiteY139" fmla="*/ 10927 h 111558"/>
                  <a:gd name="connsiteX140" fmla="*/ 82367 w 130102"/>
                  <a:gd name="connsiteY140" fmla="*/ 12689 h 111558"/>
                  <a:gd name="connsiteX141" fmla="*/ 83881 w 130102"/>
                  <a:gd name="connsiteY141" fmla="*/ 14912 h 111558"/>
                  <a:gd name="connsiteX142" fmla="*/ 85997 w 130102"/>
                  <a:gd name="connsiteY142" fmla="*/ 16156 h 111558"/>
                  <a:gd name="connsiteX143" fmla="*/ 88714 w 130102"/>
                  <a:gd name="connsiteY143" fmla="*/ 16426 h 111558"/>
                  <a:gd name="connsiteX144" fmla="*/ 90435 w 130102"/>
                  <a:gd name="connsiteY144" fmla="*/ 17186 h 111558"/>
                  <a:gd name="connsiteX145" fmla="*/ 91156 w 130102"/>
                  <a:gd name="connsiteY145" fmla="*/ 18438 h 111558"/>
                  <a:gd name="connsiteX146" fmla="*/ 92633 w 130102"/>
                  <a:gd name="connsiteY146" fmla="*/ 19572 h 111558"/>
                  <a:gd name="connsiteX147" fmla="*/ 94859 w 130102"/>
                  <a:gd name="connsiteY147" fmla="*/ 20586 h 111558"/>
                  <a:gd name="connsiteX148" fmla="*/ 98325 w 130102"/>
                  <a:gd name="connsiteY148" fmla="*/ 21142 h 111558"/>
                  <a:gd name="connsiteX149" fmla="*/ 104961 w 130102"/>
                  <a:gd name="connsiteY149" fmla="*/ 21274 h 111558"/>
                  <a:gd name="connsiteX150" fmla="*/ 105550 w 130102"/>
                  <a:gd name="connsiteY150" fmla="*/ 21302 h 111558"/>
                  <a:gd name="connsiteX151" fmla="*/ 107047 w 130102"/>
                  <a:gd name="connsiteY151" fmla="*/ 21617 h 111558"/>
                  <a:gd name="connsiteX152" fmla="*/ 108794 w 130102"/>
                  <a:gd name="connsiteY152" fmla="*/ 21223 h 111558"/>
                  <a:gd name="connsiteX153" fmla="*/ 110923 w 130102"/>
                  <a:gd name="connsiteY153" fmla="*/ 20429 h 111558"/>
                  <a:gd name="connsiteX154" fmla="*/ 111609 w 130102"/>
                  <a:gd name="connsiteY154" fmla="*/ 19956 h 111558"/>
                  <a:gd name="connsiteX155" fmla="*/ 113851 w 130102"/>
                  <a:gd name="connsiteY155" fmla="*/ 17359 h 111558"/>
                  <a:gd name="connsiteX156" fmla="*/ 115084 w 130102"/>
                  <a:gd name="connsiteY156" fmla="*/ 17583 h 111558"/>
                  <a:gd name="connsiteX157" fmla="*/ 117544 w 130102"/>
                  <a:gd name="connsiteY157" fmla="*/ 17266 h 111558"/>
                  <a:gd name="connsiteX158" fmla="*/ 119031 w 130102"/>
                  <a:gd name="connsiteY158" fmla="*/ 16690 h 111558"/>
                  <a:gd name="connsiteX159" fmla="*/ 119144 w 130102"/>
                  <a:gd name="connsiteY159" fmla="*/ 16690 h 111558"/>
                  <a:gd name="connsiteX160" fmla="*/ 119049 w 130102"/>
                  <a:gd name="connsiteY160" fmla="*/ 17355 h 111558"/>
                  <a:gd name="connsiteX161" fmla="*/ 118882 w 130102"/>
                  <a:gd name="connsiteY161" fmla="*/ 18516 h 111558"/>
                  <a:gd name="connsiteX162" fmla="*/ 117677 w 130102"/>
                  <a:gd name="connsiteY162" fmla="*/ 19338 h 111558"/>
                  <a:gd name="connsiteX163" fmla="*/ 118904 w 130102"/>
                  <a:gd name="connsiteY163" fmla="*/ 21229 h 111558"/>
                  <a:gd name="connsiteX164" fmla="*/ 120070 w 130102"/>
                  <a:gd name="connsiteY164" fmla="*/ 24293 h 111558"/>
                  <a:gd name="connsiteX165" fmla="*/ 119420 w 130102"/>
                  <a:gd name="connsiteY165" fmla="*/ 25806 h 111558"/>
                  <a:gd name="connsiteX166" fmla="*/ 120212 w 130102"/>
                  <a:gd name="connsiteY166" fmla="*/ 26983 h 111558"/>
                  <a:gd name="connsiteX167" fmla="*/ 122454 w 130102"/>
                  <a:gd name="connsiteY167" fmla="*/ 27828 h 111558"/>
                  <a:gd name="connsiteX168" fmla="*/ 122657 w 130102"/>
                  <a:gd name="connsiteY168" fmla="*/ 28165 h 111558"/>
                  <a:gd name="connsiteX169" fmla="*/ 121972 w 130102"/>
                  <a:gd name="connsiteY169" fmla="*/ 28517 h 111558"/>
                  <a:gd name="connsiteX170" fmla="*/ 121405 w 130102"/>
                  <a:gd name="connsiteY170" fmla="*/ 29516 h 111558"/>
                  <a:gd name="connsiteX171" fmla="*/ 121340 w 130102"/>
                  <a:gd name="connsiteY171" fmla="*/ 31336 h 111558"/>
                  <a:gd name="connsiteX172" fmla="*/ 123294 w 130102"/>
                  <a:gd name="connsiteY172" fmla="*/ 33054 h 111558"/>
                  <a:gd name="connsiteX173" fmla="*/ 127269 w 130102"/>
                  <a:gd name="connsiteY173" fmla="*/ 34670 h 111558"/>
                  <a:gd name="connsiteX174" fmla="*/ 128539 w 130102"/>
                  <a:gd name="connsiteY174" fmla="*/ 34941 h 111558"/>
                  <a:gd name="connsiteX175" fmla="*/ 129025 w 130102"/>
                  <a:gd name="connsiteY175" fmla="*/ 35562 h 111558"/>
                  <a:gd name="connsiteX176" fmla="*/ 129690 w 130102"/>
                  <a:gd name="connsiteY176" fmla="*/ 35968 h 111558"/>
                  <a:gd name="connsiteX177" fmla="*/ 130081 w 130102"/>
                  <a:gd name="connsiteY177" fmla="*/ 36464 h 111558"/>
                  <a:gd name="connsiteX178" fmla="*/ 130102 w 130102"/>
                  <a:gd name="connsiteY178" fmla="*/ 37105 h 111558"/>
                  <a:gd name="connsiteX179" fmla="*/ 129818 w 130102"/>
                  <a:gd name="connsiteY179" fmla="*/ 37545 h 111558"/>
                  <a:gd name="connsiteX180" fmla="*/ 127937 w 130102"/>
                  <a:gd name="connsiteY180" fmla="*/ 37702 h 111558"/>
                  <a:gd name="connsiteX181" fmla="*/ 125790 w 130102"/>
                  <a:gd name="connsiteY181" fmla="*/ 37688 h 111558"/>
                  <a:gd name="connsiteX182" fmla="*/ 124264 w 130102"/>
                  <a:gd name="connsiteY182" fmla="*/ 36909 h 111558"/>
                  <a:gd name="connsiteX183" fmla="*/ 124128 w 130102"/>
                  <a:gd name="connsiteY183" fmla="*/ 37477 h 111558"/>
                  <a:gd name="connsiteX184" fmla="*/ 124104 w 130102"/>
                  <a:gd name="connsiteY184" fmla="*/ 38128 h 111558"/>
                  <a:gd name="connsiteX185" fmla="*/ 122627 w 130102"/>
                  <a:gd name="connsiteY185" fmla="*/ 38525 h 111558"/>
                  <a:gd name="connsiteX186" fmla="*/ 123447 w 130102"/>
                  <a:gd name="connsiteY186" fmla="*/ 42995 h 111558"/>
                  <a:gd name="connsiteX187" fmla="*/ 123121 w 130102"/>
                  <a:gd name="connsiteY187" fmla="*/ 44279 h 111558"/>
                  <a:gd name="connsiteX188" fmla="*/ 122575 w 130102"/>
                  <a:gd name="connsiteY188" fmla="*/ 44710 h 111558"/>
                  <a:gd name="connsiteX189" fmla="*/ 122067 w 130102"/>
                  <a:gd name="connsiteY189" fmla="*/ 44531 h 111558"/>
                  <a:gd name="connsiteX190" fmla="*/ 121448 w 130102"/>
                  <a:gd name="connsiteY190" fmla="*/ 44481 h 111558"/>
                  <a:gd name="connsiteX191" fmla="*/ 121137 w 130102"/>
                  <a:gd name="connsiteY191" fmla="*/ 44900 h 111558"/>
                  <a:gd name="connsiteX192" fmla="*/ 121394 w 130102"/>
                  <a:gd name="connsiteY192" fmla="*/ 45851 h 111558"/>
                  <a:gd name="connsiteX193" fmla="*/ 119938 w 130102"/>
                  <a:gd name="connsiteY193" fmla="*/ 45960 h 111558"/>
                  <a:gd name="connsiteX194" fmla="*/ 117619 w 130102"/>
                  <a:gd name="connsiteY194" fmla="*/ 45467 h 111558"/>
                  <a:gd name="connsiteX195" fmla="*/ 116557 w 130102"/>
                  <a:gd name="connsiteY195" fmla="*/ 44603 h 111558"/>
                  <a:gd name="connsiteX196" fmla="*/ 116375 w 130102"/>
                  <a:gd name="connsiteY196" fmla="*/ 43720 h 111558"/>
                  <a:gd name="connsiteX197" fmla="*/ 116358 w 130102"/>
                  <a:gd name="connsiteY197" fmla="*/ 42900 h 111558"/>
                  <a:gd name="connsiteX198" fmla="*/ 115622 w 130102"/>
                  <a:gd name="connsiteY198" fmla="*/ 41553 h 111558"/>
                  <a:gd name="connsiteX199" fmla="*/ 113776 w 130102"/>
                  <a:gd name="connsiteY199" fmla="*/ 40161 h 111558"/>
                  <a:gd name="connsiteX200" fmla="*/ 109921 w 130102"/>
                  <a:gd name="connsiteY200" fmla="*/ 39931 h 111558"/>
                  <a:gd name="connsiteX201" fmla="*/ 108498 w 130102"/>
                  <a:gd name="connsiteY201" fmla="*/ 39489 h 111558"/>
                  <a:gd name="connsiteX202" fmla="*/ 107032 w 130102"/>
                  <a:gd name="connsiteY202" fmla="*/ 38981 h 111558"/>
                  <a:gd name="connsiteX203" fmla="*/ 105425 w 130102"/>
                  <a:gd name="connsiteY203" fmla="*/ 38605 h 111558"/>
                  <a:gd name="connsiteX204" fmla="*/ 103944 w 130102"/>
                  <a:gd name="connsiteY204" fmla="*/ 38643 h 111558"/>
                  <a:gd name="connsiteX205" fmla="*/ 102158 w 130102"/>
                  <a:gd name="connsiteY205" fmla="*/ 39013 h 111558"/>
                  <a:gd name="connsiteX206" fmla="*/ 99042 w 130102"/>
                  <a:gd name="connsiteY206" fmla="*/ 38400 h 111558"/>
                  <a:gd name="connsiteX207" fmla="*/ 97988 w 130102"/>
                  <a:gd name="connsiteY207" fmla="*/ 39218 h 111558"/>
                  <a:gd name="connsiteX208" fmla="*/ 96347 w 130102"/>
                  <a:gd name="connsiteY208" fmla="*/ 40166 h 111558"/>
                  <a:gd name="connsiteX209" fmla="*/ 94984 w 130102"/>
                  <a:gd name="connsiteY209" fmla="*/ 40142 h 111558"/>
                  <a:gd name="connsiteX210" fmla="*/ 92272 w 130102"/>
                  <a:gd name="connsiteY210" fmla="*/ 37945 h 111558"/>
                  <a:gd name="connsiteX211" fmla="*/ 91463 w 130102"/>
                  <a:gd name="connsiteY211" fmla="*/ 37806 h 111558"/>
                  <a:gd name="connsiteX212" fmla="*/ 89091 w 130102"/>
                  <a:gd name="connsiteY212" fmla="*/ 38926 h 111558"/>
                  <a:gd name="connsiteX213" fmla="*/ 88126 w 130102"/>
                  <a:gd name="connsiteY213" fmla="*/ 38986 h 111558"/>
                  <a:gd name="connsiteX214" fmla="*/ 87386 w 130102"/>
                  <a:gd name="connsiteY214" fmla="*/ 38632 h 111558"/>
                  <a:gd name="connsiteX215" fmla="*/ 84179 w 130102"/>
                  <a:gd name="connsiteY215" fmla="*/ 37793 h 111558"/>
                  <a:gd name="connsiteX216" fmla="*/ 82732 w 130102"/>
                  <a:gd name="connsiteY216" fmla="*/ 37612 h 111558"/>
                  <a:gd name="connsiteX217" fmla="*/ 81670 w 130102"/>
                  <a:gd name="connsiteY217" fmla="*/ 38009 h 111558"/>
                  <a:gd name="connsiteX218" fmla="*/ 79785 w 130102"/>
                  <a:gd name="connsiteY218" fmla="*/ 37579 h 111558"/>
                  <a:gd name="connsiteX219" fmla="*/ 75213 w 130102"/>
                  <a:gd name="connsiteY219" fmla="*/ 34708 h 111558"/>
                  <a:gd name="connsiteX220" fmla="*/ 72387 w 130102"/>
                  <a:gd name="connsiteY220" fmla="*/ 36891 h 111558"/>
                  <a:gd name="connsiteX221" fmla="*/ 66634 w 130102"/>
                  <a:gd name="connsiteY221" fmla="*/ 36348 h 111558"/>
                  <a:gd name="connsiteX222" fmla="*/ 64928 w 130102"/>
                  <a:gd name="connsiteY222" fmla="*/ 37846 h 111558"/>
                  <a:gd name="connsiteX223" fmla="*/ 62972 w 130102"/>
                  <a:gd name="connsiteY223" fmla="*/ 40683 h 111558"/>
                  <a:gd name="connsiteX224" fmla="*/ 61387 w 130102"/>
                  <a:gd name="connsiteY224" fmla="*/ 42037 h 111558"/>
                  <a:gd name="connsiteX225" fmla="*/ 60009 w 130102"/>
                  <a:gd name="connsiteY225" fmla="*/ 41551 h 111558"/>
                  <a:gd name="connsiteX226" fmla="*/ 58379 w 130102"/>
                  <a:gd name="connsiteY226" fmla="*/ 40303 h 111558"/>
                  <a:gd name="connsiteX227" fmla="*/ 55526 w 130102"/>
                  <a:gd name="connsiteY227" fmla="*/ 37091 h 111558"/>
                  <a:gd name="connsiteX228" fmla="*/ 54086 w 130102"/>
                  <a:gd name="connsiteY228" fmla="*/ 36511 h 111558"/>
                  <a:gd name="connsiteX229" fmla="*/ 52429 w 130102"/>
                  <a:gd name="connsiteY229" fmla="*/ 36375 h 111558"/>
                  <a:gd name="connsiteX230" fmla="*/ 50983 w 130102"/>
                  <a:gd name="connsiteY230" fmla="*/ 36730 h 111558"/>
                  <a:gd name="connsiteX231" fmla="*/ 50214 w 130102"/>
                  <a:gd name="connsiteY231" fmla="*/ 37382 h 111558"/>
                  <a:gd name="connsiteX232" fmla="*/ 49626 w 130102"/>
                  <a:gd name="connsiteY232" fmla="*/ 42073 h 111558"/>
                  <a:gd name="connsiteX233" fmla="*/ 49106 w 130102"/>
                  <a:gd name="connsiteY233" fmla="*/ 46200 h 111558"/>
                  <a:gd name="connsiteX234" fmla="*/ 49076 w 130102"/>
                  <a:gd name="connsiteY234" fmla="*/ 48671 h 111558"/>
                  <a:gd name="connsiteX235" fmla="*/ 52248 w 130102"/>
                  <a:gd name="connsiteY235" fmla="*/ 50957 h 111558"/>
                  <a:gd name="connsiteX236" fmla="*/ 55984 w 130102"/>
                  <a:gd name="connsiteY236" fmla="*/ 54887 h 111558"/>
                  <a:gd name="connsiteX237" fmla="*/ 57187 w 130102"/>
                  <a:gd name="connsiteY237" fmla="*/ 55338 h 111558"/>
                  <a:gd name="connsiteX238" fmla="*/ 57781 w 130102"/>
                  <a:gd name="connsiteY238" fmla="*/ 56624 h 111558"/>
                  <a:gd name="connsiteX239" fmla="*/ 58655 w 130102"/>
                  <a:gd name="connsiteY239" fmla="*/ 59931 h 111558"/>
                  <a:gd name="connsiteX240" fmla="*/ 59637 w 130102"/>
                  <a:gd name="connsiteY240" fmla="*/ 63645 h 111558"/>
                  <a:gd name="connsiteX241" fmla="*/ 61536 w 130102"/>
                  <a:gd name="connsiteY241" fmla="*/ 66102 h 111558"/>
                  <a:gd name="connsiteX242" fmla="*/ 63248 w 130102"/>
                  <a:gd name="connsiteY242" fmla="*/ 67859 h 111558"/>
                  <a:gd name="connsiteX243" fmla="*/ 65338 w 130102"/>
                  <a:gd name="connsiteY243" fmla="*/ 69403 h 111558"/>
                  <a:gd name="connsiteX244" fmla="*/ 67957 w 130102"/>
                  <a:gd name="connsiteY244" fmla="*/ 71822 h 111558"/>
                  <a:gd name="connsiteX245" fmla="*/ 70106 w 130102"/>
                  <a:gd name="connsiteY245" fmla="*/ 74474 h 111558"/>
                  <a:gd name="connsiteX246" fmla="*/ 70676 w 130102"/>
                  <a:gd name="connsiteY246" fmla="*/ 75452 h 111558"/>
                  <a:gd name="connsiteX247" fmla="*/ 74842 w 130102"/>
                  <a:gd name="connsiteY247" fmla="*/ 78954 h 111558"/>
                  <a:gd name="connsiteX248" fmla="*/ 78882 w 130102"/>
                  <a:gd name="connsiteY248" fmla="*/ 82524 h 111558"/>
                  <a:gd name="connsiteX249" fmla="*/ 82497 w 130102"/>
                  <a:gd name="connsiteY249" fmla="*/ 83772 h 111558"/>
                  <a:gd name="connsiteX250" fmla="*/ 83067 w 130102"/>
                  <a:gd name="connsiteY250" fmla="*/ 84431 h 111558"/>
                  <a:gd name="connsiteX251" fmla="*/ 83099 w 130102"/>
                  <a:gd name="connsiteY251" fmla="*/ 87172 h 111558"/>
                  <a:gd name="connsiteX252" fmla="*/ 83492 w 130102"/>
                  <a:gd name="connsiteY252" fmla="*/ 88200 h 111558"/>
                  <a:gd name="connsiteX253" fmla="*/ 85906 w 130102"/>
                  <a:gd name="connsiteY253" fmla="*/ 91066 h 111558"/>
                  <a:gd name="connsiteX254" fmla="*/ 90828 w 130102"/>
                  <a:gd name="connsiteY254" fmla="*/ 95255 h 111558"/>
                  <a:gd name="connsiteX255" fmla="*/ 91396 w 130102"/>
                  <a:gd name="connsiteY255" fmla="*/ 96225 h 111558"/>
                  <a:gd name="connsiteX256" fmla="*/ 91558 w 130102"/>
                  <a:gd name="connsiteY256" fmla="*/ 96935 h 111558"/>
                  <a:gd name="connsiteX257" fmla="*/ 91240 w 130102"/>
                  <a:gd name="connsiteY257" fmla="*/ 97480 h 111558"/>
                  <a:gd name="connsiteX258" fmla="*/ 89951 w 130102"/>
                  <a:gd name="connsiteY258" fmla="*/ 98053 h 111558"/>
                  <a:gd name="connsiteX259" fmla="*/ 88893 w 130102"/>
                  <a:gd name="connsiteY259" fmla="*/ 97413 h 111558"/>
                  <a:gd name="connsiteX260" fmla="*/ 84306 w 130102"/>
                  <a:gd name="connsiteY260" fmla="*/ 93321 h 111558"/>
                  <a:gd name="connsiteX261" fmla="*/ 79873 w 130102"/>
                  <a:gd name="connsiteY261" fmla="*/ 90738 h 111558"/>
                  <a:gd name="connsiteX262" fmla="*/ 74870 w 130102"/>
                  <a:gd name="connsiteY262" fmla="*/ 85865 h 111558"/>
                  <a:gd name="connsiteX263" fmla="*/ 68173 w 130102"/>
                  <a:gd name="connsiteY263" fmla="*/ 83938 h 111558"/>
                  <a:gd name="connsiteX264" fmla="*/ 63611 w 130102"/>
                  <a:gd name="connsiteY264" fmla="*/ 81802 h 111558"/>
                  <a:gd name="connsiteX265" fmla="*/ 60847 w 130102"/>
                  <a:gd name="connsiteY265" fmla="*/ 82129 h 111558"/>
                  <a:gd name="connsiteX266" fmla="*/ 57798 w 130102"/>
                  <a:gd name="connsiteY266" fmla="*/ 82801 h 111558"/>
                  <a:gd name="connsiteX267" fmla="*/ 55917 w 130102"/>
                  <a:gd name="connsiteY267" fmla="*/ 82822 h 111558"/>
                  <a:gd name="connsiteX268" fmla="*/ 54580 w 130102"/>
                  <a:gd name="connsiteY268" fmla="*/ 82438 h 111558"/>
                  <a:gd name="connsiteX269" fmla="*/ 53630 w 130102"/>
                  <a:gd name="connsiteY269" fmla="*/ 81113 h 111558"/>
                  <a:gd name="connsiteX270" fmla="*/ 53775 w 130102"/>
                  <a:gd name="connsiteY270" fmla="*/ 80088 h 111558"/>
                  <a:gd name="connsiteX271" fmla="*/ 53606 w 130102"/>
                  <a:gd name="connsiteY271" fmla="*/ 78749 h 111558"/>
                  <a:gd name="connsiteX272" fmla="*/ 50933 w 130102"/>
                  <a:gd name="connsiteY272" fmla="*/ 76610 h 111558"/>
                  <a:gd name="connsiteX273" fmla="*/ 47286 w 130102"/>
                  <a:gd name="connsiteY273" fmla="*/ 74575 h 111558"/>
                  <a:gd name="connsiteX274" fmla="*/ 43831 w 130102"/>
                  <a:gd name="connsiteY274" fmla="*/ 71940 h 111558"/>
                  <a:gd name="connsiteX275" fmla="*/ 36897 w 130102"/>
                  <a:gd name="connsiteY275" fmla="*/ 64811 h 111558"/>
                  <a:gd name="connsiteX276" fmla="*/ 35506 w 130102"/>
                  <a:gd name="connsiteY276" fmla="*/ 62516 h 111558"/>
                  <a:gd name="connsiteX277" fmla="*/ 36871 w 130102"/>
                  <a:gd name="connsiteY277" fmla="*/ 62079 h 111558"/>
                  <a:gd name="connsiteX278" fmla="*/ 37903 w 130102"/>
                  <a:gd name="connsiteY278" fmla="*/ 62118 h 111558"/>
                  <a:gd name="connsiteX279" fmla="*/ 39074 w 130102"/>
                  <a:gd name="connsiteY279" fmla="*/ 61647 h 111558"/>
                  <a:gd name="connsiteX280" fmla="*/ 40963 w 130102"/>
                  <a:gd name="connsiteY280" fmla="*/ 61635 h 111558"/>
                  <a:gd name="connsiteX281" fmla="*/ 43202 w 130102"/>
                  <a:gd name="connsiteY281" fmla="*/ 62104 h 111558"/>
                  <a:gd name="connsiteX282" fmla="*/ 41220 w 130102"/>
                  <a:gd name="connsiteY282" fmla="*/ 60576 h 111558"/>
                  <a:gd name="connsiteX283" fmla="*/ 38754 w 130102"/>
                  <a:gd name="connsiteY283" fmla="*/ 59076 h 111558"/>
                  <a:gd name="connsiteX284" fmla="*/ 32375 w 130102"/>
                  <a:gd name="connsiteY284" fmla="*/ 53109 h 111558"/>
                  <a:gd name="connsiteX285" fmla="*/ 30471 w 130102"/>
                  <a:gd name="connsiteY285" fmla="*/ 50286 h 111558"/>
                  <a:gd name="connsiteX286" fmla="*/ 30250 w 130102"/>
                  <a:gd name="connsiteY286" fmla="*/ 47241 h 111558"/>
                  <a:gd name="connsiteX287" fmla="*/ 30721 w 130102"/>
                  <a:gd name="connsiteY287" fmla="*/ 43060 h 111558"/>
                  <a:gd name="connsiteX288" fmla="*/ 29572 w 130102"/>
                  <a:gd name="connsiteY288" fmla="*/ 40063 h 111558"/>
                  <a:gd name="connsiteX289" fmla="*/ 24651 w 130102"/>
                  <a:gd name="connsiteY289" fmla="*/ 36179 h 111558"/>
                  <a:gd name="connsiteX290" fmla="*/ 22848 w 130102"/>
                  <a:gd name="connsiteY290" fmla="*/ 34128 h 111558"/>
                  <a:gd name="connsiteX291" fmla="*/ 19214 w 130102"/>
                  <a:gd name="connsiteY291" fmla="*/ 32910 h 111558"/>
                  <a:gd name="connsiteX292" fmla="*/ 17590 w 130102"/>
                  <a:gd name="connsiteY292" fmla="*/ 33030 h 111558"/>
                  <a:gd name="connsiteX293" fmla="*/ 16614 w 130102"/>
                  <a:gd name="connsiteY293" fmla="*/ 34545 h 111558"/>
                  <a:gd name="connsiteX294" fmla="*/ 15901 w 130102"/>
                  <a:gd name="connsiteY294" fmla="*/ 37910 h 111558"/>
                  <a:gd name="connsiteX295" fmla="*/ 12679 w 130102"/>
                  <a:gd name="connsiteY295" fmla="*/ 42343 h 111558"/>
                  <a:gd name="connsiteX296" fmla="*/ 11604 w 130102"/>
                  <a:gd name="connsiteY296" fmla="*/ 44267 h 111558"/>
                  <a:gd name="connsiteX297" fmla="*/ 9920 w 130102"/>
                  <a:gd name="connsiteY297" fmla="*/ 46766 h 111558"/>
                  <a:gd name="connsiteX298" fmla="*/ 8460 w 130102"/>
                  <a:gd name="connsiteY298" fmla="*/ 46938 h 111558"/>
                  <a:gd name="connsiteX299" fmla="*/ 7596 w 130102"/>
                  <a:gd name="connsiteY299" fmla="*/ 46718 h 111558"/>
                  <a:gd name="connsiteX300" fmla="*/ 4981 w 130102"/>
                  <a:gd name="connsiteY300" fmla="*/ 42510 h 111558"/>
                  <a:gd name="connsiteX301" fmla="*/ 2478 w 130102"/>
                  <a:gd name="connsiteY301" fmla="*/ 39319 h 111558"/>
                  <a:gd name="connsiteX302" fmla="*/ 2129 w 130102"/>
                  <a:gd name="connsiteY302" fmla="*/ 37807 h 111558"/>
                  <a:gd name="connsiteX303" fmla="*/ 1904 w 130102"/>
                  <a:gd name="connsiteY303" fmla="*/ 35946 h 111558"/>
                  <a:gd name="connsiteX304" fmla="*/ 0 w 130102"/>
                  <a:gd name="connsiteY304" fmla="*/ 29077 h 111558"/>
                  <a:gd name="connsiteX305" fmla="*/ 1343 w 130102"/>
                  <a:gd name="connsiteY305" fmla="*/ 28113 h 111558"/>
                  <a:gd name="connsiteX306" fmla="*/ 2168 w 130102"/>
                  <a:gd name="connsiteY306" fmla="*/ 29216 h 111558"/>
                  <a:gd name="connsiteX307" fmla="*/ 7994 w 130102"/>
                  <a:gd name="connsiteY307" fmla="*/ 30544 h 111558"/>
                  <a:gd name="connsiteX308" fmla="*/ 9252 w 130102"/>
                  <a:gd name="connsiteY308" fmla="*/ 29955 h 111558"/>
                  <a:gd name="connsiteX309" fmla="*/ 10015 w 130102"/>
                  <a:gd name="connsiteY309" fmla="*/ 29055 h 111558"/>
                  <a:gd name="connsiteX310" fmla="*/ 10019 w 130102"/>
                  <a:gd name="connsiteY310" fmla="*/ 28485 h 111558"/>
                  <a:gd name="connsiteX311" fmla="*/ 10516 w 130102"/>
                  <a:gd name="connsiteY311" fmla="*/ 28318 h 111558"/>
                  <a:gd name="connsiteX312" fmla="*/ 12567 w 130102"/>
                  <a:gd name="connsiteY312" fmla="*/ 29186 h 111558"/>
                  <a:gd name="connsiteX313" fmla="*/ 14241 w 130102"/>
                  <a:gd name="connsiteY313" fmla="*/ 28985 h 111558"/>
                  <a:gd name="connsiteX314" fmla="*/ 16933 w 130102"/>
                  <a:gd name="connsiteY314" fmla="*/ 28945 h 111558"/>
                  <a:gd name="connsiteX315" fmla="*/ 18855 w 130102"/>
                  <a:gd name="connsiteY315" fmla="*/ 29087 h 111558"/>
                  <a:gd name="connsiteX316" fmla="*/ 20125 w 130102"/>
                  <a:gd name="connsiteY316" fmla="*/ 28419 h 111558"/>
                  <a:gd name="connsiteX317" fmla="*/ 21846 w 130102"/>
                  <a:gd name="connsiteY317" fmla="*/ 25960 h 111558"/>
                  <a:gd name="connsiteX318" fmla="*/ 22483 w 130102"/>
                  <a:gd name="connsiteY318" fmla="*/ 24583 h 111558"/>
                  <a:gd name="connsiteX319" fmla="*/ 23254 w 130102"/>
                  <a:gd name="connsiteY319" fmla="*/ 24254 h 111558"/>
                  <a:gd name="connsiteX320" fmla="*/ 23761 w 130102"/>
                  <a:gd name="connsiteY320" fmla="*/ 24418 h 111558"/>
                  <a:gd name="connsiteX321" fmla="*/ 24133 w 130102"/>
                  <a:gd name="connsiteY321" fmla="*/ 25550 h 111558"/>
                  <a:gd name="connsiteX322" fmla="*/ 25038 w 130102"/>
                  <a:gd name="connsiteY322" fmla="*/ 26613 h 111558"/>
                  <a:gd name="connsiteX323" fmla="*/ 26897 w 130102"/>
                  <a:gd name="connsiteY323" fmla="*/ 28344 h 111558"/>
                  <a:gd name="connsiteX324" fmla="*/ 28212 w 130102"/>
                  <a:gd name="connsiteY324" fmla="*/ 29175 h 111558"/>
                  <a:gd name="connsiteX325" fmla="*/ 29406 w 130102"/>
                  <a:gd name="connsiteY325" fmla="*/ 29474 h 111558"/>
                  <a:gd name="connsiteX326" fmla="*/ 30576 w 130102"/>
                  <a:gd name="connsiteY326" fmla="*/ 28778 h 111558"/>
                  <a:gd name="connsiteX327" fmla="*/ 31784 w 130102"/>
                  <a:gd name="connsiteY327" fmla="*/ 28580 h 111558"/>
                  <a:gd name="connsiteX328" fmla="*/ 35230 w 130102"/>
                  <a:gd name="connsiteY328" fmla="*/ 29929 h 111558"/>
                  <a:gd name="connsiteX329" fmla="*/ 38141 w 130102"/>
                  <a:gd name="connsiteY329" fmla="*/ 30186 h 111558"/>
                  <a:gd name="connsiteX330" fmla="*/ 40294 w 130102"/>
                  <a:gd name="connsiteY330" fmla="*/ 29482 h 111558"/>
                  <a:gd name="connsiteX331" fmla="*/ 40011 w 130102"/>
                  <a:gd name="connsiteY331" fmla="*/ 28514 h 111558"/>
                  <a:gd name="connsiteX332" fmla="*/ 39227 w 130102"/>
                  <a:gd name="connsiteY332" fmla="*/ 27435 h 111558"/>
                  <a:gd name="connsiteX333" fmla="*/ 39058 w 130102"/>
                  <a:gd name="connsiteY333" fmla="*/ 26387 h 111558"/>
                  <a:gd name="connsiteX334" fmla="*/ 39203 w 130102"/>
                  <a:gd name="connsiteY334" fmla="*/ 25481 h 111558"/>
                  <a:gd name="connsiteX335" fmla="*/ 40680 w 130102"/>
                  <a:gd name="connsiteY335" fmla="*/ 24577 h 111558"/>
                  <a:gd name="connsiteX336" fmla="*/ 40609 w 130102"/>
                  <a:gd name="connsiteY336" fmla="*/ 24180 h 111558"/>
                  <a:gd name="connsiteX337" fmla="*/ 38823 w 130102"/>
                  <a:gd name="connsiteY337" fmla="*/ 22589 h 111558"/>
                  <a:gd name="connsiteX338" fmla="*/ 38914 w 130102"/>
                  <a:gd name="connsiteY338" fmla="*/ 22179 h 111558"/>
                  <a:gd name="connsiteX339" fmla="*/ 42829 w 130102"/>
                  <a:gd name="connsiteY339" fmla="*/ 20389 h 111558"/>
                  <a:gd name="connsiteX340" fmla="*/ 46603 w 130102"/>
                  <a:gd name="connsiteY340" fmla="*/ 19384 h 111558"/>
                  <a:gd name="connsiteX341" fmla="*/ 47208 w 130102"/>
                  <a:gd name="connsiteY341" fmla="*/ 18609 h 111558"/>
                  <a:gd name="connsiteX342" fmla="*/ 47560 w 130102"/>
                  <a:gd name="connsiteY342" fmla="*/ 17443 h 111558"/>
                  <a:gd name="connsiteX343" fmla="*/ 47726 w 130102"/>
                  <a:gd name="connsiteY343" fmla="*/ 15256 h 111558"/>
                  <a:gd name="connsiteX344" fmla="*/ 47519 w 130102"/>
                  <a:gd name="connsiteY344" fmla="*/ 13466 h 111558"/>
                  <a:gd name="connsiteX345" fmla="*/ 45986 w 130102"/>
                  <a:gd name="connsiteY345" fmla="*/ 11787 h 111558"/>
                  <a:gd name="connsiteX346" fmla="*/ 45891 w 130102"/>
                  <a:gd name="connsiteY346" fmla="*/ 10937 h 111558"/>
                  <a:gd name="connsiteX347" fmla="*/ 46254 w 130102"/>
                  <a:gd name="connsiteY347" fmla="*/ 10054 h 111558"/>
                  <a:gd name="connsiteX348" fmla="*/ 46849 w 130102"/>
                  <a:gd name="connsiteY348" fmla="*/ 9256 h 111558"/>
                  <a:gd name="connsiteX349" fmla="*/ 48359 w 130102"/>
                  <a:gd name="connsiteY349" fmla="*/ 8910 h 111558"/>
                  <a:gd name="connsiteX350" fmla="*/ 50130 w 130102"/>
                  <a:gd name="connsiteY350" fmla="*/ 8336 h 111558"/>
                  <a:gd name="connsiteX351" fmla="*/ 51529 w 130102"/>
                  <a:gd name="connsiteY351" fmla="*/ 7675 h 111558"/>
                  <a:gd name="connsiteX352" fmla="*/ 53425 w 130102"/>
                  <a:gd name="connsiteY352" fmla="*/ 7127 h 111558"/>
                  <a:gd name="connsiteX353" fmla="*/ 54915 w 130102"/>
                  <a:gd name="connsiteY353" fmla="*/ 6359 h 111558"/>
                  <a:gd name="connsiteX354" fmla="*/ 56370 w 130102"/>
                  <a:gd name="connsiteY354" fmla="*/ 4531 h 111558"/>
                  <a:gd name="connsiteX355" fmla="*/ 57253 w 130102"/>
                  <a:gd name="connsiteY355" fmla="*/ 4229 h 111558"/>
                  <a:gd name="connsiteX356" fmla="*/ 59929 w 130102"/>
                  <a:gd name="connsiteY356" fmla="*/ 4489 h 111558"/>
                  <a:gd name="connsiteX357" fmla="*/ 60501 w 130102"/>
                  <a:gd name="connsiteY357" fmla="*/ 4038 h 111558"/>
                  <a:gd name="connsiteX358" fmla="*/ 60134 w 130102"/>
                  <a:gd name="connsiteY358" fmla="*/ 1410 h 111558"/>
                  <a:gd name="connsiteX359" fmla="*/ 60613 w 130102"/>
                  <a:gd name="connsiteY359" fmla="*/ 742 h 111558"/>
                  <a:gd name="connsiteX360" fmla="*/ 61559 w 130102"/>
                  <a:gd name="connsiteY360" fmla="*/ 368 h 111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</a:cxnLst>
                <a:rect l="l" t="t" r="r" b="b"/>
                <a:pathLst>
                  <a:path w="130102" h="111558">
                    <a:moveTo>
                      <a:pt x="86563" y="101746"/>
                    </a:moveTo>
                    <a:lnTo>
                      <a:pt x="90452" y="102584"/>
                    </a:lnTo>
                    <a:lnTo>
                      <a:pt x="93469" y="104421"/>
                    </a:lnTo>
                    <a:lnTo>
                      <a:pt x="84622" y="102014"/>
                    </a:lnTo>
                    <a:lnTo>
                      <a:pt x="85626" y="101793"/>
                    </a:lnTo>
                    <a:close/>
                    <a:moveTo>
                      <a:pt x="69288" y="96494"/>
                    </a:moveTo>
                    <a:lnTo>
                      <a:pt x="73375" y="97242"/>
                    </a:lnTo>
                    <a:lnTo>
                      <a:pt x="76373" y="96898"/>
                    </a:lnTo>
                    <a:lnTo>
                      <a:pt x="79083" y="97357"/>
                    </a:lnTo>
                    <a:lnTo>
                      <a:pt x="80767" y="98207"/>
                    </a:lnTo>
                    <a:lnTo>
                      <a:pt x="81175" y="98624"/>
                    </a:lnTo>
                    <a:lnTo>
                      <a:pt x="78988" y="98682"/>
                    </a:lnTo>
                    <a:lnTo>
                      <a:pt x="76515" y="98337"/>
                    </a:lnTo>
                    <a:lnTo>
                      <a:pt x="73710" y="99201"/>
                    </a:lnTo>
                    <a:lnTo>
                      <a:pt x="71238" y="98739"/>
                    </a:lnTo>
                    <a:lnTo>
                      <a:pt x="70298" y="98178"/>
                    </a:lnTo>
                    <a:lnTo>
                      <a:pt x="69633" y="97476"/>
                    </a:lnTo>
                    <a:close/>
                    <a:moveTo>
                      <a:pt x="81872" y="95708"/>
                    </a:moveTo>
                    <a:lnTo>
                      <a:pt x="93013" y="100400"/>
                    </a:lnTo>
                    <a:lnTo>
                      <a:pt x="91773" y="99158"/>
                    </a:lnTo>
                    <a:lnTo>
                      <a:pt x="93380" y="98666"/>
                    </a:lnTo>
                    <a:lnTo>
                      <a:pt x="94745" y="99020"/>
                    </a:lnTo>
                    <a:lnTo>
                      <a:pt x="95615" y="100551"/>
                    </a:lnTo>
                    <a:lnTo>
                      <a:pt x="97330" y="101558"/>
                    </a:lnTo>
                    <a:lnTo>
                      <a:pt x="100109" y="103327"/>
                    </a:lnTo>
                    <a:lnTo>
                      <a:pt x="101864" y="104682"/>
                    </a:lnTo>
                    <a:lnTo>
                      <a:pt x="105846" y="107117"/>
                    </a:lnTo>
                    <a:lnTo>
                      <a:pt x="106788" y="107457"/>
                    </a:lnTo>
                    <a:lnTo>
                      <a:pt x="108772" y="108176"/>
                    </a:lnTo>
                    <a:lnTo>
                      <a:pt x="108811" y="109157"/>
                    </a:lnTo>
                    <a:lnTo>
                      <a:pt x="109664" y="110273"/>
                    </a:lnTo>
                    <a:lnTo>
                      <a:pt x="110566" y="111558"/>
                    </a:lnTo>
                    <a:lnTo>
                      <a:pt x="106488" y="109026"/>
                    </a:lnTo>
                    <a:lnTo>
                      <a:pt x="102676" y="106192"/>
                    </a:lnTo>
                    <a:lnTo>
                      <a:pt x="95229" y="101826"/>
                    </a:lnTo>
                    <a:lnTo>
                      <a:pt x="89946" y="100762"/>
                    </a:lnTo>
                    <a:lnTo>
                      <a:pt x="82721" y="97247"/>
                    </a:lnTo>
                    <a:lnTo>
                      <a:pt x="78016" y="96003"/>
                    </a:lnTo>
                    <a:lnTo>
                      <a:pt x="79808" y="95716"/>
                    </a:lnTo>
                    <a:close/>
                    <a:moveTo>
                      <a:pt x="66429" y="90251"/>
                    </a:moveTo>
                    <a:lnTo>
                      <a:pt x="69404" y="90667"/>
                    </a:lnTo>
                    <a:lnTo>
                      <a:pt x="70318" y="91709"/>
                    </a:lnTo>
                    <a:lnTo>
                      <a:pt x="78364" y="92543"/>
                    </a:lnTo>
                    <a:lnTo>
                      <a:pt x="81302" y="93029"/>
                    </a:lnTo>
                    <a:lnTo>
                      <a:pt x="79756" y="93307"/>
                    </a:lnTo>
                    <a:lnTo>
                      <a:pt x="69918" y="93100"/>
                    </a:lnTo>
                    <a:lnTo>
                      <a:pt x="67057" y="92543"/>
                    </a:lnTo>
                    <a:lnTo>
                      <a:pt x="63874" y="91108"/>
                    </a:lnTo>
                    <a:lnTo>
                      <a:pt x="63224" y="90667"/>
                    </a:lnTo>
                    <a:close/>
                    <a:moveTo>
                      <a:pt x="64827" y="86010"/>
                    </a:moveTo>
                    <a:lnTo>
                      <a:pt x="68202" y="86149"/>
                    </a:lnTo>
                    <a:lnTo>
                      <a:pt x="73350" y="86984"/>
                    </a:lnTo>
                    <a:lnTo>
                      <a:pt x="74609" y="87957"/>
                    </a:lnTo>
                    <a:lnTo>
                      <a:pt x="74218" y="88406"/>
                    </a:lnTo>
                    <a:lnTo>
                      <a:pt x="72263" y="89139"/>
                    </a:lnTo>
                    <a:lnTo>
                      <a:pt x="68774" y="89209"/>
                    </a:lnTo>
                    <a:lnTo>
                      <a:pt x="65742" y="88722"/>
                    </a:lnTo>
                    <a:lnTo>
                      <a:pt x="64256" y="87887"/>
                    </a:lnTo>
                    <a:lnTo>
                      <a:pt x="64367" y="87184"/>
                    </a:lnTo>
                    <a:close/>
                    <a:moveTo>
                      <a:pt x="38758" y="69183"/>
                    </a:moveTo>
                    <a:lnTo>
                      <a:pt x="41000" y="70181"/>
                    </a:lnTo>
                    <a:lnTo>
                      <a:pt x="42455" y="72191"/>
                    </a:lnTo>
                    <a:lnTo>
                      <a:pt x="41063" y="71778"/>
                    </a:lnTo>
                    <a:lnTo>
                      <a:pt x="39611" y="70534"/>
                    </a:lnTo>
                    <a:close/>
                    <a:moveTo>
                      <a:pt x="34243" y="65203"/>
                    </a:moveTo>
                    <a:lnTo>
                      <a:pt x="37897" y="67787"/>
                    </a:lnTo>
                    <a:lnTo>
                      <a:pt x="38242" y="68741"/>
                    </a:lnTo>
                    <a:lnTo>
                      <a:pt x="35483" y="66947"/>
                    </a:lnTo>
                    <a:lnTo>
                      <a:pt x="34437" y="65741"/>
                    </a:lnTo>
                    <a:close/>
                    <a:moveTo>
                      <a:pt x="29804" y="64924"/>
                    </a:moveTo>
                    <a:lnTo>
                      <a:pt x="31738" y="66300"/>
                    </a:lnTo>
                    <a:lnTo>
                      <a:pt x="36962" y="71573"/>
                    </a:lnTo>
                    <a:lnTo>
                      <a:pt x="37277" y="71969"/>
                    </a:lnTo>
                    <a:lnTo>
                      <a:pt x="37247" y="72239"/>
                    </a:lnTo>
                    <a:lnTo>
                      <a:pt x="36100" y="71858"/>
                    </a:lnTo>
                    <a:lnTo>
                      <a:pt x="35791" y="71981"/>
                    </a:lnTo>
                    <a:lnTo>
                      <a:pt x="30384" y="66074"/>
                    </a:lnTo>
                    <a:close/>
                    <a:moveTo>
                      <a:pt x="27080" y="50537"/>
                    </a:moveTo>
                    <a:lnTo>
                      <a:pt x="28449" y="51863"/>
                    </a:lnTo>
                    <a:lnTo>
                      <a:pt x="29590" y="52692"/>
                    </a:lnTo>
                    <a:lnTo>
                      <a:pt x="30533" y="52894"/>
                    </a:lnTo>
                    <a:lnTo>
                      <a:pt x="32930" y="54978"/>
                    </a:lnTo>
                    <a:lnTo>
                      <a:pt x="35286" y="57656"/>
                    </a:lnTo>
                    <a:lnTo>
                      <a:pt x="38093" y="59980"/>
                    </a:lnTo>
                    <a:lnTo>
                      <a:pt x="37510" y="60052"/>
                    </a:lnTo>
                    <a:lnTo>
                      <a:pt x="36955" y="60373"/>
                    </a:lnTo>
                    <a:lnTo>
                      <a:pt x="36383" y="61094"/>
                    </a:lnTo>
                    <a:lnTo>
                      <a:pt x="34954" y="59765"/>
                    </a:lnTo>
                    <a:lnTo>
                      <a:pt x="33641" y="58817"/>
                    </a:lnTo>
                    <a:lnTo>
                      <a:pt x="32701" y="57695"/>
                    </a:lnTo>
                    <a:lnTo>
                      <a:pt x="30859" y="56295"/>
                    </a:lnTo>
                    <a:lnTo>
                      <a:pt x="30237" y="54693"/>
                    </a:lnTo>
                    <a:lnTo>
                      <a:pt x="27491" y="51425"/>
                    </a:lnTo>
                    <a:close/>
                    <a:moveTo>
                      <a:pt x="25944" y="46425"/>
                    </a:moveTo>
                    <a:lnTo>
                      <a:pt x="27353" y="46516"/>
                    </a:lnTo>
                    <a:lnTo>
                      <a:pt x="27564" y="47155"/>
                    </a:lnTo>
                    <a:lnTo>
                      <a:pt x="29061" y="48859"/>
                    </a:lnTo>
                    <a:lnTo>
                      <a:pt x="29618" y="50061"/>
                    </a:lnTo>
                    <a:lnTo>
                      <a:pt x="27536" y="48976"/>
                    </a:lnTo>
                    <a:lnTo>
                      <a:pt x="25672" y="48561"/>
                    </a:lnTo>
                    <a:lnTo>
                      <a:pt x="25277" y="47744"/>
                    </a:lnTo>
                    <a:lnTo>
                      <a:pt x="25545" y="47074"/>
                    </a:lnTo>
                    <a:close/>
                    <a:moveTo>
                      <a:pt x="18596" y="37698"/>
                    </a:moveTo>
                    <a:lnTo>
                      <a:pt x="18838" y="40065"/>
                    </a:lnTo>
                    <a:lnTo>
                      <a:pt x="19382" y="41424"/>
                    </a:lnTo>
                    <a:lnTo>
                      <a:pt x="21010" y="43092"/>
                    </a:lnTo>
                    <a:lnTo>
                      <a:pt x="20682" y="45851"/>
                    </a:lnTo>
                    <a:lnTo>
                      <a:pt x="21015" y="49774"/>
                    </a:lnTo>
                    <a:lnTo>
                      <a:pt x="21345" y="50646"/>
                    </a:lnTo>
                    <a:lnTo>
                      <a:pt x="21468" y="51553"/>
                    </a:lnTo>
                    <a:lnTo>
                      <a:pt x="21297" y="52610"/>
                    </a:lnTo>
                    <a:lnTo>
                      <a:pt x="19952" y="51274"/>
                    </a:lnTo>
                    <a:lnTo>
                      <a:pt x="19274" y="48876"/>
                    </a:lnTo>
                    <a:lnTo>
                      <a:pt x="17583" y="44999"/>
                    </a:lnTo>
                    <a:lnTo>
                      <a:pt x="17365" y="43906"/>
                    </a:lnTo>
                    <a:lnTo>
                      <a:pt x="18242" y="42826"/>
                    </a:lnTo>
                    <a:lnTo>
                      <a:pt x="18195" y="41732"/>
                    </a:lnTo>
                    <a:lnTo>
                      <a:pt x="16996" y="38322"/>
                    </a:lnTo>
                    <a:lnTo>
                      <a:pt x="18000" y="37765"/>
                    </a:lnTo>
                    <a:close/>
                    <a:moveTo>
                      <a:pt x="23304" y="36128"/>
                    </a:moveTo>
                    <a:lnTo>
                      <a:pt x="24606" y="37408"/>
                    </a:lnTo>
                    <a:lnTo>
                      <a:pt x="26180" y="39816"/>
                    </a:lnTo>
                    <a:lnTo>
                      <a:pt x="27020" y="40488"/>
                    </a:lnTo>
                    <a:lnTo>
                      <a:pt x="28592" y="42905"/>
                    </a:lnTo>
                    <a:lnTo>
                      <a:pt x="25867" y="43491"/>
                    </a:lnTo>
                    <a:lnTo>
                      <a:pt x="24569" y="42443"/>
                    </a:lnTo>
                    <a:lnTo>
                      <a:pt x="24230" y="41583"/>
                    </a:lnTo>
                    <a:lnTo>
                      <a:pt x="21991" y="41310"/>
                    </a:lnTo>
                    <a:lnTo>
                      <a:pt x="20635" y="40112"/>
                    </a:lnTo>
                    <a:lnTo>
                      <a:pt x="20358" y="39581"/>
                    </a:lnTo>
                    <a:lnTo>
                      <a:pt x="22276" y="38262"/>
                    </a:lnTo>
                    <a:close/>
                    <a:moveTo>
                      <a:pt x="62002" y="0"/>
                    </a:moveTo>
                    <a:lnTo>
                      <a:pt x="64356" y="284"/>
                    </a:lnTo>
                    <a:lnTo>
                      <a:pt x="66314" y="964"/>
                    </a:lnTo>
                    <a:lnTo>
                      <a:pt x="67502" y="1378"/>
                    </a:lnTo>
                    <a:lnTo>
                      <a:pt x="71441" y="3281"/>
                    </a:lnTo>
                    <a:lnTo>
                      <a:pt x="74170" y="5419"/>
                    </a:lnTo>
                    <a:lnTo>
                      <a:pt x="75684" y="7791"/>
                    </a:lnTo>
                    <a:lnTo>
                      <a:pt x="77735" y="9628"/>
                    </a:lnTo>
                    <a:lnTo>
                      <a:pt x="80320" y="10927"/>
                    </a:lnTo>
                    <a:lnTo>
                      <a:pt x="82367" y="12689"/>
                    </a:lnTo>
                    <a:lnTo>
                      <a:pt x="83881" y="14912"/>
                    </a:lnTo>
                    <a:lnTo>
                      <a:pt x="85997" y="16156"/>
                    </a:lnTo>
                    <a:lnTo>
                      <a:pt x="88714" y="16426"/>
                    </a:lnTo>
                    <a:lnTo>
                      <a:pt x="90435" y="17186"/>
                    </a:lnTo>
                    <a:lnTo>
                      <a:pt x="91156" y="18438"/>
                    </a:lnTo>
                    <a:lnTo>
                      <a:pt x="92633" y="19572"/>
                    </a:lnTo>
                    <a:lnTo>
                      <a:pt x="94859" y="20586"/>
                    </a:lnTo>
                    <a:lnTo>
                      <a:pt x="98325" y="21142"/>
                    </a:lnTo>
                    <a:lnTo>
                      <a:pt x="104961" y="21274"/>
                    </a:lnTo>
                    <a:lnTo>
                      <a:pt x="105550" y="21302"/>
                    </a:lnTo>
                    <a:lnTo>
                      <a:pt x="107047" y="21617"/>
                    </a:lnTo>
                    <a:lnTo>
                      <a:pt x="108794" y="21223"/>
                    </a:lnTo>
                    <a:lnTo>
                      <a:pt x="110923" y="20429"/>
                    </a:lnTo>
                    <a:lnTo>
                      <a:pt x="111609" y="19956"/>
                    </a:lnTo>
                    <a:lnTo>
                      <a:pt x="113851" y="17359"/>
                    </a:lnTo>
                    <a:lnTo>
                      <a:pt x="115084" y="17583"/>
                    </a:lnTo>
                    <a:lnTo>
                      <a:pt x="117544" y="17266"/>
                    </a:lnTo>
                    <a:lnTo>
                      <a:pt x="119031" y="16690"/>
                    </a:lnTo>
                    <a:lnTo>
                      <a:pt x="119144" y="16690"/>
                    </a:lnTo>
                    <a:lnTo>
                      <a:pt x="119049" y="17355"/>
                    </a:lnTo>
                    <a:lnTo>
                      <a:pt x="118882" y="18516"/>
                    </a:lnTo>
                    <a:lnTo>
                      <a:pt x="117677" y="19338"/>
                    </a:lnTo>
                    <a:lnTo>
                      <a:pt x="118904" y="21229"/>
                    </a:lnTo>
                    <a:lnTo>
                      <a:pt x="120070" y="24293"/>
                    </a:lnTo>
                    <a:lnTo>
                      <a:pt x="119420" y="25806"/>
                    </a:lnTo>
                    <a:lnTo>
                      <a:pt x="120212" y="26983"/>
                    </a:lnTo>
                    <a:lnTo>
                      <a:pt x="122454" y="27828"/>
                    </a:lnTo>
                    <a:lnTo>
                      <a:pt x="122657" y="28165"/>
                    </a:lnTo>
                    <a:lnTo>
                      <a:pt x="121972" y="28517"/>
                    </a:lnTo>
                    <a:lnTo>
                      <a:pt x="121405" y="29516"/>
                    </a:lnTo>
                    <a:lnTo>
                      <a:pt x="121340" y="31336"/>
                    </a:lnTo>
                    <a:lnTo>
                      <a:pt x="123294" y="33054"/>
                    </a:lnTo>
                    <a:lnTo>
                      <a:pt x="127269" y="34670"/>
                    </a:lnTo>
                    <a:lnTo>
                      <a:pt x="128539" y="34941"/>
                    </a:lnTo>
                    <a:lnTo>
                      <a:pt x="129025" y="35562"/>
                    </a:lnTo>
                    <a:lnTo>
                      <a:pt x="129690" y="35968"/>
                    </a:lnTo>
                    <a:lnTo>
                      <a:pt x="130081" y="36464"/>
                    </a:lnTo>
                    <a:lnTo>
                      <a:pt x="130102" y="37105"/>
                    </a:lnTo>
                    <a:lnTo>
                      <a:pt x="129818" y="37545"/>
                    </a:lnTo>
                    <a:lnTo>
                      <a:pt x="127937" y="37702"/>
                    </a:lnTo>
                    <a:lnTo>
                      <a:pt x="125790" y="37688"/>
                    </a:lnTo>
                    <a:lnTo>
                      <a:pt x="124264" y="36909"/>
                    </a:lnTo>
                    <a:lnTo>
                      <a:pt x="124128" y="37477"/>
                    </a:lnTo>
                    <a:lnTo>
                      <a:pt x="124104" y="38128"/>
                    </a:lnTo>
                    <a:lnTo>
                      <a:pt x="122627" y="38525"/>
                    </a:lnTo>
                    <a:lnTo>
                      <a:pt x="123447" y="42995"/>
                    </a:lnTo>
                    <a:lnTo>
                      <a:pt x="123121" y="44279"/>
                    </a:lnTo>
                    <a:lnTo>
                      <a:pt x="122575" y="44710"/>
                    </a:lnTo>
                    <a:lnTo>
                      <a:pt x="122067" y="44531"/>
                    </a:lnTo>
                    <a:lnTo>
                      <a:pt x="121448" y="44481"/>
                    </a:lnTo>
                    <a:lnTo>
                      <a:pt x="121137" y="44900"/>
                    </a:lnTo>
                    <a:lnTo>
                      <a:pt x="121394" y="45851"/>
                    </a:lnTo>
                    <a:lnTo>
                      <a:pt x="119938" y="45960"/>
                    </a:lnTo>
                    <a:lnTo>
                      <a:pt x="117619" y="45467"/>
                    </a:lnTo>
                    <a:lnTo>
                      <a:pt x="116557" y="44603"/>
                    </a:lnTo>
                    <a:lnTo>
                      <a:pt x="116375" y="43720"/>
                    </a:lnTo>
                    <a:lnTo>
                      <a:pt x="116358" y="42900"/>
                    </a:lnTo>
                    <a:lnTo>
                      <a:pt x="115622" y="41553"/>
                    </a:lnTo>
                    <a:lnTo>
                      <a:pt x="113776" y="40161"/>
                    </a:lnTo>
                    <a:lnTo>
                      <a:pt x="109921" y="39931"/>
                    </a:lnTo>
                    <a:lnTo>
                      <a:pt x="108498" y="39489"/>
                    </a:lnTo>
                    <a:lnTo>
                      <a:pt x="107032" y="38981"/>
                    </a:lnTo>
                    <a:lnTo>
                      <a:pt x="105425" y="38605"/>
                    </a:lnTo>
                    <a:lnTo>
                      <a:pt x="103944" y="38643"/>
                    </a:lnTo>
                    <a:lnTo>
                      <a:pt x="102158" y="39013"/>
                    </a:lnTo>
                    <a:lnTo>
                      <a:pt x="99042" y="38400"/>
                    </a:lnTo>
                    <a:lnTo>
                      <a:pt x="97988" y="39218"/>
                    </a:lnTo>
                    <a:lnTo>
                      <a:pt x="96347" y="40166"/>
                    </a:lnTo>
                    <a:lnTo>
                      <a:pt x="94984" y="40142"/>
                    </a:lnTo>
                    <a:lnTo>
                      <a:pt x="92272" y="37945"/>
                    </a:lnTo>
                    <a:lnTo>
                      <a:pt x="91463" y="37806"/>
                    </a:lnTo>
                    <a:lnTo>
                      <a:pt x="89091" y="38926"/>
                    </a:lnTo>
                    <a:lnTo>
                      <a:pt x="88126" y="38986"/>
                    </a:lnTo>
                    <a:lnTo>
                      <a:pt x="87386" y="38632"/>
                    </a:lnTo>
                    <a:lnTo>
                      <a:pt x="84179" y="37793"/>
                    </a:lnTo>
                    <a:lnTo>
                      <a:pt x="82732" y="37612"/>
                    </a:lnTo>
                    <a:lnTo>
                      <a:pt x="81670" y="38009"/>
                    </a:lnTo>
                    <a:lnTo>
                      <a:pt x="79785" y="37579"/>
                    </a:lnTo>
                    <a:lnTo>
                      <a:pt x="75213" y="34708"/>
                    </a:lnTo>
                    <a:lnTo>
                      <a:pt x="72387" y="36891"/>
                    </a:lnTo>
                    <a:lnTo>
                      <a:pt x="66634" y="36348"/>
                    </a:lnTo>
                    <a:lnTo>
                      <a:pt x="64928" y="37846"/>
                    </a:lnTo>
                    <a:lnTo>
                      <a:pt x="62972" y="40683"/>
                    </a:lnTo>
                    <a:lnTo>
                      <a:pt x="61387" y="42037"/>
                    </a:lnTo>
                    <a:lnTo>
                      <a:pt x="60009" y="41551"/>
                    </a:lnTo>
                    <a:lnTo>
                      <a:pt x="58379" y="40303"/>
                    </a:lnTo>
                    <a:lnTo>
                      <a:pt x="55526" y="37091"/>
                    </a:lnTo>
                    <a:lnTo>
                      <a:pt x="54086" y="36511"/>
                    </a:lnTo>
                    <a:lnTo>
                      <a:pt x="52429" y="36375"/>
                    </a:lnTo>
                    <a:lnTo>
                      <a:pt x="50983" y="36730"/>
                    </a:lnTo>
                    <a:lnTo>
                      <a:pt x="50214" y="37382"/>
                    </a:lnTo>
                    <a:lnTo>
                      <a:pt x="49626" y="42073"/>
                    </a:lnTo>
                    <a:lnTo>
                      <a:pt x="49106" y="46200"/>
                    </a:lnTo>
                    <a:lnTo>
                      <a:pt x="49076" y="48671"/>
                    </a:lnTo>
                    <a:lnTo>
                      <a:pt x="52248" y="50957"/>
                    </a:lnTo>
                    <a:lnTo>
                      <a:pt x="55984" y="54887"/>
                    </a:lnTo>
                    <a:lnTo>
                      <a:pt x="57187" y="55338"/>
                    </a:lnTo>
                    <a:lnTo>
                      <a:pt x="57781" y="56624"/>
                    </a:lnTo>
                    <a:lnTo>
                      <a:pt x="58655" y="59931"/>
                    </a:lnTo>
                    <a:lnTo>
                      <a:pt x="59637" y="63645"/>
                    </a:lnTo>
                    <a:lnTo>
                      <a:pt x="61536" y="66102"/>
                    </a:lnTo>
                    <a:lnTo>
                      <a:pt x="63248" y="67859"/>
                    </a:lnTo>
                    <a:lnTo>
                      <a:pt x="65338" y="69403"/>
                    </a:lnTo>
                    <a:lnTo>
                      <a:pt x="67957" y="71822"/>
                    </a:lnTo>
                    <a:lnTo>
                      <a:pt x="70106" y="74474"/>
                    </a:lnTo>
                    <a:lnTo>
                      <a:pt x="70676" y="75452"/>
                    </a:lnTo>
                    <a:lnTo>
                      <a:pt x="74842" y="78954"/>
                    </a:lnTo>
                    <a:lnTo>
                      <a:pt x="78882" y="82524"/>
                    </a:lnTo>
                    <a:lnTo>
                      <a:pt x="82497" y="83772"/>
                    </a:lnTo>
                    <a:lnTo>
                      <a:pt x="83067" y="84431"/>
                    </a:lnTo>
                    <a:lnTo>
                      <a:pt x="83099" y="87172"/>
                    </a:lnTo>
                    <a:lnTo>
                      <a:pt x="83492" y="88200"/>
                    </a:lnTo>
                    <a:lnTo>
                      <a:pt x="85906" y="91066"/>
                    </a:lnTo>
                    <a:lnTo>
                      <a:pt x="90828" y="95255"/>
                    </a:lnTo>
                    <a:lnTo>
                      <a:pt x="91396" y="96225"/>
                    </a:lnTo>
                    <a:lnTo>
                      <a:pt x="91558" y="96935"/>
                    </a:lnTo>
                    <a:lnTo>
                      <a:pt x="91240" y="97480"/>
                    </a:lnTo>
                    <a:lnTo>
                      <a:pt x="89951" y="98053"/>
                    </a:lnTo>
                    <a:lnTo>
                      <a:pt x="88893" y="97413"/>
                    </a:lnTo>
                    <a:lnTo>
                      <a:pt x="84306" y="93321"/>
                    </a:lnTo>
                    <a:lnTo>
                      <a:pt x="79873" y="90738"/>
                    </a:lnTo>
                    <a:lnTo>
                      <a:pt x="74870" y="85865"/>
                    </a:lnTo>
                    <a:lnTo>
                      <a:pt x="68173" y="83938"/>
                    </a:lnTo>
                    <a:lnTo>
                      <a:pt x="63611" y="81802"/>
                    </a:lnTo>
                    <a:lnTo>
                      <a:pt x="60847" y="82129"/>
                    </a:lnTo>
                    <a:lnTo>
                      <a:pt x="57798" y="82801"/>
                    </a:lnTo>
                    <a:lnTo>
                      <a:pt x="55917" y="82822"/>
                    </a:lnTo>
                    <a:lnTo>
                      <a:pt x="54580" y="82438"/>
                    </a:lnTo>
                    <a:lnTo>
                      <a:pt x="53630" y="81113"/>
                    </a:lnTo>
                    <a:lnTo>
                      <a:pt x="53775" y="80088"/>
                    </a:lnTo>
                    <a:lnTo>
                      <a:pt x="53606" y="78749"/>
                    </a:lnTo>
                    <a:lnTo>
                      <a:pt x="50933" y="76610"/>
                    </a:lnTo>
                    <a:lnTo>
                      <a:pt x="47286" y="74575"/>
                    </a:lnTo>
                    <a:lnTo>
                      <a:pt x="43831" y="71940"/>
                    </a:lnTo>
                    <a:lnTo>
                      <a:pt x="36897" y="64811"/>
                    </a:lnTo>
                    <a:lnTo>
                      <a:pt x="35506" y="62516"/>
                    </a:lnTo>
                    <a:lnTo>
                      <a:pt x="36871" y="62079"/>
                    </a:lnTo>
                    <a:lnTo>
                      <a:pt x="37903" y="62118"/>
                    </a:lnTo>
                    <a:lnTo>
                      <a:pt x="39074" y="61647"/>
                    </a:lnTo>
                    <a:lnTo>
                      <a:pt x="40963" y="61635"/>
                    </a:lnTo>
                    <a:lnTo>
                      <a:pt x="43202" y="62104"/>
                    </a:lnTo>
                    <a:lnTo>
                      <a:pt x="41220" y="60576"/>
                    </a:lnTo>
                    <a:lnTo>
                      <a:pt x="38754" y="59076"/>
                    </a:lnTo>
                    <a:lnTo>
                      <a:pt x="32375" y="53109"/>
                    </a:lnTo>
                    <a:lnTo>
                      <a:pt x="30471" y="50286"/>
                    </a:lnTo>
                    <a:lnTo>
                      <a:pt x="30250" y="47241"/>
                    </a:lnTo>
                    <a:lnTo>
                      <a:pt x="30721" y="43060"/>
                    </a:lnTo>
                    <a:lnTo>
                      <a:pt x="29572" y="40063"/>
                    </a:lnTo>
                    <a:lnTo>
                      <a:pt x="24651" y="36179"/>
                    </a:lnTo>
                    <a:lnTo>
                      <a:pt x="22848" y="34128"/>
                    </a:lnTo>
                    <a:lnTo>
                      <a:pt x="19214" y="32910"/>
                    </a:lnTo>
                    <a:lnTo>
                      <a:pt x="17590" y="33030"/>
                    </a:lnTo>
                    <a:lnTo>
                      <a:pt x="16614" y="34545"/>
                    </a:lnTo>
                    <a:lnTo>
                      <a:pt x="15901" y="37910"/>
                    </a:lnTo>
                    <a:lnTo>
                      <a:pt x="12679" y="42343"/>
                    </a:lnTo>
                    <a:lnTo>
                      <a:pt x="11604" y="44267"/>
                    </a:lnTo>
                    <a:lnTo>
                      <a:pt x="9920" y="46766"/>
                    </a:lnTo>
                    <a:lnTo>
                      <a:pt x="8460" y="46938"/>
                    </a:lnTo>
                    <a:lnTo>
                      <a:pt x="7596" y="46718"/>
                    </a:lnTo>
                    <a:lnTo>
                      <a:pt x="4981" y="42510"/>
                    </a:lnTo>
                    <a:lnTo>
                      <a:pt x="2478" y="39319"/>
                    </a:lnTo>
                    <a:lnTo>
                      <a:pt x="2129" y="37807"/>
                    </a:lnTo>
                    <a:lnTo>
                      <a:pt x="1904" y="35946"/>
                    </a:lnTo>
                    <a:lnTo>
                      <a:pt x="0" y="29077"/>
                    </a:lnTo>
                    <a:lnTo>
                      <a:pt x="1343" y="28113"/>
                    </a:lnTo>
                    <a:lnTo>
                      <a:pt x="2168" y="29216"/>
                    </a:lnTo>
                    <a:lnTo>
                      <a:pt x="7994" y="30544"/>
                    </a:lnTo>
                    <a:lnTo>
                      <a:pt x="9252" y="29955"/>
                    </a:lnTo>
                    <a:lnTo>
                      <a:pt x="10015" y="29055"/>
                    </a:lnTo>
                    <a:lnTo>
                      <a:pt x="10019" y="28485"/>
                    </a:lnTo>
                    <a:lnTo>
                      <a:pt x="10516" y="28318"/>
                    </a:lnTo>
                    <a:lnTo>
                      <a:pt x="12567" y="29186"/>
                    </a:lnTo>
                    <a:lnTo>
                      <a:pt x="14241" y="28985"/>
                    </a:lnTo>
                    <a:lnTo>
                      <a:pt x="16933" y="28945"/>
                    </a:lnTo>
                    <a:lnTo>
                      <a:pt x="18855" y="29087"/>
                    </a:lnTo>
                    <a:lnTo>
                      <a:pt x="20125" y="28419"/>
                    </a:lnTo>
                    <a:lnTo>
                      <a:pt x="21846" y="25960"/>
                    </a:lnTo>
                    <a:lnTo>
                      <a:pt x="22483" y="24583"/>
                    </a:lnTo>
                    <a:lnTo>
                      <a:pt x="23254" y="24254"/>
                    </a:lnTo>
                    <a:lnTo>
                      <a:pt x="23761" y="24418"/>
                    </a:lnTo>
                    <a:lnTo>
                      <a:pt x="24133" y="25550"/>
                    </a:lnTo>
                    <a:lnTo>
                      <a:pt x="25038" y="26613"/>
                    </a:lnTo>
                    <a:lnTo>
                      <a:pt x="26897" y="28344"/>
                    </a:lnTo>
                    <a:lnTo>
                      <a:pt x="28212" y="29175"/>
                    </a:lnTo>
                    <a:lnTo>
                      <a:pt x="29406" y="29474"/>
                    </a:lnTo>
                    <a:lnTo>
                      <a:pt x="30576" y="28778"/>
                    </a:lnTo>
                    <a:lnTo>
                      <a:pt x="31784" y="28580"/>
                    </a:lnTo>
                    <a:lnTo>
                      <a:pt x="35230" y="29929"/>
                    </a:lnTo>
                    <a:lnTo>
                      <a:pt x="38141" y="30186"/>
                    </a:lnTo>
                    <a:lnTo>
                      <a:pt x="40294" y="29482"/>
                    </a:lnTo>
                    <a:lnTo>
                      <a:pt x="40011" y="28514"/>
                    </a:lnTo>
                    <a:lnTo>
                      <a:pt x="39227" y="27435"/>
                    </a:lnTo>
                    <a:lnTo>
                      <a:pt x="39058" y="26387"/>
                    </a:lnTo>
                    <a:lnTo>
                      <a:pt x="39203" y="25481"/>
                    </a:lnTo>
                    <a:lnTo>
                      <a:pt x="40680" y="24577"/>
                    </a:lnTo>
                    <a:lnTo>
                      <a:pt x="40609" y="24180"/>
                    </a:lnTo>
                    <a:lnTo>
                      <a:pt x="38823" y="22589"/>
                    </a:lnTo>
                    <a:lnTo>
                      <a:pt x="38914" y="22179"/>
                    </a:lnTo>
                    <a:lnTo>
                      <a:pt x="42829" y="20389"/>
                    </a:lnTo>
                    <a:lnTo>
                      <a:pt x="46603" y="19384"/>
                    </a:lnTo>
                    <a:lnTo>
                      <a:pt x="47208" y="18609"/>
                    </a:lnTo>
                    <a:lnTo>
                      <a:pt x="47560" y="17443"/>
                    </a:lnTo>
                    <a:lnTo>
                      <a:pt x="47726" y="15256"/>
                    </a:lnTo>
                    <a:lnTo>
                      <a:pt x="47519" y="13466"/>
                    </a:lnTo>
                    <a:lnTo>
                      <a:pt x="45986" y="11787"/>
                    </a:lnTo>
                    <a:lnTo>
                      <a:pt x="45891" y="10937"/>
                    </a:lnTo>
                    <a:lnTo>
                      <a:pt x="46254" y="10054"/>
                    </a:lnTo>
                    <a:lnTo>
                      <a:pt x="46849" y="9256"/>
                    </a:lnTo>
                    <a:lnTo>
                      <a:pt x="48359" y="8910"/>
                    </a:lnTo>
                    <a:lnTo>
                      <a:pt x="50130" y="8336"/>
                    </a:lnTo>
                    <a:lnTo>
                      <a:pt x="51529" y="7675"/>
                    </a:lnTo>
                    <a:lnTo>
                      <a:pt x="53425" y="7127"/>
                    </a:lnTo>
                    <a:lnTo>
                      <a:pt x="54915" y="6359"/>
                    </a:lnTo>
                    <a:lnTo>
                      <a:pt x="56370" y="4531"/>
                    </a:lnTo>
                    <a:lnTo>
                      <a:pt x="57253" y="4229"/>
                    </a:lnTo>
                    <a:lnTo>
                      <a:pt x="59929" y="4489"/>
                    </a:lnTo>
                    <a:lnTo>
                      <a:pt x="60501" y="4038"/>
                    </a:lnTo>
                    <a:lnTo>
                      <a:pt x="60134" y="1410"/>
                    </a:lnTo>
                    <a:lnTo>
                      <a:pt x="60613" y="742"/>
                    </a:lnTo>
                    <a:lnTo>
                      <a:pt x="61559" y="368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3" name="ee4p_HU_1_15912">
                <a:extLst>
                  <a:ext uri="{FF2B5EF4-FFF2-40B4-BE49-F238E27FC236}">
                    <a16:creationId xmlns:a16="http://schemas.microsoft.com/office/drawing/2014/main" id="{245176EA-73B9-48D0-3279-0365120298FB}"/>
                  </a:ext>
                </a:extLst>
              </p:cNvPr>
              <p:cNvSpPr>
                <a:spLocks noChangeAspect="1"/>
              </p:cNvSpPr>
              <p:nvPr>
                <p:custDataLst>
                  <p:tags r:id="rId254"/>
                </p:custDataLst>
              </p:nvPr>
            </p:nvSpPr>
            <p:spPr>
              <a:xfrm>
                <a:off x="5182390" y="4695755"/>
                <a:ext cx="594635" cy="310395"/>
              </a:xfrm>
              <a:custGeom>
                <a:avLst/>
                <a:gdLst/>
                <a:ahLst/>
                <a:cxnLst/>
                <a:rect l="0" t="0" r="0" b="0"/>
                <a:pathLst>
                  <a:path w="150000" h="78299">
                    <a:moveTo>
                      <a:pt x="133530" y="4202"/>
                    </a:moveTo>
                    <a:lnTo>
                      <a:pt x="135637" y="3973"/>
                    </a:lnTo>
                    <a:lnTo>
                      <a:pt x="135726" y="4008"/>
                    </a:lnTo>
                    <a:lnTo>
                      <a:pt x="136225" y="4144"/>
                    </a:lnTo>
                    <a:lnTo>
                      <a:pt x="136572" y="5461"/>
                    </a:lnTo>
                    <a:lnTo>
                      <a:pt x="136632" y="5543"/>
                    </a:lnTo>
                    <a:lnTo>
                      <a:pt x="137140" y="6413"/>
                    </a:lnTo>
                    <a:lnTo>
                      <a:pt x="137617" y="7564"/>
                    </a:lnTo>
                    <a:lnTo>
                      <a:pt x="138358" y="8429"/>
                    </a:lnTo>
                    <a:lnTo>
                      <a:pt x="139986" y="8790"/>
                    </a:lnTo>
                    <a:lnTo>
                      <a:pt x="142115" y="9863"/>
                    </a:lnTo>
                    <a:lnTo>
                      <a:pt x="143493" y="11880"/>
                    </a:lnTo>
                    <a:lnTo>
                      <a:pt x="145570" y="12717"/>
                    </a:lnTo>
                    <a:lnTo>
                      <a:pt x="145720" y="12739"/>
                    </a:lnTo>
                    <a:lnTo>
                      <a:pt x="146128" y="12643"/>
                    </a:lnTo>
                    <a:lnTo>
                      <a:pt x="147622" y="12569"/>
                    </a:lnTo>
                    <a:lnTo>
                      <a:pt x="147911" y="12976"/>
                    </a:lnTo>
                    <a:lnTo>
                      <a:pt x="149105" y="13962"/>
                    </a:lnTo>
                    <a:lnTo>
                      <a:pt x="149570" y="14830"/>
                    </a:lnTo>
                    <a:lnTo>
                      <a:pt x="149332" y="15747"/>
                    </a:lnTo>
                    <a:lnTo>
                      <a:pt x="149544" y="16784"/>
                    </a:lnTo>
                    <a:lnTo>
                      <a:pt x="149999" y="17152"/>
                    </a:lnTo>
                    <a:lnTo>
                      <a:pt x="149449" y="17848"/>
                    </a:lnTo>
                    <a:lnTo>
                      <a:pt x="145579" y="21328"/>
                    </a:lnTo>
                    <a:lnTo>
                      <a:pt x="144067" y="22249"/>
                    </a:lnTo>
                    <a:lnTo>
                      <a:pt x="143061" y="22439"/>
                    </a:lnTo>
                    <a:lnTo>
                      <a:pt x="141481" y="22073"/>
                    </a:lnTo>
                    <a:lnTo>
                      <a:pt x="139846" y="22352"/>
                    </a:lnTo>
                    <a:lnTo>
                      <a:pt x="138386" y="23096"/>
                    </a:lnTo>
                    <a:lnTo>
                      <a:pt x="137041" y="23332"/>
                    </a:lnTo>
                    <a:lnTo>
                      <a:pt x="136024" y="24216"/>
                    </a:lnTo>
                    <a:lnTo>
                      <a:pt x="134707" y="26109"/>
                    </a:lnTo>
                    <a:lnTo>
                      <a:pt x="133089" y="27711"/>
                    </a:lnTo>
                    <a:lnTo>
                      <a:pt x="131454" y="28705"/>
                    </a:lnTo>
                    <a:lnTo>
                      <a:pt x="130608" y="29592"/>
                    </a:lnTo>
                    <a:lnTo>
                      <a:pt x="130511" y="32658"/>
                    </a:lnTo>
                    <a:lnTo>
                      <a:pt x="129604" y="33539"/>
                    </a:lnTo>
                    <a:lnTo>
                      <a:pt x="128386" y="34427"/>
                    </a:lnTo>
                    <a:lnTo>
                      <a:pt x="127725" y="35211"/>
                    </a:lnTo>
                    <a:lnTo>
                      <a:pt x="125870" y="39867"/>
                    </a:lnTo>
                    <a:lnTo>
                      <a:pt x="124462" y="41357"/>
                    </a:lnTo>
                    <a:lnTo>
                      <a:pt x="123128" y="42500"/>
                    </a:lnTo>
                    <a:lnTo>
                      <a:pt x="122908" y="43543"/>
                    </a:lnTo>
                    <a:lnTo>
                      <a:pt x="122934" y="44736"/>
                    </a:lnTo>
                    <a:lnTo>
                      <a:pt x="121420" y="47118"/>
                    </a:lnTo>
                    <a:lnTo>
                      <a:pt x="119435" y="49587"/>
                    </a:lnTo>
                    <a:lnTo>
                      <a:pt x="119051" y="50600"/>
                    </a:lnTo>
                    <a:lnTo>
                      <a:pt x="119494" y="51965"/>
                    </a:lnTo>
                    <a:lnTo>
                      <a:pt x="117591" y="53535"/>
                    </a:lnTo>
                    <a:lnTo>
                      <a:pt x="116492" y="54288"/>
                    </a:lnTo>
                    <a:lnTo>
                      <a:pt x="115583" y="54648"/>
                    </a:lnTo>
                    <a:lnTo>
                      <a:pt x="115015" y="55630"/>
                    </a:lnTo>
                    <a:lnTo>
                      <a:pt x="114080" y="58021"/>
                    </a:lnTo>
                    <a:lnTo>
                      <a:pt x="114324" y="59093"/>
                    </a:lnTo>
                    <a:lnTo>
                      <a:pt x="114352" y="60076"/>
                    </a:lnTo>
                    <a:lnTo>
                      <a:pt x="112743" y="60652"/>
                    </a:lnTo>
                    <a:lnTo>
                      <a:pt x="112270" y="61729"/>
                    </a:lnTo>
                    <a:lnTo>
                      <a:pt x="111862" y="63069"/>
                    </a:lnTo>
                    <a:lnTo>
                      <a:pt x="111193" y="63676"/>
                    </a:lnTo>
                    <a:lnTo>
                      <a:pt x="109383" y="64789"/>
                    </a:lnTo>
                    <a:lnTo>
                      <a:pt x="104898" y="64305"/>
                    </a:lnTo>
                    <a:lnTo>
                      <a:pt x="103201" y="64678"/>
                    </a:lnTo>
                    <a:lnTo>
                      <a:pt x="102696" y="65474"/>
                    </a:lnTo>
                    <a:lnTo>
                      <a:pt x="102592" y="66112"/>
                    </a:lnTo>
                    <a:lnTo>
                      <a:pt x="102033" y="66710"/>
                    </a:lnTo>
                    <a:lnTo>
                      <a:pt x="101007" y="67461"/>
                    </a:lnTo>
                    <a:lnTo>
                      <a:pt x="99960" y="67797"/>
                    </a:lnTo>
                    <a:lnTo>
                      <a:pt x="97626" y="66872"/>
                    </a:lnTo>
                    <a:lnTo>
                      <a:pt x="92603" y="67811"/>
                    </a:lnTo>
                    <a:lnTo>
                      <a:pt x="91737" y="68486"/>
                    </a:lnTo>
                    <a:lnTo>
                      <a:pt x="91037" y="68004"/>
                    </a:lnTo>
                    <a:lnTo>
                      <a:pt x="89960" y="67565"/>
                    </a:lnTo>
                    <a:lnTo>
                      <a:pt x="84933" y="67023"/>
                    </a:lnTo>
                    <a:lnTo>
                      <a:pt x="82950" y="67454"/>
                    </a:lnTo>
                    <a:lnTo>
                      <a:pt x="80299" y="67288"/>
                    </a:lnTo>
                    <a:lnTo>
                      <a:pt x="77843" y="66810"/>
                    </a:lnTo>
                    <a:lnTo>
                      <a:pt x="76014" y="67198"/>
                    </a:lnTo>
                    <a:lnTo>
                      <a:pt x="74395" y="69073"/>
                    </a:lnTo>
                    <a:lnTo>
                      <a:pt x="73594" y="69706"/>
                    </a:lnTo>
                    <a:lnTo>
                      <a:pt x="72965" y="70111"/>
                    </a:lnTo>
                    <a:lnTo>
                      <a:pt x="71581" y="70699"/>
                    </a:lnTo>
                    <a:lnTo>
                      <a:pt x="70428" y="71407"/>
                    </a:lnTo>
                    <a:lnTo>
                      <a:pt x="68886" y="71916"/>
                    </a:lnTo>
                    <a:lnTo>
                      <a:pt x="67513" y="71845"/>
                    </a:lnTo>
                    <a:lnTo>
                      <a:pt x="66208" y="71040"/>
                    </a:lnTo>
                    <a:lnTo>
                      <a:pt x="65742" y="71223"/>
                    </a:lnTo>
                    <a:lnTo>
                      <a:pt x="65332" y="71965"/>
                    </a:lnTo>
                    <a:lnTo>
                      <a:pt x="64626" y="72599"/>
                    </a:lnTo>
                    <a:lnTo>
                      <a:pt x="62682" y="73380"/>
                    </a:lnTo>
                    <a:lnTo>
                      <a:pt x="62186" y="73371"/>
                    </a:lnTo>
                    <a:lnTo>
                      <a:pt x="62073" y="73371"/>
                    </a:lnTo>
                    <a:lnTo>
                      <a:pt x="60586" y="73947"/>
                    </a:lnTo>
                    <a:lnTo>
                      <a:pt x="58126" y="74264"/>
                    </a:lnTo>
                    <a:lnTo>
                      <a:pt x="56893" y="74040"/>
                    </a:lnTo>
                    <a:lnTo>
                      <a:pt x="54651" y="76637"/>
                    </a:lnTo>
                    <a:lnTo>
                      <a:pt x="53965" y="77110"/>
                    </a:lnTo>
                    <a:lnTo>
                      <a:pt x="51836" y="77904"/>
                    </a:lnTo>
                    <a:lnTo>
                      <a:pt x="50089" y="78298"/>
                    </a:lnTo>
                    <a:lnTo>
                      <a:pt x="48592" y="77983"/>
                    </a:lnTo>
                    <a:lnTo>
                      <a:pt x="48003" y="77955"/>
                    </a:lnTo>
                    <a:lnTo>
                      <a:pt x="41367" y="77823"/>
                    </a:lnTo>
                    <a:lnTo>
                      <a:pt x="37901" y="77267"/>
                    </a:lnTo>
                    <a:lnTo>
                      <a:pt x="35675" y="76253"/>
                    </a:lnTo>
                    <a:lnTo>
                      <a:pt x="34198" y="75119"/>
                    </a:lnTo>
                    <a:lnTo>
                      <a:pt x="33477" y="73867"/>
                    </a:lnTo>
                    <a:lnTo>
                      <a:pt x="31756" y="73107"/>
                    </a:lnTo>
                    <a:lnTo>
                      <a:pt x="29039" y="72837"/>
                    </a:lnTo>
                    <a:lnTo>
                      <a:pt x="26923" y="71593"/>
                    </a:lnTo>
                    <a:lnTo>
                      <a:pt x="25409" y="69370"/>
                    </a:lnTo>
                    <a:lnTo>
                      <a:pt x="23362" y="67608"/>
                    </a:lnTo>
                    <a:lnTo>
                      <a:pt x="20777" y="66309"/>
                    </a:lnTo>
                    <a:lnTo>
                      <a:pt x="18726" y="64472"/>
                    </a:lnTo>
                    <a:lnTo>
                      <a:pt x="17212" y="62100"/>
                    </a:lnTo>
                    <a:lnTo>
                      <a:pt x="14483" y="59962"/>
                    </a:lnTo>
                    <a:lnTo>
                      <a:pt x="10544" y="58059"/>
                    </a:lnTo>
                    <a:lnTo>
                      <a:pt x="9356" y="57645"/>
                    </a:lnTo>
                    <a:lnTo>
                      <a:pt x="9123" y="57030"/>
                    </a:lnTo>
                    <a:lnTo>
                      <a:pt x="7195" y="54664"/>
                    </a:lnTo>
                    <a:lnTo>
                      <a:pt x="6372" y="53790"/>
                    </a:lnTo>
                    <a:lnTo>
                      <a:pt x="6445" y="52618"/>
                    </a:lnTo>
                    <a:lnTo>
                      <a:pt x="6061" y="51951"/>
                    </a:lnTo>
                    <a:lnTo>
                      <a:pt x="5359" y="51483"/>
                    </a:lnTo>
                    <a:lnTo>
                      <a:pt x="4984" y="49788"/>
                    </a:lnTo>
                    <a:lnTo>
                      <a:pt x="4763" y="48522"/>
                    </a:lnTo>
                    <a:lnTo>
                      <a:pt x="4213" y="47706"/>
                    </a:lnTo>
                    <a:lnTo>
                      <a:pt x="0" y="47538"/>
                    </a:lnTo>
                    <a:lnTo>
                      <a:pt x="3526" y="44509"/>
                    </a:lnTo>
                    <a:lnTo>
                      <a:pt x="5279" y="43664"/>
                    </a:lnTo>
                    <a:lnTo>
                      <a:pt x="7316" y="43810"/>
                    </a:lnTo>
                    <a:lnTo>
                      <a:pt x="7968" y="43536"/>
                    </a:lnTo>
                    <a:lnTo>
                      <a:pt x="8141" y="43098"/>
                    </a:lnTo>
                    <a:lnTo>
                      <a:pt x="8488" y="42110"/>
                    </a:lnTo>
                    <a:lnTo>
                      <a:pt x="8661" y="41177"/>
                    </a:lnTo>
                    <a:lnTo>
                      <a:pt x="8836" y="40300"/>
                    </a:lnTo>
                    <a:lnTo>
                      <a:pt x="8618" y="39804"/>
                    </a:lnTo>
                    <a:lnTo>
                      <a:pt x="7635" y="39650"/>
                    </a:lnTo>
                    <a:lnTo>
                      <a:pt x="7160" y="37482"/>
                    </a:lnTo>
                    <a:lnTo>
                      <a:pt x="7666" y="36662"/>
                    </a:lnTo>
                    <a:lnTo>
                      <a:pt x="8171" y="36091"/>
                    </a:lnTo>
                    <a:lnTo>
                      <a:pt x="7547" y="33450"/>
                    </a:lnTo>
                    <a:lnTo>
                      <a:pt x="7735" y="32551"/>
                    </a:lnTo>
                    <a:lnTo>
                      <a:pt x="9324" y="32410"/>
                    </a:lnTo>
                    <a:lnTo>
                      <a:pt x="10643" y="31846"/>
                    </a:lnTo>
                    <a:lnTo>
                      <a:pt x="11719" y="31204"/>
                    </a:lnTo>
                    <a:lnTo>
                      <a:pt x="12019" y="30389"/>
                    </a:lnTo>
                    <a:lnTo>
                      <a:pt x="12902" y="28722"/>
                    </a:lnTo>
                    <a:lnTo>
                      <a:pt x="12088" y="26676"/>
                    </a:lnTo>
                    <a:lnTo>
                      <a:pt x="7497" y="25343"/>
                    </a:lnTo>
                    <a:lnTo>
                      <a:pt x="7257" y="24833"/>
                    </a:lnTo>
                    <a:lnTo>
                      <a:pt x="8326" y="24253"/>
                    </a:lnTo>
                    <a:lnTo>
                      <a:pt x="9464" y="23427"/>
                    </a:lnTo>
                    <a:lnTo>
                      <a:pt x="10125" y="22783"/>
                    </a:lnTo>
                    <a:lnTo>
                      <a:pt x="11008" y="22693"/>
                    </a:lnTo>
                    <a:lnTo>
                      <a:pt x="12259" y="23017"/>
                    </a:lnTo>
                    <a:lnTo>
                      <a:pt x="14472" y="24501"/>
                    </a:lnTo>
                    <a:lnTo>
                      <a:pt x="15320" y="24715"/>
                    </a:lnTo>
                    <a:lnTo>
                      <a:pt x="16141" y="24284"/>
                    </a:lnTo>
                    <a:lnTo>
                      <a:pt x="17018" y="24192"/>
                    </a:lnTo>
                    <a:lnTo>
                      <a:pt x="19466" y="24246"/>
                    </a:lnTo>
                    <a:lnTo>
                      <a:pt x="21527" y="23902"/>
                    </a:lnTo>
                    <a:lnTo>
                      <a:pt x="21062" y="22321"/>
                    </a:lnTo>
                    <a:lnTo>
                      <a:pt x="21069" y="21173"/>
                    </a:lnTo>
                    <a:lnTo>
                      <a:pt x="20719" y="20256"/>
                    </a:lnTo>
                    <a:lnTo>
                      <a:pt x="20937" y="19246"/>
                    </a:lnTo>
                    <a:lnTo>
                      <a:pt x="21773" y="18459"/>
                    </a:lnTo>
                    <a:lnTo>
                      <a:pt x="22023" y="16690"/>
                    </a:lnTo>
                    <a:lnTo>
                      <a:pt x="23312" y="15496"/>
                    </a:lnTo>
                    <a:lnTo>
                      <a:pt x="23915" y="15324"/>
                    </a:lnTo>
                    <a:lnTo>
                      <a:pt x="26185" y="15542"/>
                    </a:lnTo>
                    <a:lnTo>
                      <a:pt x="26722" y="15852"/>
                    </a:lnTo>
                    <a:lnTo>
                      <a:pt x="27070" y="15920"/>
                    </a:lnTo>
                    <a:lnTo>
                      <a:pt x="30682" y="18834"/>
                    </a:lnTo>
                    <a:lnTo>
                      <a:pt x="34101" y="21022"/>
                    </a:lnTo>
                    <a:lnTo>
                      <a:pt x="36901" y="22141"/>
                    </a:lnTo>
                    <a:lnTo>
                      <a:pt x="41015" y="22233"/>
                    </a:lnTo>
                    <a:lnTo>
                      <a:pt x="45386" y="22330"/>
                    </a:lnTo>
                    <a:lnTo>
                      <a:pt x="52697" y="21949"/>
                    </a:lnTo>
                    <a:lnTo>
                      <a:pt x="58180" y="21663"/>
                    </a:lnTo>
                    <a:lnTo>
                      <a:pt x="58543" y="21118"/>
                    </a:lnTo>
                    <a:lnTo>
                      <a:pt x="59370" y="19812"/>
                    </a:lnTo>
                    <a:lnTo>
                      <a:pt x="58713" y="18691"/>
                    </a:lnTo>
                    <a:lnTo>
                      <a:pt x="58752" y="17372"/>
                    </a:lnTo>
                    <a:lnTo>
                      <a:pt x="59676" y="15656"/>
                    </a:lnTo>
                    <a:lnTo>
                      <a:pt x="62380" y="14230"/>
                    </a:lnTo>
                    <a:lnTo>
                      <a:pt x="70141" y="13602"/>
                    </a:lnTo>
                    <a:lnTo>
                      <a:pt x="74604" y="12539"/>
                    </a:lnTo>
                    <a:lnTo>
                      <a:pt x="75278" y="11086"/>
                    </a:lnTo>
                    <a:lnTo>
                      <a:pt x="76755" y="9652"/>
                    </a:lnTo>
                    <a:lnTo>
                      <a:pt x="78107" y="9362"/>
                    </a:lnTo>
                    <a:lnTo>
                      <a:pt x="79960" y="10020"/>
                    </a:lnTo>
                    <a:lnTo>
                      <a:pt x="82190" y="11286"/>
                    </a:lnTo>
                    <a:lnTo>
                      <a:pt x="84149" y="11955"/>
                    </a:lnTo>
                    <a:lnTo>
                      <a:pt x="85293" y="11524"/>
                    </a:lnTo>
                    <a:lnTo>
                      <a:pt x="89234" y="9392"/>
                    </a:lnTo>
                    <a:lnTo>
                      <a:pt x="93771" y="7311"/>
                    </a:lnTo>
                    <a:lnTo>
                      <a:pt x="96893" y="1656"/>
                    </a:lnTo>
                    <a:lnTo>
                      <a:pt x="97226" y="754"/>
                    </a:lnTo>
                    <a:lnTo>
                      <a:pt x="100612" y="106"/>
                    </a:lnTo>
                    <a:lnTo>
                      <a:pt x="105553" y="222"/>
                    </a:lnTo>
                    <a:lnTo>
                      <a:pt x="108085" y="959"/>
                    </a:lnTo>
                    <a:lnTo>
                      <a:pt x="109990" y="1349"/>
                    </a:lnTo>
                    <a:lnTo>
                      <a:pt x="112845" y="1216"/>
                    </a:lnTo>
                    <a:lnTo>
                      <a:pt x="116958" y="0"/>
                    </a:lnTo>
                    <a:lnTo>
                      <a:pt x="118483" y="34"/>
                    </a:lnTo>
                    <a:lnTo>
                      <a:pt x="119662" y="897"/>
                    </a:lnTo>
                    <a:lnTo>
                      <a:pt x="120956" y="1639"/>
                    </a:lnTo>
                    <a:lnTo>
                      <a:pt x="121828" y="2548"/>
                    </a:lnTo>
                    <a:lnTo>
                      <a:pt x="122489" y="3828"/>
                    </a:lnTo>
                    <a:lnTo>
                      <a:pt x="122845" y="4311"/>
                    </a:lnTo>
                    <a:lnTo>
                      <a:pt x="123419" y="4966"/>
                    </a:lnTo>
                    <a:lnTo>
                      <a:pt x="124456" y="5867"/>
                    </a:lnTo>
                    <a:lnTo>
                      <a:pt x="125462" y="6107"/>
                    </a:lnTo>
                    <a:lnTo>
                      <a:pt x="133076" y="4541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4" name="ee4p_IT_1_15912">
                <a:extLst>
                  <a:ext uri="{FF2B5EF4-FFF2-40B4-BE49-F238E27FC236}">
                    <a16:creationId xmlns:a16="http://schemas.microsoft.com/office/drawing/2014/main" id="{D30BD961-91CC-5538-90F2-05C68D37AB55}"/>
                  </a:ext>
                </a:extLst>
              </p:cNvPr>
              <p:cNvSpPr>
                <a:spLocks noChangeAspect="1"/>
              </p:cNvSpPr>
              <p:nvPr>
                <p:custDataLst>
                  <p:tags r:id="rId255"/>
                </p:custDataLst>
              </p:nvPr>
            </p:nvSpPr>
            <p:spPr>
              <a:xfrm>
                <a:off x="4488825" y="5317667"/>
                <a:ext cx="653384" cy="636877"/>
              </a:xfrm>
              <a:custGeom>
                <a:avLst/>
                <a:gdLst>
                  <a:gd name="connsiteX0" fmla="*/ 83300 w 164820"/>
                  <a:gd name="connsiteY0" fmla="*/ 156716 h 160656"/>
                  <a:gd name="connsiteX1" fmla="*/ 84985 w 164820"/>
                  <a:gd name="connsiteY1" fmla="*/ 157277 h 160656"/>
                  <a:gd name="connsiteX2" fmla="*/ 85512 w 164820"/>
                  <a:gd name="connsiteY2" fmla="*/ 158410 h 160656"/>
                  <a:gd name="connsiteX3" fmla="*/ 85583 w 164820"/>
                  <a:gd name="connsiteY3" fmla="*/ 158900 h 160656"/>
                  <a:gd name="connsiteX4" fmla="*/ 84523 w 164820"/>
                  <a:gd name="connsiteY4" fmla="*/ 159180 h 160656"/>
                  <a:gd name="connsiteX5" fmla="*/ 83137 w 164820"/>
                  <a:gd name="connsiteY5" fmla="*/ 158308 h 160656"/>
                  <a:gd name="connsiteX6" fmla="*/ 83044 w 164820"/>
                  <a:gd name="connsiteY6" fmla="*/ 157083 h 160656"/>
                  <a:gd name="connsiteX7" fmla="*/ 163353 w 164820"/>
                  <a:gd name="connsiteY7" fmla="*/ 119599 h 160656"/>
                  <a:gd name="connsiteX8" fmla="*/ 164820 w 164820"/>
                  <a:gd name="connsiteY8" fmla="*/ 120327 h 160656"/>
                  <a:gd name="connsiteX9" fmla="*/ 163535 w 164820"/>
                  <a:gd name="connsiteY9" fmla="*/ 121541 h 160656"/>
                  <a:gd name="connsiteX10" fmla="*/ 162038 w 164820"/>
                  <a:gd name="connsiteY10" fmla="*/ 124459 h 160656"/>
                  <a:gd name="connsiteX11" fmla="*/ 161304 w 164820"/>
                  <a:gd name="connsiteY11" fmla="*/ 125580 h 160656"/>
                  <a:gd name="connsiteX12" fmla="*/ 155970 w 164820"/>
                  <a:gd name="connsiteY12" fmla="*/ 132706 h 160656"/>
                  <a:gd name="connsiteX13" fmla="*/ 155359 w 164820"/>
                  <a:gd name="connsiteY13" fmla="*/ 134350 h 160656"/>
                  <a:gd name="connsiteX14" fmla="*/ 154984 w 164820"/>
                  <a:gd name="connsiteY14" fmla="*/ 136135 h 160656"/>
                  <a:gd name="connsiteX15" fmla="*/ 154431 w 164820"/>
                  <a:gd name="connsiteY15" fmla="*/ 137699 h 160656"/>
                  <a:gd name="connsiteX16" fmla="*/ 153683 w 164820"/>
                  <a:gd name="connsiteY16" fmla="*/ 139172 h 160656"/>
                  <a:gd name="connsiteX17" fmla="*/ 152986 w 164820"/>
                  <a:gd name="connsiteY17" fmla="*/ 141044 h 160656"/>
                  <a:gd name="connsiteX18" fmla="*/ 153122 w 164820"/>
                  <a:gd name="connsiteY18" fmla="*/ 143164 h 160656"/>
                  <a:gd name="connsiteX19" fmla="*/ 153373 w 164820"/>
                  <a:gd name="connsiteY19" fmla="*/ 144204 h 160656"/>
                  <a:gd name="connsiteX20" fmla="*/ 154014 w 164820"/>
                  <a:gd name="connsiteY20" fmla="*/ 144885 h 160656"/>
                  <a:gd name="connsiteX21" fmla="*/ 155068 w 164820"/>
                  <a:gd name="connsiteY21" fmla="*/ 145526 h 160656"/>
                  <a:gd name="connsiteX22" fmla="*/ 155877 w 164820"/>
                  <a:gd name="connsiteY22" fmla="*/ 146508 h 160656"/>
                  <a:gd name="connsiteX23" fmla="*/ 154636 w 164820"/>
                  <a:gd name="connsiteY23" fmla="*/ 147403 h 160656"/>
                  <a:gd name="connsiteX24" fmla="*/ 156005 w 164820"/>
                  <a:gd name="connsiteY24" fmla="*/ 149197 h 160656"/>
                  <a:gd name="connsiteX25" fmla="*/ 157169 w 164820"/>
                  <a:gd name="connsiteY25" fmla="*/ 150262 h 160656"/>
                  <a:gd name="connsiteX26" fmla="*/ 157324 w 164820"/>
                  <a:gd name="connsiteY26" fmla="*/ 151324 h 160656"/>
                  <a:gd name="connsiteX27" fmla="*/ 157298 w 164820"/>
                  <a:gd name="connsiteY27" fmla="*/ 152389 h 160656"/>
                  <a:gd name="connsiteX28" fmla="*/ 154880 w 164820"/>
                  <a:gd name="connsiteY28" fmla="*/ 154385 h 160656"/>
                  <a:gd name="connsiteX29" fmla="*/ 153934 w 164820"/>
                  <a:gd name="connsiteY29" fmla="*/ 155483 h 160656"/>
                  <a:gd name="connsiteX30" fmla="*/ 153347 w 164820"/>
                  <a:gd name="connsiteY30" fmla="*/ 156812 h 160656"/>
                  <a:gd name="connsiteX31" fmla="*/ 153092 w 164820"/>
                  <a:gd name="connsiteY31" fmla="*/ 158184 h 160656"/>
                  <a:gd name="connsiteX32" fmla="*/ 153357 w 164820"/>
                  <a:gd name="connsiteY32" fmla="*/ 159422 h 160656"/>
                  <a:gd name="connsiteX33" fmla="*/ 153275 w 164820"/>
                  <a:gd name="connsiteY33" fmla="*/ 160656 h 160656"/>
                  <a:gd name="connsiteX34" fmla="*/ 150840 w 164820"/>
                  <a:gd name="connsiteY34" fmla="*/ 160502 h 160656"/>
                  <a:gd name="connsiteX35" fmla="*/ 148346 w 164820"/>
                  <a:gd name="connsiteY35" fmla="*/ 159750 h 160656"/>
                  <a:gd name="connsiteX36" fmla="*/ 145832 w 164820"/>
                  <a:gd name="connsiteY36" fmla="*/ 160083 h 160656"/>
                  <a:gd name="connsiteX37" fmla="*/ 142258 w 164820"/>
                  <a:gd name="connsiteY37" fmla="*/ 158657 h 160656"/>
                  <a:gd name="connsiteX38" fmla="*/ 140956 w 164820"/>
                  <a:gd name="connsiteY38" fmla="*/ 158399 h 160656"/>
                  <a:gd name="connsiteX39" fmla="*/ 139771 w 164820"/>
                  <a:gd name="connsiteY39" fmla="*/ 157843 h 160656"/>
                  <a:gd name="connsiteX40" fmla="*/ 136795 w 164820"/>
                  <a:gd name="connsiteY40" fmla="*/ 153418 h 160656"/>
                  <a:gd name="connsiteX41" fmla="*/ 134402 w 164820"/>
                  <a:gd name="connsiteY41" fmla="*/ 151546 h 160656"/>
                  <a:gd name="connsiteX42" fmla="*/ 131835 w 164820"/>
                  <a:gd name="connsiteY42" fmla="*/ 150090 h 160656"/>
                  <a:gd name="connsiteX43" fmla="*/ 129211 w 164820"/>
                  <a:gd name="connsiteY43" fmla="*/ 150001 h 160656"/>
                  <a:gd name="connsiteX44" fmla="*/ 126583 w 164820"/>
                  <a:gd name="connsiteY44" fmla="*/ 150167 h 160656"/>
                  <a:gd name="connsiteX45" fmla="*/ 124264 w 164820"/>
                  <a:gd name="connsiteY45" fmla="*/ 149269 h 160656"/>
                  <a:gd name="connsiteX46" fmla="*/ 119544 w 164820"/>
                  <a:gd name="connsiteY46" fmla="*/ 146257 h 160656"/>
                  <a:gd name="connsiteX47" fmla="*/ 114542 w 164820"/>
                  <a:gd name="connsiteY47" fmla="*/ 143846 h 160656"/>
                  <a:gd name="connsiteX48" fmla="*/ 112420 w 164820"/>
                  <a:gd name="connsiteY48" fmla="*/ 142274 h 160656"/>
                  <a:gd name="connsiteX49" fmla="*/ 111450 w 164820"/>
                  <a:gd name="connsiteY49" fmla="*/ 141217 h 160656"/>
                  <a:gd name="connsiteX50" fmla="*/ 110319 w 164820"/>
                  <a:gd name="connsiteY50" fmla="*/ 140515 h 160656"/>
                  <a:gd name="connsiteX51" fmla="*/ 107453 w 164820"/>
                  <a:gd name="connsiteY51" fmla="*/ 139819 h 160656"/>
                  <a:gd name="connsiteX52" fmla="*/ 104884 w 164820"/>
                  <a:gd name="connsiteY52" fmla="*/ 138186 h 160656"/>
                  <a:gd name="connsiteX53" fmla="*/ 103713 w 164820"/>
                  <a:gd name="connsiteY53" fmla="*/ 138066 h 160656"/>
                  <a:gd name="connsiteX54" fmla="*/ 101195 w 164820"/>
                  <a:gd name="connsiteY54" fmla="*/ 138265 h 160656"/>
                  <a:gd name="connsiteX55" fmla="*/ 99906 w 164820"/>
                  <a:gd name="connsiteY55" fmla="*/ 138152 h 160656"/>
                  <a:gd name="connsiteX56" fmla="*/ 98606 w 164820"/>
                  <a:gd name="connsiteY56" fmla="*/ 137577 h 160656"/>
                  <a:gd name="connsiteX57" fmla="*/ 96097 w 164820"/>
                  <a:gd name="connsiteY57" fmla="*/ 135655 h 160656"/>
                  <a:gd name="connsiteX58" fmla="*/ 94497 w 164820"/>
                  <a:gd name="connsiteY58" fmla="*/ 132988 h 160656"/>
                  <a:gd name="connsiteX59" fmla="*/ 94080 w 164820"/>
                  <a:gd name="connsiteY59" fmla="*/ 131811 h 160656"/>
                  <a:gd name="connsiteX60" fmla="*/ 95214 w 164820"/>
                  <a:gd name="connsiteY60" fmla="*/ 128764 h 160656"/>
                  <a:gd name="connsiteX61" fmla="*/ 96559 w 164820"/>
                  <a:gd name="connsiteY61" fmla="*/ 125837 h 160656"/>
                  <a:gd name="connsiteX62" fmla="*/ 97753 w 164820"/>
                  <a:gd name="connsiteY62" fmla="*/ 125015 h 160656"/>
                  <a:gd name="connsiteX63" fmla="*/ 99140 w 164820"/>
                  <a:gd name="connsiteY63" fmla="*/ 124426 h 160656"/>
                  <a:gd name="connsiteX64" fmla="*/ 99980 w 164820"/>
                  <a:gd name="connsiteY64" fmla="*/ 123559 h 160656"/>
                  <a:gd name="connsiteX65" fmla="*/ 100688 w 164820"/>
                  <a:gd name="connsiteY65" fmla="*/ 122497 h 160656"/>
                  <a:gd name="connsiteX66" fmla="*/ 103260 w 164820"/>
                  <a:gd name="connsiteY66" fmla="*/ 125560 h 160656"/>
                  <a:gd name="connsiteX67" fmla="*/ 104411 w 164820"/>
                  <a:gd name="connsiteY67" fmla="*/ 126300 h 160656"/>
                  <a:gd name="connsiteX68" fmla="*/ 105577 w 164820"/>
                  <a:gd name="connsiteY68" fmla="*/ 126135 h 160656"/>
                  <a:gd name="connsiteX69" fmla="*/ 107645 w 164820"/>
                  <a:gd name="connsiteY69" fmla="*/ 125038 h 160656"/>
                  <a:gd name="connsiteX70" fmla="*/ 107818 w 164820"/>
                  <a:gd name="connsiteY70" fmla="*/ 123836 h 160656"/>
                  <a:gd name="connsiteX71" fmla="*/ 110098 w 164820"/>
                  <a:gd name="connsiteY71" fmla="*/ 122311 h 160656"/>
                  <a:gd name="connsiteX72" fmla="*/ 112999 w 164820"/>
                  <a:gd name="connsiteY72" fmla="*/ 122282 h 160656"/>
                  <a:gd name="connsiteX73" fmla="*/ 114337 w 164820"/>
                  <a:gd name="connsiteY73" fmla="*/ 122562 h 160656"/>
                  <a:gd name="connsiteX74" fmla="*/ 115041 w 164820"/>
                  <a:gd name="connsiteY74" fmla="*/ 123941 h 160656"/>
                  <a:gd name="connsiteX75" fmla="*/ 116147 w 164820"/>
                  <a:gd name="connsiteY75" fmla="*/ 124366 h 160656"/>
                  <a:gd name="connsiteX76" fmla="*/ 117425 w 164820"/>
                  <a:gd name="connsiteY76" fmla="*/ 124549 h 160656"/>
                  <a:gd name="connsiteX77" fmla="*/ 121632 w 164820"/>
                  <a:gd name="connsiteY77" fmla="*/ 127175 h 160656"/>
                  <a:gd name="connsiteX78" fmla="*/ 122811 w 164820"/>
                  <a:gd name="connsiteY78" fmla="*/ 127603 h 160656"/>
                  <a:gd name="connsiteX79" fmla="*/ 124005 w 164820"/>
                  <a:gd name="connsiteY79" fmla="*/ 127676 h 160656"/>
                  <a:gd name="connsiteX80" fmla="*/ 127272 w 164820"/>
                  <a:gd name="connsiteY80" fmla="*/ 126574 h 160656"/>
                  <a:gd name="connsiteX81" fmla="*/ 129779 w 164820"/>
                  <a:gd name="connsiteY81" fmla="*/ 126155 h 160656"/>
                  <a:gd name="connsiteX82" fmla="*/ 135035 w 164820"/>
                  <a:gd name="connsiteY82" fmla="*/ 126762 h 160656"/>
                  <a:gd name="connsiteX83" fmla="*/ 137877 w 164820"/>
                  <a:gd name="connsiteY83" fmla="*/ 126102 h 160656"/>
                  <a:gd name="connsiteX84" fmla="*/ 139861 w 164820"/>
                  <a:gd name="connsiteY84" fmla="*/ 126027 h 160656"/>
                  <a:gd name="connsiteX85" fmla="*/ 142753 w 164820"/>
                  <a:gd name="connsiteY85" fmla="*/ 125012 h 160656"/>
                  <a:gd name="connsiteX86" fmla="*/ 144975 w 164820"/>
                  <a:gd name="connsiteY86" fmla="*/ 123326 h 160656"/>
                  <a:gd name="connsiteX87" fmla="*/ 146134 w 164820"/>
                  <a:gd name="connsiteY87" fmla="*/ 122910 h 160656"/>
                  <a:gd name="connsiteX88" fmla="*/ 147378 w 164820"/>
                  <a:gd name="connsiteY88" fmla="*/ 122790 h 160656"/>
                  <a:gd name="connsiteX89" fmla="*/ 150386 w 164820"/>
                  <a:gd name="connsiteY89" fmla="*/ 122895 h 160656"/>
                  <a:gd name="connsiteX90" fmla="*/ 153411 w 164820"/>
                  <a:gd name="connsiteY90" fmla="*/ 123276 h 160656"/>
                  <a:gd name="connsiteX91" fmla="*/ 154679 w 164820"/>
                  <a:gd name="connsiteY91" fmla="*/ 122882 h 160656"/>
                  <a:gd name="connsiteX92" fmla="*/ 155739 w 164820"/>
                  <a:gd name="connsiteY92" fmla="*/ 121779 h 160656"/>
                  <a:gd name="connsiteX93" fmla="*/ 156968 w 164820"/>
                  <a:gd name="connsiteY93" fmla="*/ 121282 h 160656"/>
                  <a:gd name="connsiteX94" fmla="*/ 158320 w 164820"/>
                  <a:gd name="connsiteY94" fmla="*/ 121617 h 160656"/>
                  <a:gd name="connsiteX95" fmla="*/ 161813 w 164820"/>
                  <a:gd name="connsiteY95" fmla="*/ 119728 h 160656"/>
                  <a:gd name="connsiteX96" fmla="*/ 4111 w 164820"/>
                  <a:gd name="connsiteY96" fmla="*/ 98453 h 160656"/>
                  <a:gd name="connsiteX97" fmla="*/ 5744 w 164820"/>
                  <a:gd name="connsiteY97" fmla="*/ 99107 h 160656"/>
                  <a:gd name="connsiteX98" fmla="*/ 6590 w 164820"/>
                  <a:gd name="connsiteY98" fmla="*/ 99705 h 160656"/>
                  <a:gd name="connsiteX99" fmla="*/ 5321 w 164820"/>
                  <a:gd name="connsiteY99" fmla="*/ 102261 h 160656"/>
                  <a:gd name="connsiteX100" fmla="*/ 3982 w 164820"/>
                  <a:gd name="connsiteY100" fmla="*/ 100451 h 160656"/>
                  <a:gd name="connsiteX101" fmla="*/ 3930 w 164820"/>
                  <a:gd name="connsiteY101" fmla="*/ 98896 h 160656"/>
                  <a:gd name="connsiteX102" fmla="*/ 125825 w 164820"/>
                  <a:gd name="connsiteY102" fmla="*/ 55558 h 160656"/>
                  <a:gd name="connsiteX103" fmla="*/ 127836 w 164820"/>
                  <a:gd name="connsiteY103" fmla="*/ 56147 h 160656"/>
                  <a:gd name="connsiteX104" fmla="*/ 127808 w 164820"/>
                  <a:gd name="connsiteY104" fmla="*/ 56704 h 160656"/>
                  <a:gd name="connsiteX105" fmla="*/ 127309 w 164820"/>
                  <a:gd name="connsiteY105" fmla="*/ 57033 h 160656"/>
                  <a:gd name="connsiteX106" fmla="*/ 126322 w 164820"/>
                  <a:gd name="connsiteY106" fmla="*/ 57260 h 160656"/>
                  <a:gd name="connsiteX107" fmla="*/ 125747 w 164820"/>
                  <a:gd name="connsiteY107" fmla="*/ 56951 h 160656"/>
                  <a:gd name="connsiteX108" fmla="*/ 125434 w 164820"/>
                  <a:gd name="connsiteY108" fmla="*/ 56549 h 160656"/>
                  <a:gd name="connsiteX109" fmla="*/ 3081 w 164820"/>
                  <a:gd name="connsiteY109" fmla="*/ 46092 h 160656"/>
                  <a:gd name="connsiteX110" fmla="*/ 3602 w 164820"/>
                  <a:gd name="connsiteY110" fmla="*/ 46625 h 160656"/>
                  <a:gd name="connsiteX111" fmla="*/ 3053 w 164820"/>
                  <a:gd name="connsiteY111" fmla="*/ 47648 h 160656"/>
                  <a:gd name="connsiteX112" fmla="*/ 2326 w 164820"/>
                  <a:gd name="connsiteY112" fmla="*/ 48251 h 160656"/>
                  <a:gd name="connsiteX113" fmla="*/ 1589 w 164820"/>
                  <a:gd name="connsiteY113" fmla="*/ 49454 h 160656"/>
                  <a:gd name="connsiteX114" fmla="*/ 549 w 164820"/>
                  <a:gd name="connsiteY114" fmla="*/ 49366 h 160656"/>
                  <a:gd name="connsiteX115" fmla="*/ 955 w 164820"/>
                  <a:gd name="connsiteY115" fmla="*/ 48476 h 160656"/>
                  <a:gd name="connsiteX116" fmla="*/ 1913 w 164820"/>
                  <a:gd name="connsiteY116" fmla="*/ 46691 h 160656"/>
                  <a:gd name="connsiteX117" fmla="*/ 23164 w 164820"/>
                  <a:gd name="connsiteY117" fmla="*/ 42529 h 160656"/>
                  <a:gd name="connsiteX118" fmla="*/ 24371 w 164820"/>
                  <a:gd name="connsiteY118" fmla="*/ 43990 h 160656"/>
                  <a:gd name="connsiteX119" fmla="*/ 25869 w 164820"/>
                  <a:gd name="connsiteY119" fmla="*/ 44142 h 160656"/>
                  <a:gd name="connsiteX120" fmla="*/ 28178 w 164820"/>
                  <a:gd name="connsiteY120" fmla="*/ 45347 h 160656"/>
                  <a:gd name="connsiteX121" fmla="*/ 29174 w 164820"/>
                  <a:gd name="connsiteY121" fmla="*/ 46500 h 160656"/>
                  <a:gd name="connsiteX122" fmla="*/ 30026 w 164820"/>
                  <a:gd name="connsiteY122" fmla="*/ 47888 h 160656"/>
                  <a:gd name="connsiteX123" fmla="*/ 30842 w 164820"/>
                  <a:gd name="connsiteY123" fmla="*/ 48496 h 160656"/>
                  <a:gd name="connsiteX124" fmla="*/ 31719 w 164820"/>
                  <a:gd name="connsiteY124" fmla="*/ 48845 h 160656"/>
                  <a:gd name="connsiteX125" fmla="*/ 31849 w 164820"/>
                  <a:gd name="connsiteY125" fmla="*/ 49171 h 160656"/>
                  <a:gd name="connsiteX126" fmla="*/ 31154 w 164820"/>
                  <a:gd name="connsiteY126" fmla="*/ 49497 h 160656"/>
                  <a:gd name="connsiteX127" fmla="*/ 30357 w 164820"/>
                  <a:gd name="connsiteY127" fmla="*/ 51084 h 160656"/>
                  <a:gd name="connsiteX128" fmla="*/ 30806 w 164820"/>
                  <a:gd name="connsiteY128" fmla="*/ 51541 h 160656"/>
                  <a:gd name="connsiteX129" fmla="*/ 32088 w 164820"/>
                  <a:gd name="connsiteY129" fmla="*/ 52401 h 160656"/>
                  <a:gd name="connsiteX130" fmla="*/ 33194 w 164820"/>
                  <a:gd name="connsiteY130" fmla="*/ 54080 h 160656"/>
                  <a:gd name="connsiteX131" fmla="*/ 35677 w 164820"/>
                  <a:gd name="connsiteY131" fmla="*/ 60951 h 160656"/>
                  <a:gd name="connsiteX132" fmla="*/ 35919 w 164820"/>
                  <a:gd name="connsiteY132" fmla="*/ 62435 h 160656"/>
                  <a:gd name="connsiteX133" fmla="*/ 35423 w 164820"/>
                  <a:gd name="connsiteY133" fmla="*/ 63955 h 160656"/>
                  <a:gd name="connsiteX134" fmla="*/ 34790 w 164820"/>
                  <a:gd name="connsiteY134" fmla="*/ 65033 h 160656"/>
                  <a:gd name="connsiteX135" fmla="*/ 32330 w 164820"/>
                  <a:gd name="connsiteY135" fmla="*/ 68482 h 160656"/>
                  <a:gd name="connsiteX136" fmla="*/ 32695 w 164820"/>
                  <a:gd name="connsiteY136" fmla="*/ 71334 h 160656"/>
                  <a:gd name="connsiteX137" fmla="*/ 33609 w 164820"/>
                  <a:gd name="connsiteY137" fmla="*/ 73095 h 160656"/>
                  <a:gd name="connsiteX138" fmla="*/ 33740 w 164820"/>
                  <a:gd name="connsiteY138" fmla="*/ 75044 h 160656"/>
                  <a:gd name="connsiteX139" fmla="*/ 33283 w 164820"/>
                  <a:gd name="connsiteY139" fmla="*/ 77460 h 160656"/>
                  <a:gd name="connsiteX140" fmla="*/ 31756 w 164820"/>
                  <a:gd name="connsiteY140" fmla="*/ 92276 h 160656"/>
                  <a:gd name="connsiteX141" fmla="*/ 31018 w 164820"/>
                  <a:gd name="connsiteY141" fmla="*/ 94889 h 160656"/>
                  <a:gd name="connsiteX142" fmla="*/ 30551 w 164820"/>
                  <a:gd name="connsiteY142" fmla="*/ 97156 h 160656"/>
                  <a:gd name="connsiteX143" fmla="*/ 28867 w 164820"/>
                  <a:gd name="connsiteY143" fmla="*/ 97841 h 160656"/>
                  <a:gd name="connsiteX144" fmla="*/ 26694 w 164820"/>
                  <a:gd name="connsiteY144" fmla="*/ 97117 h 160656"/>
                  <a:gd name="connsiteX145" fmla="*/ 23954 w 164820"/>
                  <a:gd name="connsiteY145" fmla="*/ 95841 h 160656"/>
                  <a:gd name="connsiteX146" fmla="*/ 22689 w 164820"/>
                  <a:gd name="connsiteY146" fmla="*/ 95918 h 160656"/>
                  <a:gd name="connsiteX147" fmla="*/ 21415 w 164820"/>
                  <a:gd name="connsiteY147" fmla="*/ 96354 h 160656"/>
                  <a:gd name="connsiteX148" fmla="*/ 20363 w 164820"/>
                  <a:gd name="connsiteY148" fmla="*/ 95984 h 160656"/>
                  <a:gd name="connsiteX149" fmla="*/ 19359 w 164820"/>
                  <a:gd name="connsiteY149" fmla="*/ 95262 h 160656"/>
                  <a:gd name="connsiteX150" fmla="*/ 18614 w 164820"/>
                  <a:gd name="connsiteY150" fmla="*/ 100332 h 160656"/>
                  <a:gd name="connsiteX151" fmla="*/ 17375 w 164820"/>
                  <a:gd name="connsiteY151" fmla="*/ 102389 h 160656"/>
                  <a:gd name="connsiteX152" fmla="*/ 15489 w 164820"/>
                  <a:gd name="connsiteY152" fmla="*/ 103702 h 160656"/>
                  <a:gd name="connsiteX153" fmla="*/ 13716 w 164820"/>
                  <a:gd name="connsiteY153" fmla="*/ 103785 h 160656"/>
                  <a:gd name="connsiteX154" fmla="*/ 11890 w 164820"/>
                  <a:gd name="connsiteY154" fmla="*/ 103345 h 160656"/>
                  <a:gd name="connsiteX155" fmla="*/ 10341 w 164820"/>
                  <a:gd name="connsiteY155" fmla="*/ 103349 h 160656"/>
                  <a:gd name="connsiteX156" fmla="*/ 9167 w 164820"/>
                  <a:gd name="connsiteY156" fmla="*/ 102373 h 160656"/>
                  <a:gd name="connsiteX157" fmla="*/ 8236 w 164820"/>
                  <a:gd name="connsiteY157" fmla="*/ 100667 h 160656"/>
                  <a:gd name="connsiteX158" fmla="*/ 6752 w 164820"/>
                  <a:gd name="connsiteY158" fmla="*/ 98593 h 160656"/>
                  <a:gd name="connsiteX159" fmla="*/ 5247 w 164820"/>
                  <a:gd name="connsiteY159" fmla="*/ 96128 h 160656"/>
                  <a:gd name="connsiteX160" fmla="*/ 5083 w 164820"/>
                  <a:gd name="connsiteY160" fmla="*/ 93898 h 160656"/>
                  <a:gd name="connsiteX161" fmla="*/ 4826 w 164820"/>
                  <a:gd name="connsiteY161" fmla="*/ 88975 h 160656"/>
                  <a:gd name="connsiteX162" fmla="*/ 5258 w 164820"/>
                  <a:gd name="connsiteY162" fmla="*/ 87899 h 160656"/>
                  <a:gd name="connsiteX163" fmla="*/ 5887 w 164820"/>
                  <a:gd name="connsiteY163" fmla="*/ 86867 h 160656"/>
                  <a:gd name="connsiteX164" fmla="*/ 6195 w 164820"/>
                  <a:gd name="connsiteY164" fmla="*/ 84661 h 160656"/>
                  <a:gd name="connsiteX165" fmla="*/ 5977 w 164820"/>
                  <a:gd name="connsiteY165" fmla="*/ 82737 h 160656"/>
                  <a:gd name="connsiteX166" fmla="*/ 6418 w 164820"/>
                  <a:gd name="connsiteY166" fmla="*/ 82050 h 160656"/>
                  <a:gd name="connsiteX167" fmla="*/ 7295 w 164820"/>
                  <a:gd name="connsiteY167" fmla="*/ 82737 h 160656"/>
                  <a:gd name="connsiteX168" fmla="*/ 7953 w 164820"/>
                  <a:gd name="connsiteY168" fmla="*/ 82479 h 160656"/>
                  <a:gd name="connsiteX169" fmla="*/ 7912 w 164820"/>
                  <a:gd name="connsiteY169" fmla="*/ 81488 h 160656"/>
                  <a:gd name="connsiteX170" fmla="*/ 8113 w 164820"/>
                  <a:gd name="connsiteY170" fmla="*/ 79678 h 160656"/>
                  <a:gd name="connsiteX171" fmla="*/ 6966 w 164820"/>
                  <a:gd name="connsiteY171" fmla="*/ 78161 h 160656"/>
                  <a:gd name="connsiteX172" fmla="*/ 5018 w 164820"/>
                  <a:gd name="connsiteY172" fmla="*/ 77646 h 160656"/>
                  <a:gd name="connsiteX173" fmla="*/ 4830 w 164820"/>
                  <a:gd name="connsiteY173" fmla="*/ 76058 h 160656"/>
                  <a:gd name="connsiteX174" fmla="*/ 5036 w 164820"/>
                  <a:gd name="connsiteY174" fmla="*/ 74507 h 160656"/>
                  <a:gd name="connsiteX175" fmla="*/ 6064 w 164820"/>
                  <a:gd name="connsiteY175" fmla="*/ 73465 h 160656"/>
                  <a:gd name="connsiteX176" fmla="*/ 6411 w 164820"/>
                  <a:gd name="connsiteY176" fmla="*/ 72079 h 160656"/>
                  <a:gd name="connsiteX177" fmla="*/ 6422 w 164820"/>
                  <a:gd name="connsiteY177" fmla="*/ 67848 h 160656"/>
                  <a:gd name="connsiteX178" fmla="*/ 5049 w 164820"/>
                  <a:gd name="connsiteY178" fmla="*/ 66288 h 160656"/>
                  <a:gd name="connsiteX179" fmla="*/ 4522 w 164820"/>
                  <a:gd name="connsiteY179" fmla="*/ 63924 h 160656"/>
                  <a:gd name="connsiteX180" fmla="*/ 3812 w 164820"/>
                  <a:gd name="connsiteY180" fmla="*/ 62409 h 160656"/>
                  <a:gd name="connsiteX181" fmla="*/ 2535 w 164820"/>
                  <a:gd name="connsiteY181" fmla="*/ 60887 h 160656"/>
                  <a:gd name="connsiteX182" fmla="*/ 1093 w 164820"/>
                  <a:gd name="connsiteY182" fmla="*/ 59647 h 160656"/>
                  <a:gd name="connsiteX183" fmla="*/ 201 w 164820"/>
                  <a:gd name="connsiteY183" fmla="*/ 58450 h 160656"/>
                  <a:gd name="connsiteX184" fmla="*/ 0 w 164820"/>
                  <a:gd name="connsiteY184" fmla="*/ 55316 h 160656"/>
                  <a:gd name="connsiteX185" fmla="*/ 507 w 164820"/>
                  <a:gd name="connsiteY185" fmla="*/ 52699 h 160656"/>
                  <a:gd name="connsiteX186" fmla="*/ 959 w 164820"/>
                  <a:gd name="connsiteY186" fmla="*/ 51578 h 160656"/>
                  <a:gd name="connsiteX187" fmla="*/ 1423 w 164820"/>
                  <a:gd name="connsiteY187" fmla="*/ 51744 h 160656"/>
                  <a:gd name="connsiteX188" fmla="*/ 2859 w 164820"/>
                  <a:gd name="connsiteY188" fmla="*/ 53045 h 160656"/>
                  <a:gd name="connsiteX189" fmla="*/ 4034 w 164820"/>
                  <a:gd name="connsiteY189" fmla="*/ 53339 h 160656"/>
                  <a:gd name="connsiteX190" fmla="*/ 6359 w 164820"/>
                  <a:gd name="connsiteY190" fmla="*/ 53654 h 160656"/>
                  <a:gd name="connsiteX191" fmla="*/ 8646 w 164820"/>
                  <a:gd name="connsiteY191" fmla="*/ 53238 h 160656"/>
                  <a:gd name="connsiteX192" fmla="*/ 11456 w 164820"/>
                  <a:gd name="connsiteY192" fmla="*/ 52053 h 160656"/>
                  <a:gd name="connsiteX193" fmla="*/ 14159 w 164820"/>
                  <a:gd name="connsiteY193" fmla="*/ 50617 h 160656"/>
                  <a:gd name="connsiteX194" fmla="*/ 18072 w 164820"/>
                  <a:gd name="connsiteY194" fmla="*/ 46395 h 160656"/>
                  <a:gd name="connsiteX195" fmla="*/ 20484 w 164820"/>
                  <a:gd name="connsiteY195" fmla="*/ 45537 h 160656"/>
                  <a:gd name="connsiteX196" fmla="*/ 21719 w 164820"/>
                  <a:gd name="connsiteY196" fmla="*/ 44425 h 160656"/>
                  <a:gd name="connsiteX197" fmla="*/ 22140 w 164820"/>
                  <a:gd name="connsiteY197" fmla="*/ 42922 h 160656"/>
                  <a:gd name="connsiteX198" fmla="*/ 48962 w 164820"/>
                  <a:gd name="connsiteY198" fmla="*/ 0 h 160656"/>
                  <a:gd name="connsiteX199" fmla="*/ 49696 w 164820"/>
                  <a:gd name="connsiteY199" fmla="*/ 1042 h 160656"/>
                  <a:gd name="connsiteX200" fmla="*/ 49782 w 164820"/>
                  <a:gd name="connsiteY200" fmla="*/ 1647 h 160656"/>
                  <a:gd name="connsiteX201" fmla="*/ 49290 w 164820"/>
                  <a:gd name="connsiteY201" fmla="*/ 2331 h 160656"/>
                  <a:gd name="connsiteX202" fmla="*/ 49497 w 164820"/>
                  <a:gd name="connsiteY202" fmla="*/ 3877 h 160656"/>
                  <a:gd name="connsiteX203" fmla="*/ 47647 w 164820"/>
                  <a:gd name="connsiteY203" fmla="*/ 2595 h 160656"/>
                  <a:gd name="connsiteX204" fmla="*/ 44846 w 164820"/>
                  <a:gd name="connsiteY204" fmla="*/ 3242 h 160656"/>
                  <a:gd name="connsiteX205" fmla="*/ 43127 w 164820"/>
                  <a:gd name="connsiteY205" fmla="*/ 3105 h 160656"/>
                  <a:gd name="connsiteX206" fmla="*/ 42652 w 164820"/>
                  <a:gd name="connsiteY206" fmla="*/ 1955 h 160656"/>
                  <a:gd name="connsiteX207" fmla="*/ 43045 w 164820"/>
                  <a:gd name="connsiteY207" fmla="*/ 1280 h 160656"/>
                  <a:gd name="connsiteX208" fmla="*/ 45714 w 164820"/>
                  <a:gd name="connsiteY208" fmla="*/ 1133 h 160656"/>
                  <a:gd name="connsiteX209" fmla="*/ 46543 w 164820"/>
                  <a:gd name="connsiteY209" fmla="*/ 804 h 160656"/>
                  <a:gd name="connsiteX210" fmla="*/ 48163 w 164820"/>
                  <a:gd name="connsiteY210" fmla="*/ 959 h 160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</a:cxnLst>
                <a:rect l="l" t="t" r="r" b="b"/>
                <a:pathLst>
                  <a:path w="164820" h="160656">
                    <a:moveTo>
                      <a:pt x="83300" y="156716"/>
                    </a:moveTo>
                    <a:lnTo>
                      <a:pt x="84985" y="157277"/>
                    </a:lnTo>
                    <a:lnTo>
                      <a:pt x="85512" y="158410"/>
                    </a:lnTo>
                    <a:lnTo>
                      <a:pt x="85583" y="158900"/>
                    </a:lnTo>
                    <a:lnTo>
                      <a:pt x="84523" y="159180"/>
                    </a:lnTo>
                    <a:lnTo>
                      <a:pt x="83137" y="158308"/>
                    </a:lnTo>
                    <a:lnTo>
                      <a:pt x="83044" y="157083"/>
                    </a:lnTo>
                    <a:close/>
                    <a:moveTo>
                      <a:pt x="163353" y="119599"/>
                    </a:moveTo>
                    <a:lnTo>
                      <a:pt x="164820" y="120327"/>
                    </a:lnTo>
                    <a:lnTo>
                      <a:pt x="163535" y="121541"/>
                    </a:lnTo>
                    <a:lnTo>
                      <a:pt x="162038" y="124459"/>
                    </a:lnTo>
                    <a:lnTo>
                      <a:pt x="161304" y="125580"/>
                    </a:lnTo>
                    <a:lnTo>
                      <a:pt x="155970" y="132706"/>
                    </a:lnTo>
                    <a:lnTo>
                      <a:pt x="155359" y="134350"/>
                    </a:lnTo>
                    <a:lnTo>
                      <a:pt x="154984" y="136135"/>
                    </a:lnTo>
                    <a:lnTo>
                      <a:pt x="154431" y="137699"/>
                    </a:lnTo>
                    <a:lnTo>
                      <a:pt x="153683" y="139172"/>
                    </a:lnTo>
                    <a:lnTo>
                      <a:pt x="152986" y="141044"/>
                    </a:lnTo>
                    <a:lnTo>
                      <a:pt x="153122" y="143164"/>
                    </a:lnTo>
                    <a:lnTo>
                      <a:pt x="153373" y="144204"/>
                    </a:lnTo>
                    <a:lnTo>
                      <a:pt x="154014" y="144885"/>
                    </a:lnTo>
                    <a:lnTo>
                      <a:pt x="155068" y="145526"/>
                    </a:lnTo>
                    <a:lnTo>
                      <a:pt x="155877" y="146508"/>
                    </a:lnTo>
                    <a:lnTo>
                      <a:pt x="154636" y="147403"/>
                    </a:lnTo>
                    <a:lnTo>
                      <a:pt x="156005" y="149197"/>
                    </a:lnTo>
                    <a:lnTo>
                      <a:pt x="157169" y="150262"/>
                    </a:lnTo>
                    <a:lnTo>
                      <a:pt x="157324" y="151324"/>
                    </a:lnTo>
                    <a:lnTo>
                      <a:pt x="157298" y="152389"/>
                    </a:lnTo>
                    <a:lnTo>
                      <a:pt x="154880" y="154385"/>
                    </a:lnTo>
                    <a:lnTo>
                      <a:pt x="153934" y="155483"/>
                    </a:lnTo>
                    <a:lnTo>
                      <a:pt x="153347" y="156812"/>
                    </a:lnTo>
                    <a:lnTo>
                      <a:pt x="153092" y="158184"/>
                    </a:lnTo>
                    <a:lnTo>
                      <a:pt x="153357" y="159422"/>
                    </a:lnTo>
                    <a:lnTo>
                      <a:pt x="153275" y="160656"/>
                    </a:lnTo>
                    <a:lnTo>
                      <a:pt x="150840" y="160502"/>
                    </a:lnTo>
                    <a:lnTo>
                      <a:pt x="148346" y="159750"/>
                    </a:lnTo>
                    <a:lnTo>
                      <a:pt x="145832" y="160083"/>
                    </a:lnTo>
                    <a:lnTo>
                      <a:pt x="142258" y="158657"/>
                    </a:lnTo>
                    <a:lnTo>
                      <a:pt x="140956" y="158399"/>
                    </a:lnTo>
                    <a:lnTo>
                      <a:pt x="139771" y="157843"/>
                    </a:lnTo>
                    <a:lnTo>
                      <a:pt x="136795" y="153418"/>
                    </a:lnTo>
                    <a:lnTo>
                      <a:pt x="134402" y="151546"/>
                    </a:lnTo>
                    <a:lnTo>
                      <a:pt x="131835" y="150090"/>
                    </a:lnTo>
                    <a:lnTo>
                      <a:pt x="129211" y="150001"/>
                    </a:lnTo>
                    <a:lnTo>
                      <a:pt x="126583" y="150167"/>
                    </a:lnTo>
                    <a:lnTo>
                      <a:pt x="124264" y="149269"/>
                    </a:lnTo>
                    <a:lnTo>
                      <a:pt x="119544" y="146257"/>
                    </a:lnTo>
                    <a:lnTo>
                      <a:pt x="114542" y="143846"/>
                    </a:lnTo>
                    <a:lnTo>
                      <a:pt x="112420" y="142274"/>
                    </a:lnTo>
                    <a:lnTo>
                      <a:pt x="111450" y="141217"/>
                    </a:lnTo>
                    <a:lnTo>
                      <a:pt x="110319" y="140515"/>
                    </a:lnTo>
                    <a:lnTo>
                      <a:pt x="107453" y="139819"/>
                    </a:lnTo>
                    <a:lnTo>
                      <a:pt x="104884" y="138186"/>
                    </a:lnTo>
                    <a:lnTo>
                      <a:pt x="103713" y="138066"/>
                    </a:lnTo>
                    <a:lnTo>
                      <a:pt x="101195" y="138265"/>
                    </a:lnTo>
                    <a:lnTo>
                      <a:pt x="99906" y="138152"/>
                    </a:lnTo>
                    <a:lnTo>
                      <a:pt x="98606" y="137577"/>
                    </a:lnTo>
                    <a:lnTo>
                      <a:pt x="96097" y="135655"/>
                    </a:lnTo>
                    <a:lnTo>
                      <a:pt x="94497" y="132988"/>
                    </a:lnTo>
                    <a:lnTo>
                      <a:pt x="94080" y="131811"/>
                    </a:lnTo>
                    <a:lnTo>
                      <a:pt x="95214" y="128764"/>
                    </a:lnTo>
                    <a:lnTo>
                      <a:pt x="96559" y="125837"/>
                    </a:lnTo>
                    <a:lnTo>
                      <a:pt x="97753" y="125015"/>
                    </a:lnTo>
                    <a:lnTo>
                      <a:pt x="99140" y="124426"/>
                    </a:lnTo>
                    <a:lnTo>
                      <a:pt x="99980" y="123559"/>
                    </a:lnTo>
                    <a:lnTo>
                      <a:pt x="100688" y="122497"/>
                    </a:lnTo>
                    <a:lnTo>
                      <a:pt x="103260" y="125560"/>
                    </a:lnTo>
                    <a:lnTo>
                      <a:pt x="104411" y="126300"/>
                    </a:lnTo>
                    <a:lnTo>
                      <a:pt x="105577" y="126135"/>
                    </a:lnTo>
                    <a:lnTo>
                      <a:pt x="107645" y="125038"/>
                    </a:lnTo>
                    <a:lnTo>
                      <a:pt x="107818" y="123836"/>
                    </a:lnTo>
                    <a:lnTo>
                      <a:pt x="110098" y="122311"/>
                    </a:lnTo>
                    <a:lnTo>
                      <a:pt x="112999" y="122282"/>
                    </a:lnTo>
                    <a:lnTo>
                      <a:pt x="114337" y="122562"/>
                    </a:lnTo>
                    <a:lnTo>
                      <a:pt x="115041" y="123941"/>
                    </a:lnTo>
                    <a:lnTo>
                      <a:pt x="116147" y="124366"/>
                    </a:lnTo>
                    <a:lnTo>
                      <a:pt x="117425" y="124549"/>
                    </a:lnTo>
                    <a:lnTo>
                      <a:pt x="121632" y="127175"/>
                    </a:lnTo>
                    <a:lnTo>
                      <a:pt x="122811" y="127603"/>
                    </a:lnTo>
                    <a:lnTo>
                      <a:pt x="124005" y="127676"/>
                    </a:lnTo>
                    <a:lnTo>
                      <a:pt x="127272" y="126574"/>
                    </a:lnTo>
                    <a:lnTo>
                      <a:pt x="129779" y="126155"/>
                    </a:lnTo>
                    <a:lnTo>
                      <a:pt x="135035" y="126762"/>
                    </a:lnTo>
                    <a:lnTo>
                      <a:pt x="137877" y="126102"/>
                    </a:lnTo>
                    <a:lnTo>
                      <a:pt x="139861" y="126027"/>
                    </a:lnTo>
                    <a:lnTo>
                      <a:pt x="142753" y="125012"/>
                    </a:lnTo>
                    <a:lnTo>
                      <a:pt x="144975" y="123326"/>
                    </a:lnTo>
                    <a:lnTo>
                      <a:pt x="146134" y="122910"/>
                    </a:lnTo>
                    <a:lnTo>
                      <a:pt x="147378" y="122790"/>
                    </a:lnTo>
                    <a:lnTo>
                      <a:pt x="150386" y="122895"/>
                    </a:lnTo>
                    <a:lnTo>
                      <a:pt x="153411" y="123276"/>
                    </a:lnTo>
                    <a:lnTo>
                      <a:pt x="154679" y="122882"/>
                    </a:lnTo>
                    <a:lnTo>
                      <a:pt x="155739" y="121779"/>
                    </a:lnTo>
                    <a:lnTo>
                      <a:pt x="156968" y="121282"/>
                    </a:lnTo>
                    <a:lnTo>
                      <a:pt x="158320" y="121617"/>
                    </a:lnTo>
                    <a:lnTo>
                      <a:pt x="161813" y="119728"/>
                    </a:lnTo>
                    <a:close/>
                    <a:moveTo>
                      <a:pt x="4111" y="98453"/>
                    </a:moveTo>
                    <a:lnTo>
                      <a:pt x="5744" y="99107"/>
                    </a:lnTo>
                    <a:lnTo>
                      <a:pt x="6590" y="99705"/>
                    </a:lnTo>
                    <a:lnTo>
                      <a:pt x="5321" y="102261"/>
                    </a:lnTo>
                    <a:lnTo>
                      <a:pt x="3982" y="100451"/>
                    </a:lnTo>
                    <a:lnTo>
                      <a:pt x="3930" y="98896"/>
                    </a:lnTo>
                    <a:close/>
                    <a:moveTo>
                      <a:pt x="125825" y="55558"/>
                    </a:moveTo>
                    <a:lnTo>
                      <a:pt x="127836" y="56147"/>
                    </a:lnTo>
                    <a:lnTo>
                      <a:pt x="127808" y="56704"/>
                    </a:lnTo>
                    <a:lnTo>
                      <a:pt x="127309" y="57033"/>
                    </a:lnTo>
                    <a:lnTo>
                      <a:pt x="126322" y="57260"/>
                    </a:lnTo>
                    <a:lnTo>
                      <a:pt x="125747" y="56951"/>
                    </a:lnTo>
                    <a:lnTo>
                      <a:pt x="125434" y="56549"/>
                    </a:lnTo>
                    <a:close/>
                    <a:moveTo>
                      <a:pt x="3081" y="46092"/>
                    </a:moveTo>
                    <a:lnTo>
                      <a:pt x="3602" y="46625"/>
                    </a:lnTo>
                    <a:lnTo>
                      <a:pt x="3053" y="47648"/>
                    </a:lnTo>
                    <a:lnTo>
                      <a:pt x="2326" y="48251"/>
                    </a:lnTo>
                    <a:lnTo>
                      <a:pt x="1589" y="49454"/>
                    </a:lnTo>
                    <a:lnTo>
                      <a:pt x="549" y="49366"/>
                    </a:lnTo>
                    <a:lnTo>
                      <a:pt x="955" y="48476"/>
                    </a:lnTo>
                    <a:lnTo>
                      <a:pt x="1913" y="46691"/>
                    </a:lnTo>
                    <a:close/>
                    <a:moveTo>
                      <a:pt x="23164" y="42529"/>
                    </a:moveTo>
                    <a:lnTo>
                      <a:pt x="24371" y="43990"/>
                    </a:lnTo>
                    <a:lnTo>
                      <a:pt x="25869" y="44142"/>
                    </a:lnTo>
                    <a:lnTo>
                      <a:pt x="28178" y="45347"/>
                    </a:lnTo>
                    <a:lnTo>
                      <a:pt x="29174" y="46500"/>
                    </a:lnTo>
                    <a:lnTo>
                      <a:pt x="30026" y="47888"/>
                    </a:lnTo>
                    <a:lnTo>
                      <a:pt x="30842" y="48496"/>
                    </a:lnTo>
                    <a:lnTo>
                      <a:pt x="31719" y="48845"/>
                    </a:lnTo>
                    <a:lnTo>
                      <a:pt x="31849" y="49171"/>
                    </a:lnTo>
                    <a:lnTo>
                      <a:pt x="31154" y="49497"/>
                    </a:lnTo>
                    <a:lnTo>
                      <a:pt x="30357" y="51084"/>
                    </a:lnTo>
                    <a:lnTo>
                      <a:pt x="30806" y="51541"/>
                    </a:lnTo>
                    <a:lnTo>
                      <a:pt x="32088" y="52401"/>
                    </a:lnTo>
                    <a:lnTo>
                      <a:pt x="33194" y="54080"/>
                    </a:lnTo>
                    <a:lnTo>
                      <a:pt x="35677" y="60951"/>
                    </a:lnTo>
                    <a:lnTo>
                      <a:pt x="35919" y="62435"/>
                    </a:lnTo>
                    <a:lnTo>
                      <a:pt x="35423" y="63955"/>
                    </a:lnTo>
                    <a:lnTo>
                      <a:pt x="34790" y="65033"/>
                    </a:lnTo>
                    <a:lnTo>
                      <a:pt x="32330" y="68482"/>
                    </a:lnTo>
                    <a:lnTo>
                      <a:pt x="32695" y="71334"/>
                    </a:lnTo>
                    <a:lnTo>
                      <a:pt x="33609" y="73095"/>
                    </a:lnTo>
                    <a:lnTo>
                      <a:pt x="33740" y="75044"/>
                    </a:lnTo>
                    <a:lnTo>
                      <a:pt x="33283" y="77460"/>
                    </a:lnTo>
                    <a:lnTo>
                      <a:pt x="31756" y="92276"/>
                    </a:lnTo>
                    <a:lnTo>
                      <a:pt x="31018" y="94889"/>
                    </a:lnTo>
                    <a:lnTo>
                      <a:pt x="30551" y="97156"/>
                    </a:lnTo>
                    <a:lnTo>
                      <a:pt x="28867" y="97841"/>
                    </a:lnTo>
                    <a:lnTo>
                      <a:pt x="26694" y="97117"/>
                    </a:lnTo>
                    <a:lnTo>
                      <a:pt x="23954" y="95841"/>
                    </a:lnTo>
                    <a:lnTo>
                      <a:pt x="22689" y="95918"/>
                    </a:lnTo>
                    <a:lnTo>
                      <a:pt x="21415" y="96354"/>
                    </a:lnTo>
                    <a:lnTo>
                      <a:pt x="20363" y="95984"/>
                    </a:lnTo>
                    <a:lnTo>
                      <a:pt x="19359" y="95262"/>
                    </a:lnTo>
                    <a:lnTo>
                      <a:pt x="18614" y="100332"/>
                    </a:lnTo>
                    <a:lnTo>
                      <a:pt x="17375" y="102389"/>
                    </a:lnTo>
                    <a:lnTo>
                      <a:pt x="15489" y="103702"/>
                    </a:lnTo>
                    <a:lnTo>
                      <a:pt x="13716" y="103785"/>
                    </a:lnTo>
                    <a:lnTo>
                      <a:pt x="11890" y="103345"/>
                    </a:lnTo>
                    <a:lnTo>
                      <a:pt x="10341" y="103349"/>
                    </a:lnTo>
                    <a:lnTo>
                      <a:pt x="9167" y="102373"/>
                    </a:lnTo>
                    <a:lnTo>
                      <a:pt x="8236" y="100667"/>
                    </a:lnTo>
                    <a:lnTo>
                      <a:pt x="6752" y="98593"/>
                    </a:lnTo>
                    <a:lnTo>
                      <a:pt x="5247" y="96128"/>
                    </a:lnTo>
                    <a:lnTo>
                      <a:pt x="5083" y="93898"/>
                    </a:lnTo>
                    <a:lnTo>
                      <a:pt x="4826" y="88975"/>
                    </a:lnTo>
                    <a:lnTo>
                      <a:pt x="5258" y="87899"/>
                    </a:lnTo>
                    <a:lnTo>
                      <a:pt x="5887" y="86867"/>
                    </a:lnTo>
                    <a:lnTo>
                      <a:pt x="6195" y="84661"/>
                    </a:lnTo>
                    <a:lnTo>
                      <a:pt x="5977" y="82737"/>
                    </a:lnTo>
                    <a:lnTo>
                      <a:pt x="6418" y="82050"/>
                    </a:lnTo>
                    <a:lnTo>
                      <a:pt x="7295" y="82737"/>
                    </a:lnTo>
                    <a:lnTo>
                      <a:pt x="7953" y="82479"/>
                    </a:lnTo>
                    <a:lnTo>
                      <a:pt x="7912" y="81488"/>
                    </a:lnTo>
                    <a:lnTo>
                      <a:pt x="8113" y="79678"/>
                    </a:lnTo>
                    <a:lnTo>
                      <a:pt x="6966" y="78161"/>
                    </a:lnTo>
                    <a:lnTo>
                      <a:pt x="5018" y="77646"/>
                    </a:lnTo>
                    <a:lnTo>
                      <a:pt x="4830" y="76058"/>
                    </a:lnTo>
                    <a:lnTo>
                      <a:pt x="5036" y="74507"/>
                    </a:lnTo>
                    <a:lnTo>
                      <a:pt x="6064" y="73465"/>
                    </a:lnTo>
                    <a:lnTo>
                      <a:pt x="6411" y="72079"/>
                    </a:lnTo>
                    <a:lnTo>
                      <a:pt x="6422" y="67848"/>
                    </a:lnTo>
                    <a:lnTo>
                      <a:pt x="5049" y="66288"/>
                    </a:lnTo>
                    <a:lnTo>
                      <a:pt x="4522" y="63924"/>
                    </a:lnTo>
                    <a:lnTo>
                      <a:pt x="3812" y="62409"/>
                    </a:lnTo>
                    <a:lnTo>
                      <a:pt x="2535" y="60887"/>
                    </a:lnTo>
                    <a:lnTo>
                      <a:pt x="1093" y="59647"/>
                    </a:lnTo>
                    <a:lnTo>
                      <a:pt x="201" y="58450"/>
                    </a:lnTo>
                    <a:lnTo>
                      <a:pt x="0" y="55316"/>
                    </a:lnTo>
                    <a:lnTo>
                      <a:pt x="507" y="52699"/>
                    </a:lnTo>
                    <a:lnTo>
                      <a:pt x="959" y="51578"/>
                    </a:lnTo>
                    <a:lnTo>
                      <a:pt x="1423" y="51744"/>
                    </a:lnTo>
                    <a:lnTo>
                      <a:pt x="2859" y="53045"/>
                    </a:lnTo>
                    <a:lnTo>
                      <a:pt x="4034" y="53339"/>
                    </a:lnTo>
                    <a:lnTo>
                      <a:pt x="6359" y="53654"/>
                    </a:lnTo>
                    <a:lnTo>
                      <a:pt x="8646" y="53238"/>
                    </a:lnTo>
                    <a:lnTo>
                      <a:pt x="11456" y="52053"/>
                    </a:lnTo>
                    <a:lnTo>
                      <a:pt x="14159" y="50617"/>
                    </a:lnTo>
                    <a:lnTo>
                      <a:pt x="18072" y="46395"/>
                    </a:lnTo>
                    <a:lnTo>
                      <a:pt x="20484" y="45537"/>
                    </a:lnTo>
                    <a:lnTo>
                      <a:pt x="21719" y="44425"/>
                    </a:lnTo>
                    <a:lnTo>
                      <a:pt x="22140" y="42922"/>
                    </a:lnTo>
                    <a:close/>
                    <a:moveTo>
                      <a:pt x="48962" y="0"/>
                    </a:moveTo>
                    <a:lnTo>
                      <a:pt x="49696" y="1042"/>
                    </a:lnTo>
                    <a:lnTo>
                      <a:pt x="49782" y="1647"/>
                    </a:lnTo>
                    <a:lnTo>
                      <a:pt x="49290" y="2331"/>
                    </a:lnTo>
                    <a:lnTo>
                      <a:pt x="49497" y="3877"/>
                    </a:lnTo>
                    <a:lnTo>
                      <a:pt x="47647" y="2595"/>
                    </a:lnTo>
                    <a:lnTo>
                      <a:pt x="44846" y="3242"/>
                    </a:lnTo>
                    <a:lnTo>
                      <a:pt x="43127" y="3105"/>
                    </a:lnTo>
                    <a:lnTo>
                      <a:pt x="42652" y="1955"/>
                    </a:lnTo>
                    <a:lnTo>
                      <a:pt x="43045" y="1280"/>
                    </a:lnTo>
                    <a:lnTo>
                      <a:pt x="45714" y="1133"/>
                    </a:lnTo>
                    <a:lnTo>
                      <a:pt x="46543" y="804"/>
                    </a:lnTo>
                    <a:lnTo>
                      <a:pt x="48163" y="95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5" name="ee4p_SM_1_15912">
                <a:extLst>
                  <a:ext uri="{FF2B5EF4-FFF2-40B4-BE49-F238E27FC236}">
                    <a16:creationId xmlns:a16="http://schemas.microsoft.com/office/drawing/2014/main" id="{531E88DD-CA18-0096-430E-8C6495E118BE}"/>
                  </a:ext>
                </a:extLst>
              </p:cNvPr>
              <p:cNvSpPr>
                <a:spLocks noChangeAspect="1"/>
              </p:cNvSpPr>
              <p:nvPr>
                <p:custDataLst>
                  <p:tags r:id="rId256"/>
                </p:custDataLst>
              </p:nvPr>
            </p:nvSpPr>
            <p:spPr>
              <a:xfrm>
                <a:off x="4858390" y="5196961"/>
                <a:ext cx="10327" cy="10255"/>
              </a:xfrm>
              <a:custGeom>
                <a:avLst/>
                <a:gdLst/>
                <a:ahLst/>
                <a:cxnLst/>
                <a:rect l="0" t="0" r="0" b="0"/>
                <a:pathLst>
                  <a:path w="2605" h="2587">
                    <a:moveTo>
                      <a:pt x="0" y="1492"/>
                    </a:moveTo>
                    <a:lnTo>
                      <a:pt x="652" y="2586"/>
                    </a:lnTo>
                    <a:lnTo>
                      <a:pt x="1954" y="2389"/>
                    </a:lnTo>
                    <a:lnTo>
                      <a:pt x="2604" y="994"/>
                    </a:lnTo>
                    <a:lnTo>
                      <a:pt x="2362" y="0"/>
                    </a:lnTo>
                    <a:lnTo>
                      <a:pt x="978" y="198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6" name="ee4p_XK_1_15912">
                <a:extLst>
                  <a:ext uri="{FF2B5EF4-FFF2-40B4-BE49-F238E27FC236}">
                    <a16:creationId xmlns:a16="http://schemas.microsoft.com/office/drawing/2014/main" id="{2B2DEB69-1E41-8820-D00F-916AD47614F7}"/>
                  </a:ext>
                </a:extLst>
              </p:cNvPr>
              <p:cNvSpPr>
                <a:spLocks noChangeAspect="1"/>
              </p:cNvSpPr>
              <p:nvPr>
                <p:custDataLst>
                  <p:tags r:id="rId257"/>
                </p:custDataLst>
              </p:nvPr>
            </p:nvSpPr>
            <p:spPr>
              <a:xfrm>
                <a:off x="5527445" y="5274838"/>
                <a:ext cx="151077" cy="148889"/>
              </a:xfrm>
              <a:custGeom>
                <a:avLst/>
                <a:gdLst/>
                <a:ahLst/>
                <a:cxnLst/>
                <a:rect l="0" t="0" r="0" b="0"/>
                <a:pathLst>
                  <a:path w="38110" h="37558">
                    <a:moveTo>
                      <a:pt x="33898" y="27100"/>
                    </a:moveTo>
                    <a:lnTo>
                      <a:pt x="33862" y="27096"/>
                    </a:lnTo>
                    <a:lnTo>
                      <a:pt x="30074" y="27836"/>
                    </a:lnTo>
                    <a:lnTo>
                      <a:pt x="28796" y="28705"/>
                    </a:lnTo>
                    <a:lnTo>
                      <a:pt x="28040" y="30223"/>
                    </a:lnTo>
                    <a:lnTo>
                      <a:pt x="27798" y="31012"/>
                    </a:lnTo>
                    <a:lnTo>
                      <a:pt x="27129" y="31035"/>
                    </a:lnTo>
                    <a:lnTo>
                      <a:pt x="26017" y="30253"/>
                    </a:lnTo>
                    <a:lnTo>
                      <a:pt x="24611" y="29029"/>
                    </a:lnTo>
                    <a:lnTo>
                      <a:pt x="22782" y="29127"/>
                    </a:lnTo>
                    <a:lnTo>
                      <a:pt x="16554" y="31792"/>
                    </a:lnTo>
                    <a:lnTo>
                      <a:pt x="15941" y="33191"/>
                    </a:lnTo>
                    <a:lnTo>
                      <a:pt x="15803" y="36218"/>
                    </a:lnTo>
                    <a:lnTo>
                      <a:pt x="15379" y="37034"/>
                    </a:lnTo>
                    <a:lnTo>
                      <a:pt x="14714" y="37557"/>
                    </a:lnTo>
                    <a:lnTo>
                      <a:pt x="12140" y="37228"/>
                    </a:lnTo>
                    <a:lnTo>
                      <a:pt x="11868" y="37030"/>
                    </a:lnTo>
                    <a:lnTo>
                      <a:pt x="12205" y="35870"/>
                    </a:lnTo>
                    <a:lnTo>
                      <a:pt x="12071" y="33331"/>
                    </a:lnTo>
                    <a:lnTo>
                      <a:pt x="10909" y="29122"/>
                    </a:lnTo>
                    <a:lnTo>
                      <a:pt x="10082" y="27742"/>
                    </a:lnTo>
                    <a:lnTo>
                      <a:pt x="8377" y="26370"/>
                    </a:lnTo>
                    <a:lnTo>
                      <a:pt x="7048" y="25469"/>
                    </a:lnTo>
                    <a:lnTo>
                      <a:pt x="4667" y="24665"/>
                    </a:lnTo>
                    <a:lnTo>
                      <a:pt x="3455" y="22350"/>
                    </a:lnTo>
                    <a:lnTo>
                      <a:pt x="1637" y="19716"/>
                    </a:lnTo>
                    <a:lnTo>
                      <a:pt x="762" y="19112"/>
                    </a:lnTo>
                    <a:lnTo>
                      <a:pt x="903" y="18851"/>
                    </a:lnTo>
                    <a:lnTo>
                      <a:pt x="1322" y="16863"/>
                    </a:lnTo>
                    <a:lnTo>
                      <a:pt x="802" y="15412"/>
                    </a:lnTo>
                    <a:lnTo>
                      <a:pt x="0" y="14178"/>
                    </a:lnTo>
                    <a:lnTo>
                      <a:pt x="549" y="13429"/>
                    </a:lnTo>
                    <a:lnTo>
                      <a:pt x="2222" y="13436"/>
                    </a:lnTo>
                    <a:lnTo>
                      <a:pt x="3606" y="13574"/>
                    </a:lnTo>
                    <a:lnTo>
                      <a:pt x="4105" y="12392"/>
                    </a:lnTo>
                    <a:lnTo>
                      <a:pt x="6962" y="11613"/>
                    </a:lnTo>
                    <a:lnTo>
                      <a:pt x="9715" y="10811"/>
                    </a:lnTo>
                    <a:lnTo>
                      <a:pt x="10113" y="10245"/>
                    </a:lnTo>
                    <a:lnTo>
                      <a:pt x="9484" y="9027"/>
                    </a:lnTo>
                    <a:lnTo>
                      <a:pt x="9854" y="8264"/>
                    </a:lnTo>
                    <a:lnTo>
                      <a:pt x="13147" y="6090"/>
                    </a:lnTo>
                    <a:lnTo>
                      <a:pt x="13689" y="5104"/>
                    </a:lnTo>
                    <a:lnTo>
                      <a:pt x="13890" y="4328"/>
                    </a:lnTo>
                    <a:lnTo>
                      <a:pt x="13447" y="3510"/>
                    </a:lnTo>
                    <a:lnTo>
                      <a:pt x="12829" y="2220"/>
                    </a:lnTo>
                    <a:lnTo>
                      <a:pt x="13127" y="1678"/>
                    </a:lnTo>
                    <a:lnTo>
                      <a:pt x="14839" y="933"/>
                    </a:lnTo>
                    <a:lnTo>
                      <a:pt x="16228" y="67"/>
                    </a:lnTo>
                    <a:lnTo>
                      <a:pt x="17051" y="0"/>
                    </a:lnTo>
                    <a:lnTo>
                      <a:pt x="17565" y="622"/>
                    </a:lnTo>
                    <a:lnTo>
                      <a:pt x="17565" y="1266"/>
                    </a:lnTo>
                    <a:lnTo>
                      <a:pt x="18020" y="2354"/>
                    </a:lnTo>
                    <a:lnTo>
                      <a:pt x="19044" y="2939"/>
                    </a:lnTo>
                    <a:lnTo>
                      <a:pt x="20746" y="3895"/>
                    </a:lnTo>
                    <a:lnTo>
                      <a:pt x="22722" y="4547"/>
                    </a:lnTo>
                    <a:lnTo>
                      <a:pt x="24270" y="5853"/>
                    </a:lnTo>
                    <a:lnTo>
                      <a:pt x="26384" y="8179"/>
                    </a:lnTo>
                    <a:lnTo>
                      <a:pt x="26703" y="9330"/>
                    </a:lnTo>
                    <a:lnTo>
                      <a:pt x="28606" y="10361"/>
                    </a:lnTo>
                    <a:lnTo>
                      <a:pt x="30372" y="11517"/>
                    </a:lnTo>
                    <a:lnTo>
                      <a:pt x="30098" y="13660"/>
                    </a:lnTo>
                    <a:lnTo>
                      <a:pt x="36110" y="15529"/>
                    </a:lnTo>
                    <a:lnTo>
                      <a:pt x="37466" y="15515"/>
                    </a:lnTo>
                    <a:lnTo>
                      <a:pt x="38109" y="15840"/>
                    </a:lnTo>
                    <a:lnTo>
                      <a:pt x="38092" y="16329"/>
                    </a:lnTo>
                    <a:lnTo>
                      <a:pt x="37617" y="17826"/>
                    </a:lnTo>
                    <a:lnTo>
                      <a:pt x="35149" y="22420"/>
                    </a:lnTo>
                    <a:lnTo>
                      <a:pt x="34946" y="23374"/>
                    </a:lnTo>
                    <a:lnTo>
                      <a:pt x="33179" y="24371"/>
                    </a:lnTo>
                    <a:lnTo>
                      <a:pt x="32935" y="24946"/>
                    </a:lnTo>
                    <a:lnTo>
                      <a:pt x="33436" y="26214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7" name="ee4p_LI_1_15912">
                <a:extLst>
                  <a:ext uri="{FF2B5EF4-FFF2-40B4-BE49-F238E27FC236}">
                    <a16:creationId xmlns:a16="http://schemas.microsoft.com/office/drawing/2014/main" id="{E753764C-F3A5-65FD-EB59-13ECF8669E6F}"/>
                  </a:ext>
                </a:extLst>
              </p:cNvPr>
              <p:cNvSpPr>
                <a:spLocks noChangeAspect="1"/>
              </p:cNvSpPr>
              <p:nvPr>
                <p:custDataLst>
                  <p:tags r:id="rId258"/>
                </p:custDataLst>
              </p:nvPr>
            </p:nvSpPr>
            <p:spPr>
              <a:xfrm>
                <a:off x="4602657" y="4839094"/>
                <a:ext cx="11492" cy="23655"/>
              </a:xfrm>
              <a:custGeom>
                <a:avLst/>
                <a:gdLst/>
                <a:ahLst/>
                <a:cxnLst/>
                <a:rect l="0" t="0" r="0" b="0"/>
                <a:pathLst>
                  <a:path w="2899" h="5967">
                    <a:moveTo>
                      <a:pt x="2229" y="5966"/>
                    </a:moveTo>
                    <a:lnTo>
                      <a:pt x="506" y="5816"/>
                    </a:lnTo>
                    <a:lnTo>
                      <a:pt x="182" y="5829"/>
                    </a:lnTo>
                    <a:lnTo>
                      <a:pt x="0" y="4844"/>
                    </a:lnTo>
                    <a:lnTo>
                      <a:pt x="106" y="2744"/>
                    </a:lnTo>
                    <a:lnTo>
                      <a:pt x="1063" y="0"/>
                    </a:lnTo>
                    <a:lnTo>
                      <a:pt x="1268" y="451"/>
                    </a:lnTo>
                    <a:lnTo>
                      <a:pt x="1387" y="1025"/>
                    </a:lnTo>
                    <a:lnTo>
                      <a:pt x="1583" y="1636"/>
                    </a:lnTo>
                    <a:lnTo>
                      <a:pt x="1687" y="2385"/>
                    </a:lnTo>
                    <a:lnTo>
                      <a:pt x="2043" y="3157"/>
                    </a:lnTo>
                    <a:lnTo>
                      <a:pt x="2691" y="3879"/>
                    </a:lnTo>
                    <a:lnTo>
                      <a:pt x="2898" y="4576"/>
                    </a:lnTo>
                    <a:lnTo>
                      <a:pt x="2570" y="5450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8" name="ee4p_LT_1_15912">
                <a:extLst>
                  <a:ext uri="{FF2B5EF4-FFF2-40B4-BE49-F238E27FC236}">
                    <a16:creationId xmlns:a16="http://schemas.microsoft.com/office/drawing/2014/main" id="{B395DB21-1236-9BFE-32D1-6AAB7059EE0A}"/>
                  </a:ext>
                </a:extLst>
              </p:cNvPr>
              <p:cNvSpPr>
                <a:spLocks noChangeAspect="1"/>
              </p:cNvSpPr>
              <p:nvPr>
                <p:custDataLst>
                  <p:tags r:id="rId259"/>
                </p:custDataLst>
              </p:nvPr>
            </p:nvSpPr>
            <p:spPr>
              <a:xfrm>
                <a:off x="5603733" y="3767884"/>
                <a:ext cx="515065" cy="307545"/>
              </a:xfrm>
              <a:custGeom>
                <a:avLst/>
                <a:gdLst>
                  <a:gd name="connsiteX0" fmla="*/ 4755 w 129928"/>
                  <a:gd name="connsiteY0" fmla="*/ 24770 h 77580"/>
                  <a:gd name="connsiteX1" fmla="*/ 4774 w 129928"/>
                  <a:gd name="connsiteY1" fmla="*/ 26268 h 77580"/>
                  <a:gd name="connsiteX2" fmla="*/ 4513 w 129928"/>
                  <a:gd name="connsiteY2" fmla="*/ 28758 h 77580"/>
                  <a:gd name="connsiteX3" fmla="*/ 2917 w 129928"/>
                  <a:gd name="connsiteY3" fmla="*/ 33001 h 77580"/>
                  <a:gd name="connsiteX4" fmla="*/ 1283 w 129928"/>
                  <a:gd name="connsiteY4" fmla="*/ 35210 h 77580"/>
                  <a:gd name="connsiteX5" fmla="*/ 0 w 129928"/>
                  <a:gd name="connsiteY5" fmla="*/ 34971 h 77580"/>
                  <a:gd name="connsiteX6" fmla="*/ 2526 w 129928"/>
                  <a:gd name="connsiteY6" fmla="*/ 31410 h 77580"/>
                  <a:gd name="connsiteX7" fmla="*/ 3489 w 129928"/>
                  <a:gd name="connsiteY7" fmla="*/ 29096 h 77580"/>
                  <a:gd name="connsiteX8" fmla="*/ 4159 w 129928"/>
                  <a:gd name="connsiteY8" fmla="*/ 25805 h 77580"/>
                  <a:gd name="connsiteX9" fmla="*/ 87148 w 129928"/>
                  <a:gd name="connsiteY9" fmla="*/ 0 h 77580"/>
                  <a:gd name="connsiteX10" fmla="*/ 88519 w 129928"/>
                  <a:gd name="connsiteY10" fmla="*/ 407 h 77580"/>
                  <a:gd name="connsiteX11" fmla="*/ 89422 w 129928"/>
                  <a:gd name="connsiteY11" fmla="*/ 2681 h 77580"/>
                  <a:gd name="connsiteX12" fmla="*/ 92210 w 129928"/>
                  <a:gd name="connsiteY12" fmla="*/ 6597 h 77580"/>
                  <a:gd name="connsiteX13" fmla="*/ 95240 w 129928"/>
                  <a:gd name="connsiteY13" fmla="*/ 7284 h 77580"/>
                  <a:gd name="connsiteX14" fmla="*/ 103616 w 129928"/>
                  <a:gd name="connsiteY14" fmla="*/ 8790 h 77580"/>
                  <a:gd name="connsiteX15" fmla="*/ 105328 w 129928"/>
                  <a:gd name="connsiteY15" fmla="*/ 9581 h 77580"/>
                  <a:gd name="connsiteX16" fmla="*/ 110042 w 129928"/>
                  <a:gd name="connsiteY16" fmla="*/ 13027 h 77580"/>
                  <a:gd name="connsiteX17" fmla="*/ 112869 w 129928"/>
                  <a:gd name="connsiteY17" fmla="*/ 14715 h 77580"/>
                  <a:gd name="connsiteX18" fmla="*/ 114667 w 129928"/>
                  <a:gd name="connsiteY18" fmla="*/ 16062 h 77580"/>
                  <a:gd name="connsiteX19" fmla="*/ 117410 w 129928"/>
                  <a:gd name="connsiteY19" fmla="*/ 18698 h 77580"/>
                  <a:gd name="connsiteX20" fmla="*/ 118995 w 129928"/>
                  <a:gd name="connsiteY20" fmla="*/ 20614 h 77580"/>
                  <a:gd name="connsiteX21" fmla="*/ 121645 w 129928"/>
                  <a:gd name="connsiteY21" fmla="*/ 22062 h 77580"/>
                  <a:gd name="connsiteX22" fmla="*/ 124780 w 129928"/>
                  <a:gd name="connsiteY22" fmla="*/ 23036 h 77580"/>
                  <a:gd name="connsiteX23" fmla="*/ 125900 w 129928"/>
                  <a:gd name="connsiteY23" fmla="*/ 23187 h 77580"/>
                  <a:gd name="connsiteX24" fmla="*/ 125840 w 129928"/>
                  <a:gd name="connsiteY24" fmla="*/ 24579 h 77580"/>
                  <a:gd name="connsiteX25" fmla="*/ 125305 w 129928"/>
                  <a:gd name="connsiteY25" fmla="*/ 26939 h 77580"/>
                  <a:gd name="connsiteX26" fmla="*/ 124257 w 129928"/>
                  <a:gd name="connsiteY26" fmla="*/ 29982 h 77580"/>
                  <a:gd name="connsiteX27" fmla="*/ 123158 w 129928"/>
                  <a:gd name="connsiteY27" fmla="*/ 32338 h 77580"/>
                  <a:gd name="connsiteX28" fmla="*/ 122895 w 129928"/>
                  <a:gd name="connsiteY28" fmla="*/ 33248 h 77580"/>
                  <a:gd name="connsiteX29" fmla="*/ 123728 w 129928"/>
                  <a:gd name="connsiteY29" fmla="*/ 34003 h 77580"/>
                  <a:gd name="connsiteX30" fmla="*/ 127840 w 129928"/>
                  <a:gd name="connsiteY30" fmla="*/ 34360 h 77580"/>
                  <a:gd name="connsiteX31" fmla="*/ 129584 w 129928"/>
                  <a:gd name="connsiteY31" fmla="*/ 34765 h 77580"/>
                  <a:gd name="connsiteX32" fmla="*/ 129928 w 129928"/>
                  <a:gd name="connsiteY32" fmla="*/ 35390 h 77580"/>
                  <a:gd name="connsiteX33" fmla="*/ 129015 w 129928"/>
                  <a:gd name="connsiteY33" fmla="*/ 36202 h 77580"/>
                  <a:gd name="connsiteX34" fmla="*/ 127702 w 129928"/>
                  <a:gd name="connsiteY34" fmla="*/ 36876 h 77580"/>
                  <a:gd name="connsiteX35" fmla="*/ 127114 w 129928"/>
                  <a:gd name="connsiteY35" fmla="*/ 37514 h 77580"/>
                  <a:gd name="connsiteX36" fmla="*/ 126069 w 129928"/>
                  <a:gd name="connsiteY36" fmla="*/ 39795 h 77580"/>
                  <a:gd name="connsiteX37" fmla="*/ 119228 w 129928"/>
                  <a:gd name="connsiteY37" fmla="*/ 39505 h 77580"/>
                  <a:gd name="connsiteX38" fmla="*/ 118321 w 129928"/>
                  <a:gd name="connsiteY38" fmla="*/ 39969 h 77580"/>
                  <a:gd name="connsiteX39" fmla="*/ 117889 w 129928"/>
                  <a:gd name="connsiteY39" fmla="*/ 41028 h 77580"/>
                  <a:gd name="connsiteX40" fmla="*/ 117548 w 129928"/>
                  <a:gd name="connsiteY40" fmla="*/ 42251 h 77580"/>
                  <a:gd name="connsiteX41" fmla="*/ 116650 w 129928"/>
                  <a:gd name="connsiteY41" fmla="*/ 43699 h 77580"/>
                  <a:gd name="connsiteX42" fmla="*/ 114832 w 129928"/>
                  <a:gd name="connsiteY42" fmla="*/ 44959 h 77580"/>
                  <a:gd name="connsiteX43" fmla="*/ 111990 w 129928"/>
                  <a:gd name="connsiteY43" fmla="*/ 45424 h 77580"/>
                  <a:gd name="connsiteX44" fmla="*/ 109664 w 129928"/>
                  <a:gd name="connsiteY44" fmla="*/ 46280 h 77580"/>
                  <a:gd name="connsiteX45" fmla="*/ 107930 w 129928"/>
                  <a:gd name="connsiteY45" fmla="*/ 48920 h 77580"/>
                  <a:gd name="connsiteX46" fmla="*/ 106639 w 129928"/>
                  <a:gd name="connsiteY46" fmla="*/ 52456 h 77580"/>
                  <a:gd name="connsiteX47" fmla="*/ 106671 w 129928"/>
                  <a:gd name="connsiteY47" fmla="*/ 54961 h 77580"/>
                  <a:gd name="connsiteX48" fmla="*/ 106842 w 129928"/>
                  <a:gd name="connsiteY48" fmla="*/ 56357 h 77580"/>
                  <a:gd name="connsiteX49" fmla="*/ 106691 w 129928"/>
                  <a:gd name="connsiteY49" fmla="*/ 57155 h 77580"/>
                  <a:gd name="connsiteX50" fmla="*/ 105814 w 129928"/>
                  <a:gd name="connsiteY50" fmla="*/ 58025 h 77580"/>
                  <a:gd name="connsiteX51" fmla="*/ 104380 w 129928"/>
                  <a:gd name="connsiteY51" fmla="*/ 60327 h 77580"/>
                  <a:gd name="connsiteX52" fmla="*/ 103214 w 129928"/>
                  <a:gd name="connsiteY52" fmla="*/ 62869 h 77580"/>
                  <a:gd name="connsiteX53" fmla="*/ 102767 w 129928"/>
                  <a:gd name="connsiteY53" fmla="*/ 64247 h 77580"/>
                  <a:gd name="connsiteX54" fmla="*/ 102992 w 129928"/>
                  <a:gd name="connsiteY54" fmla="*/ 64892 h 77580"/>
                  <a:gd name="connsiteX55" fmla="*/ 104305 w 129928"/>
                  <a:gd name="connsiteY55" fmla="*/ 64909 h 77580"/>
                  <a:gd name="connsiteX56" fmla="*/ 106199 w 129928"/>
                  <a:gd name="connsiteY56" fmla="*/ 65431 h 77580"/>
                  <a:gd name="connsiteX57" fmla="*/ 107207 w 129928"/>
                  <a:gd name="connsiteY57" fmla="*/ 66445 h 77580"/>
                  <a:gd name="connsiteX58" fmla="*/ 107580 w 129928"/>
                  <a:gd name="connsiteY58" fmla="*/ 67616 h 77580"/>
                  <a:gd name="connsiteX59" fmla="*/ 107585 w 129928"/>
                  <a:gd name="connsiteY59" fmla="*/ 68875 h 77580"/>
                  <a:gd name="connsiteX60" fmla="*/ 107231 w 129928"/>
                  <a:gd name="connsiteY60" fmla="*/ 69568 h 77580"/>
                  <a:gd name="connsiteX61" fmla="*/ 105713 w 129928"/>
                  <a:gd name="connsiteY61" fmla="*/ 70070 h 77580"/>
                  <a:gd name="connsiteX62" fmla="*/ 103335 w 129928"/>
                  <a:gd name="connsiteY62" fmla="*/ 70088 h 77580"/>
                  <a:gd name="connsiteX63" fmla="*/ 101949 w 129928"/>
                  <a:gd name="connsiteY63" fmla="*/ 69488 h 77580"/>
                  <a:gd name="connsiteX64" fmla="*/ 101662 w 129928"/>
                  <a:gd name="connsiteY64" fmla="*/ 69013 h 77580"/>
                  <a:gd name="connsiteX65" fmla="*/ 102324 w 129928"/>
                  <a:gd name="connsiteY65" fmla="*/ 67800 h 77580"/>
                  <a:gd name="connsiteX66" fmla="*/ 101845 w 129928"/>
                  <a:gd name="connsiteY66" fmla="*/ 66285 h 77580"/>
                  <a:gd name="connsiteX67" fmla="*/ 100861 w 129928"/>
                  <a:gd name="connsiteY67" fmla="*/ 65437 h 77580"/>
                  <a:gd name="connsiteX68" fmla="*/ 98859 w 129928"/>
                  <a:gd name="connsiteY68" fmla="*/ 66702 h 77580"/>
                  <a:gd name="connsiteX69" fmla="*/ 96937 w 129928"/>
                  <a:gd name="connsiteY69" fmla="*/ 66701 h 77580"/>
                  <a:gd name="connsiteX70" fmla="*/ 94633 w 129928"/>
                  <a:gd name="connsiteY70" fmla="*/ 67827 h 77580"/>
                  <a:gd name="connsiteX71" fmla="*/ 93128 w 129928"/>
                  <a:gd name="connsiteY71" fmla="*/ 69631 h 77580"/>
                  <a:gd name="connsiteX72" fmla="*/ 91683 w 129928"/>
                  <a:gd name="connsiteY72" fmla="*/ 70296 h 77580"/>
                  <a:gd name="connsiteX73" fmla="*/ 87779 w 129928"/>
                  <a:gd name="connsiteY73" fmla="*/ 69928 h 77580"/>
                  <a:gd name="connsiteX74" fmla="*/ 86809 w 129928"/>
                  <a:gd name="connsiteY74" fmla="*/ 70723 h 77580"/>
                  <a:gd name="connsiteX75" fmla="*/ 86004 w 129928"/>
                  <a:gd name="connsiteY75" fmla="*/ 74388 h 77580"/>
                  <a:gd name="connsiteX76" fmla="*/ 85537 w 129928"/>
                  <a:gd name="connsiteY76" fmla="*/ 75104 h 77580"/>
                  <a:gd name="connsiteX77" fmla="*/ 82277 w 129928"/>
                  <a:gd name="connsiteY77" fmla="*/ 74947 h 77580"/>
                  <a:gd name="connsiteX78" fmla="*/ 79133 w 129928"/>
                  <a:gd name="connsiteY78" fmla="*/ 76402 h 77580"/>
                  <a:gd name="connsiteX79" fmla="*/ 75583 w 129928"/>
                  <a:gd name="connsiteY79" fmla="*/ 77580 h 77580"/>
                  <a:gd name="connsiteX80" fmla="*/ 73784 w 129928"/>
                  <a:gd name="connsiteY80" fmla="*/ 76761 h 77580"/>
                  <a:gd name="connsiteX81" fmla="*/ 72782 w 129928"/>
                  <a:gd name="connsiteY81" fmla="*/ 75838 h 77580"/>
                  <a:gd name="connsiteX82" fmla="*/ 70849 w 129928"/>
                  <a:gd name="connsiteY82" fmla="*/ 76002 h 77580"/>
                  <a:gd name="connsiteX83" fmla="*/ 68740 w 129928"/>
                  <a:gd name="connsiteY83" fmla="*/ 76408 h 77580"/>
                  <a:gd name="connsiteX84" fmla="*/ 67323 w 129928"/>
                  <a:gd name="connsiteY84" fmla="*/ 76186 h 77580"/>
                  <a:gd name="connsiteX85" fmla="*/ 65734 w 129928"/>
                  <a:gd name="connsiteY85" fmla="*/ 76285 h 77580"/>
                  <a:gd name="connsiteX86" fmla="*/ 62663 w 129928"/>
                  <a:gd name="connsiteY86" fmla="*/ 76995 h 77580"/>
                  <a:gd name="connsiteX87" fmla="*/ 58802 w 129928"/>
                  <a:gd name="connsiteY87" fmla="*/ 76766 h 77580"/>
                  <a:gd name="connsiteX88" fmla="*/ 57157 w 129928"/>
                  <a:gd name="connsiteY88" fmla="*/ 76160 h 77580"/>
                  <a:gd name="connsiteX89" fmla="*/ 57001 w 129928"/>
                  <a:gd name="connsiteY89" fmla="*/ 75580 h 77580"/>
                  <a:gd name="connsiteX90" fmla="*/ 57120 w 129928"/>
                  <a:gd name="connsiteY90" fmla="*/ 74154 h 77580"/>
                  <a:gd name="connsiteX91" fmla="*/ 57083 w 129928"/>
                  <a:gd name="connsiteY91" fmla="*/ 71937 h 77580"/>
                  <a:gd name="connsiteX92" fmla="*/ 56470 w 129928"/>
                  <a:gd name="connsiteY92" fmla="*/ 69979 h 77580"/>
                  <a:gd name="connsiteX93" fmla="*/ 54623 w 129928"/>
                  <a:gd name="connsiteY93" fmla="*/ 68246 h 77580"/>
                  <a:gd name="connsiteX94" fmla="*/ 52682 w 129928"/>
                  <a:gd name="connsiteY94" fmla="*/ 67034 h 77580"/>
                  <a:gd name="connsiteX95" fmla="*/ 50205 w 129928"/>
                  <a:gd name="connsiteY95" fmla="*/ 65782 h 77580"/>
                  <a:gd name="connsiteX96" fmla="*/ 48374 w 129928"/>
                  <a:gd name="connsiteY96" fmla="*/ 65233 h 77580"/>
                  <a:gd name="connsiteX97" fmla="*/ 47372 w 129928"/>
                  <a:gd name="connsiteY97" fmla="*/ 65089 h 77580"/>
                  <a:gd name="connsiteX98" fmla="*/ 47146 w 129928"/>
                  <a:gd name="connsiteY98" fmla="*/ 64368 h 77580"/>
                  <a:gd name="connsiteX99" fmla="*/ 46783 w 129928"/>
                  <a:gd name="connsiteY99" fmla="*/ 63745 h 77580"/>
                  <a:gd name="connsiteX100" fmla="*/ 45926 w 129928"/>
                  <a:gd name="connsiteY100" fmla="*/ 63196 h 77580"/>
                  <a:gd name="connsiteX101" fmla="*/ 44095 w 129928"/>
                  <a:gd name="connsiteY101" fmla="*/ 62459 h 77580"/>
                  <a:gd name="connsiteX102" fmla="*/ 42542 w 129928"/>
                  <a:gd name="connsiteY102" fmla="*/ 62298 h 77580"/>
                  <a:gd name="connsiteX103" fmla="*/ 41270 w 129928"/>
                  <a:gd name="connsiteY103" fmla="*/ 63487 h 77580"/>
                  <a:gd name="connsiteX104" fmla="*/ 40344 w 129928"/>
                  <a:gd name="connsiteY104" fmla="*/ 61998 h 77580"/>
                  <a:gd name="connsiteX105" fmla="*/ 39361 w 129928"/>
                  <a:gd name="connsiteY105" fmla="*/ 59331 h 77580"/>
                  <a:gd name="connsiteX106" fmla="*/ 39463 w 129928"/>
                  <a:gd name="connsiteY106" fmla="*/ 57196 h 77580"/>
                  <a:gd name="connsiteX107" fmla="*/ 40020 w 129928"/>
                  <a:gd name="connsiteY107" fmla="*/ 55065 h 77580"/>
                  <a:gd name="connsiteX108" fmla="*/ 42708 w 129928"/>
                  <a:gd name="connsiteY108" fmla="*/ 48760 h 77580"/>
                  <a:gd name="connsiteX109" fmla="*/ 42563 w 129928"/>
                  <a:gd name="connsiteY109" fmla="*/ 47753 h 77580"/>
                  <a:gd name="connsiteX110" fmla="*/ 40613 w 129928"/>
                  <a:gd name="connsiteY110" fmla="*/ 45986 h 77580"/>
                  <a:gd name="connsiteX111" fmla="*/ 38202 w 129928"/>
                  <a:gd name="connsiteY111" fmla="*/ 44701 h 77580"/>
                  <a:gd name="connsiteX112" fmla="*/ 36871 w 129928"/>
                  <a:gd name="connsiteY112" fmla="*/ 41982 h 77580"/>
                  <a:gd name="connsiteX113" fmla="*/ 31987 w 129928"/>
                  <a:gd name="connsiteY113" fmla="*/ 41824 h 77580"/>
                  <a:gd name="connsiteX114" fmla="*/ 27376 w 129928"/>
                  <a:gd name="connsiteY114" fmla="*/ 41974 h 77580"/>
                  <a:gd name="connsiteX115" fmla="*/ 25928 w 129928"/>
                  <a:gd name="connsiteY115" fmla="*/ 41842 h 77580"/>
                  <a:gd name="connsiteX116" fmla="*/ 21540 w 129928"/>
                  <a:gd name="connsiteY116" fmla="*/ 40702 h 77580"/>
                  <a:gd name="connsiteX117" fmla="*/ 17311 w 129928"/>
                  <a:gd name="connsiteY117" fmla="*/ 38866 h 77580"/>
                  <a:gd name="connsiteX118" fmla="*/ 14481 w 129928"/>
                  <a:gd name="connsiteY118" fmla="*/ 37788 h 77580"/>
                  <a:gd name="connsiteX119" fmla="*/ 12101 w 129928"/>
                  <a:gd name="connsiteY119" fmla="*/ 36582 h 77580"/>
                  <a:gd name="connsiteX120" fmla="*/ 10823 w 129928"/>
                  <a:gd name="connsiteY120" fmla="*/ 35315 h 77580"/>
                  <a:gd name="connsiteX121" fmla="*/ 8795 w 129928"/>
                  <a:gd name="connsiteY121" fmla="*/ 35656 h 77580"/>
                  <a:gd name="connsiteX122" fmla="*/ 7428 w 129928"/>
                  <a:gd name="connsiteY122" fmla="*/ 35667 h 77580"/>
                  <a:gd name="connsiteX123" fmla="*/ 7441 w 129928"/>
                  <a:gd name="connsiteY123" fmla="*/ 35449 h 77580"/>
                  <a:gd name="connsiteX124" fmla="*/ 6662 w 129928"/>
                  <a:gd name="connsiteY124" fmla="*/ 33207 h 77580"/>
                  <a:gd name="connsiteX125" fmla="*/ 7476 w 129928"/>
                  <a:gd name="connsiteY125" fmla="*/ 29769 h 77580"/>
                  <a:gd name="connsiteX126" fmla="*/ 5999 w 129928"/>
                  <a:gd name="connsiteY126" fmla="*/ 24732 h 77580"/>
                  <a:gd name="connsiteX127" fmla="*/ 3584 w 129928"/>
                  <a:gd name="connsiteY127" fmla="*/ 18657 h 77580"/>
                  <a:gd name="connsiteX128" fmla="*/ 3405 w 129928"/>
                  <a:gd name="connsiteY128" fmla="*/ 12135 h 77580"/>
                  <a:gd name="connsiteX129" fmla="*/ 3234 w 129928"/>
                  <a:gd name="connsiteY129" fmla="*/ 10666 h 77580"/>
                  <a:gd name="connsiteX130" fmla="*/ 9173 w 129928"/>
                  <a:gd name="connsiteY130" fmla="*/ 6980 h 77580"/>
                  <a:gd name="connsiteX131" fmla="*/ 16666 w 129928"/>
                  <a:gd name="connsiteY131" fmla="*/ 3027 h 77580"/>
                  <a:gd name="connsiteX132" fmla="*/ 18370 w 129928"/>
                  <a:gd name="connsiteY132" fmla="*/ 2669 h 77580"/>
                  <a:gd name="connsiteX133" fmla="*/ 25275 w 129928"/>
                  <a:gd name="connsiteY133" fmla="*/ 326 h 77580"/>
                  <a:gd name="connsiteX134" fmla="*/ 26197 w 129928"/>
                  <a:gd name="connsiteY134" fmla="*/ 140 h 77580"/>
                  <a:gd name="connsiteX135" fmla="*/ 32419 w 129928"/>
                  <a:gd name="connsiteY135" fmla="*/ 574 h 77580"/>
                  <a:gd name="connsiteX136" fmla="*/ 37306 w 129928"/>
                  <a:gd name="connsiteY136" fmla="*/ 1131 h 77580"/>
                  <a:gd name="connsiteX137" fmla="*/ 41425 w 129928"/>
                  <a:gd name="connsiteY137" fmla="*/ 1062 h 77580"/>
                  <a:gd name="connsiteX138" fmla="*/ 43688 w 129928"/>
                  <a:gd name="connsiteY138" fmla="*/ 462 h 77580"/>
                  <a:gd name="connsiteX139" fmla="*/ 45738 w 129928"/>
                  <a:gd name="connsiteY139" fmla="*/ 964 h 77580"/>
                  <a:gd name="connsiteX140" fmla="*/ 47390 w 129928"/>
                  <a:gd name="connsiteY140" fmla="*/ 2729 h 77580"/>
                  <a:gd name="connsiteX141" fmla="*/ 49089 w 129928"/>
                  <a:gd name="connsiteY141" fmla="*/ 2522 h 77580"/>
                  <a:gd name="connsiteX142" fmla="*/ 50771 w 129928"/>
                  <a:gd name="connsiteY142" fmla="*/ 1380 h 77580"/>
                  <a:gd name="connsiteX143" fmla="*/ 59987 w 129928"/>
                  <a:gd name="connsiteY143" fmla="*/ 2423 h 77580"/>
                  <a:gd name="connsiteX144" fmla="*/ 62067 w 129928"/>
                  <a:gd name="connsiteY144" fmla="*/ 2398 h 77580"/>
                  <a:gd name="connsiteX145" fmla="*/ 64410 w 129928"/>
                  <a:gd name="connsiteY145" fmla="*/ 2567 h 77580"/>
                  <a:gd name="connsiteX146" fmla="*/ 68733 w 129928"/>
                  <a:gd name="connsiteY146" fmla="*/ 3630 h 77580"/>
                  <a:gd name="connsiteX147" fmla="*/ 71220 w 129928"/>
                  <a:gd name="connsiteY147" fmla="*/ 4600 h 77580"/>
                  <a:gd name="connsiteX148" fmla="*/ 76686 w 129928"/>
                  <a:gd name="connsiteY148" fmla="*/ 4014 h 77580"/>
                  <a:gd name="connsiteX149" fmla="*/ 79025 w 129928"/>
                  <a:gd name="connsiteY149" fmla="*/ 3980 h 77580"/>
                  <a:gd name="connsiteX150" fmla="*/ 80249 w 129928"/>
                  <a:gd name="connsiteY150" fmla="*/ 3598 h 77580"/>
                  <a:gd name="connsiteX151" fmla="*/ 84019 w 129928"/>
                  <a:gd name="connsiteY151" fmla="*/ 937 h 77580"/>
                  <a:gd name="connsiteX152" fmla="*/ 85650 w 129928"/>
                  <a:gd name="connsiteY152" fmla="*/ 479 h 775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129928" h="77580">
                    <a:moveTo>
                      <a:pt x="4755" y="24770"/>
                    </a:moveTo>
                    <a:lnTo>
                      <a:pt x="4774" y="26268"/>
                    </a:lnTo>
                    <a:lnTo>
                      <a:pt x="4513" y="28758"/>
                    </a:lnTo>
                    <a:lnTo>
                      <a:pt x="2917" y="33001"/>
                    </a:lnTo>
                    <a:lnTo>
                      <a:pt x="1283" y="35210"/>
                    </a:lnTo>
                    <a:lnTo>
                      <a:pt x="0" y="34971"/>
                    </a:lnTo>
                    <a:lnTo>
                      <a:pt x="2526" y="31410"/>
                    </a:lnTo>
                    <a:lnTo>
                      <a:pt x="3489" y="29096"/>
                    </a:lnTo>
                    <a:lnTo>
                      <a:pt x="4159" y="25805"/>
                    </a:lnTo>
                    <a:close/>
                    <a:moveTo>
                      <a:pt x="87148" y="0"/>
                    </a:moveTo>
                    <a:lnTo>
                      <a:pt x="88519" y="407"/>
                    </a:lnTo>
                    <a:lnTo>
                      <a:pt x="89422" y="2681"/>
                    </a:lnTo>
                    <a:lnTo>
                      <a:pt x="92210" y="6597"/>
                    </a:lnTo>
                    <a:lnTo>
                      <a:pt x="95240" y="7284"/>
                    </a:lnTo>
                    <a:lnTo>
                      <a:pt x="103616" y="8790"/>
                    </a:lnTo>
                    <a:lnTo>
                      <a:pt x="105328" y="9581"/>
                    </a:lnTo>
                    <a:lnTo>
                      <a:pt x="110042" y="13027"/>
                    </a:lnTo>
                    <a:lnTo>
                      <a:pt x="112869" y="14715"/>
                    </a:lnTo>
                    <a:lnTo>
                      <a:pt x="114667" y="16062"/>
                    </a:lnTo>
                    <a:lnTo>
                      <a:pt x="117410" y="18698"/>
                    </a:lnTo>
                    <a:lnTo>
                      <a:pt x="118995" y="20614"/>
                    </a:lnTo>
                    <a:lnTo>
                      <a:pt x="121645" y="22062"/>
                    </a:lnTo>
                    <a:lnTo>
                      <a:pt x="124780" y="23036"/>
                    </a:lnTo>
                    <a:lnTo>
                      <a:pt x="125900" y="23187"/>
                    </a:lnTo>
                    <a:lnTo>
                      <a:pt x="125840" y="24579"/>
                    </a:lnTo>
                    <a:lnTo>
                      <a:pt x="125305" y="26939"/>
                    </a:lnTo>
                    <a:lnTo>
                      <a:pt x="124257" y="29982"/>
                    </a:lnTo>
                    <a:lnTo>
                      <a:pt x="123158" y="32338"/>
                    </a:lnTo>
                    <a:lnTo>
                      <a:pt x="122895" y="33248"/>
                    </a:lnTo>
                    <a:lnTo>
                      <a:pt x="123728" y="34003"/>
                    </a:lnTo>
                    <a:lnTo>
                      <a:pt x="127840" y="34360"/>
                    </a:lnTo>
                    <a:lnTo>
                      <a:pt x="129584" y="34765"/>
                    </a:lnTo>
                    <a:lnTo>
                      <a:pt x="129928" y="35390"/>
                    </a:lnTo>
                    <a:lnTo>
                      <a:pt x="129015" y="36202"/>
                    </a:lnTo>
                    <a:lnTo>
                      <a:pt x="127702" y="36876"/>
                    </a:lnTo>
                    <a:lnTo>
                      <a:pt x="127114" y="37514"/>
                    </a:lnTo>
                    <a:lnTo>
                      <a:pt x="126069" y="39795"/>
                    </a:lnTo>
                    <a:lnTo>
                      <a:pt x="119228" y="39505"/>
                    </a:lnTo>
                    <a:lnTo>
                      <a:pt x="118321" y="39969"/>
                    </a:lnTo>
                    <a:lnTo>
                      <a:pt x="117889" y="41028"/>
                    </a:lnTo>
                    <a:lnTo>
                      <a:pt x="117548" y="42251"/>
                    </a:lnTo>
                    <a:lnTo>
                      <a:pt x="116650" y="43699"/>
                    </a:lnTo>
                    <a:lnTo>
                      <a:pt x="114832" y="44959"/>
                    </a:lnTo>
                    <a:lnTo>
                      <a:pt x="111990" y="45424"/>
                    </a:lnTo>
                    <a:lnTo>
                      <a:pt x="109664" y="46280"/>
                    </a:lnTo>
                    <a:lnTo>
                      <a:pt x="107930" y="48920"/>
                    </a:lnTo>
                    <a:lnTo>
                      <a:pt x="106639" y="52456"/>
                    </a:lnTo>
                    <a:lnTo>
                      <a:pt x="106671" y="54961"/>
                    </a:lnTo>
                    <a:lnTo>
                      <a:pt x="106842" y="56357"/>
                    </a:lnTo>
                    <a:lnTo>
                      <a:pt x="106691" y="57155"/>
                    </a:lnTo>
                    <a:lnTo>
                      <a:pt x="105814" y="58025"/>
                    </a:lnTo>
                    <a:lnTo>
                      <a:pt x="104380" y="60327"/>
                    </a:lnTo>
                    <a:lnTo>
                      <a:pt x="103214" y="62869"/>
                    </a:lnTo>
                    <a:lnTo>
                      <a:pt x="102767" y="64247"/>
                    </a:lnTo>
                    <a:lnTo>
                      <a:pt x="102992" y="64892"/>
                    </a:lnTo>
                    <a:lnTo>
                      <a:pt x="104305" y="64909"/>
                    </a:lnTo>
                    <a:lnTo>
                      <a:pt x="106199" y="65431"/>
                    </a:lnTo>
                    <a:lnTo>
                      <a:pt x="107207" y="66445"/>
                    </a:lnTo>
                    <a:lnTo>
                      <a:pt x="107580" y="67616"/>
                    </a:lnTo>
                    <a:lnTo>
                      <a:pt x="107585" y="68875"/>
                    </a:lnTo>
                    <a:lnTo>
                      <a:pt x="107231" y="69568"/>
                    </a:lnTo>
                    <a:lnTo>
                      <a:pt x="105713" y="70070"/>
                    </a:lnTo>
                    <a:lnTo>
                      <a:pt x="103335" y="70088"/>
                    </a:lnTo>
                    <a:lnTo>
                      <a:pt x="101949" y="69488"/>
                    </a:lnTo>
                    <a:lnTo>
                      <a:pt x="101662" y="69013"/>
                    </a:lnTo>
                    <a:lnTo>
                      <a:pt x="102324" y="67800"/>
                    </a:lnTo>
                    <a:lnTo>
                      <a:pt x="101845" y="66285"/>
                    </a:lnTo>
                    <a:lnTo>
                      <a:pt x="100861" y="65437"/>
                    </a:lnTo>
                    <a:lnTo>
                      <a:pt x="98859" y="66702"/>
                    </a:lnTo>
                    <a:lnTo>
                      <a:pt x="96937" y="66701"/>
                    </a:lnTo>
                    <a:lnTo>
                      <a:pt x="94633" y="67827"/>
                    </a:lnTo>
                    <a:lnTo>
                      <a:pt x="93128" y="69631"/>
                    </a:lnTo>
                    <a:lnTo>
                      <a:pt x="91683" y="70296"/>
                    </a:lnTo>
                    <a:lnTo>
                      <a:pt x="87779" y="69928"/>
                    </a:lnTo>
                    <a:lnTo>
                      <a:pt x="86809" y="70723"/>
                    </a:lnTo>
                    <a:lnTo>
                      <a:pt x="86004" y="74388"/>
                    </a:lnTo>
                    <a:lnTo>
                      <a:pt x="85537" y="75104"/>
                    </a:lnTo>
                    <a:lnTo>
                      <a:pt x="82277" y="74947"/>
                    </a:lnTo>
                    <a:lnTo>
                      <a:pt x="79133" y="76402"/>
                    </a:lnTo>
                    <a:lnTo>
                      <a:pt x="75583" y="77580"/>
                    </a:lnTo>
                    <a:lnTo>
                      <a:pt x="73784" y="76761"/>
                    </a:lnTo>
                    <a:lnTo>
                      <a:pt x="72782" y="75838"/>
                    </a:lnTo>
                    <a:lnTo>
                      <a:pt x="70849" y="76002"/>
                    </a:lnTo>
                    <a:lnTo>
                      <a:pt x="68740" y="76408"/>
                    </a:lnTo>
                    <a:lnTo>
                      <a:pt x="67323" y="76186"/>
                    </a:lnTo>
                    <a:lnTo>
                      <a:pt x="65734" y="76285"/>
                    </a:lnTo>
                    <a:lnTo>
                      <a:pt x="62663" y="76995"/>
                    </a:lnTo>
                    <a:lnTo>
                      <a:pt x="58802" y="76766"/>
                    </a:lnTo>
                    <a:lnTo>
                      <a:pt x="57157" y="76160"/>
                    </a:lnTo>
                    <a:lnTo>
                      <a:pt x="57001" y="75580"/>
                    </a:lnTo>
                    <a:lnTo>
                      <a:pt x="57120" y="74154"/>
                    </a:lnTo>
                    <a:lnTo>
                      <a:pt x="57083" y="71937"/>
                    </a:lnTo>
                    <a:lnTo>
                      <a:pt x="56470" y="69979"/>
                    </a:lnTo>
                    <a:lnTo>
                      <a:pt x="54623" y="68246"/>
                    </a:lnTo>
                    <a:lnTo>
                      <a:pt x="52682" y="67034"/>
                    </a:lnTo>
                    <a:lnTo>
                      <a:pt x="50205" y="65782"/>
                    </a:lnTo>
                    <a:lnTo>
                      <a:pt x="48374" y="65233"/>
                    </a:lnTo>
                    <a:lnTo>
                      <a:pt x="47372" y="65089"/>
                    </a:lnTo>
                    <a:lnTo>
                      <a:pt x="47146" y="64368"/>
                    </a:lnTo>
                    <a:lnTo>
                      <a:pt x="46783" y="63745"/>
                    </a:lnTo>
                    <a:lnTo>
                      <a:pt x="45926" y="63196"/>
                    </a:lnTo>
                    <a:lnTo>
                      <a:pt x="44095" y="62459"/>
                    </a:lnTo>
                    <a:lnTo>
                      <a:pt x="42542" y="62298"/>
                    </a:lnTo>
                    <a:lnTo>
                      <a:pt x="41270" y="63487"/>
                    </a:lnTo>
                    <a:lnTo>
                      <a:pt x="40344" y="61998"/>
                    </a:lnTo>
                    <a:lnTo>
                      <a:pt x="39361" y="59331"/>
                    </a:lnTo>
                    <a:lnTo>
                      <a:pt x="39463" y="57196"/>
                    </a:lnTo>
                    <a:lnTo>
                      <a:pt x="40020" y="55065"/>
                    </a:lnTo>
                    <a:lnTo>
                      <a:pt x="42708" y="48760"/>
                    </a:lnTo>
                    <a:lnTo>
                      <a:pt x="42563" y="47753"/>
                    </a:lnTo>
                    <a:lnTo>
                      <a:pt x="40613" y="45986"/>
                    </a:lnTo>
                    <a:lnTo>
                      <a:pt x="38202" y="44701"/>
                    </a:lnTo>
                    <a:lnTo>
                      <a:pt x="36871" y="41982"/>
                    </a:lnTo>
                    <a:lnTo>
                      <a:pt x="31987" y="41824"/>
                    </a:lnTo>
                    <a:lnTo>
                      <a:pt x="27376" y="41974"/>
                    </a:lnTo>
                    <a:lnTo>
                      <a:pt x="25928" y="41842"/>
                    </a:lnTo>
                    <a:lnTo>
                      <a:pt x="21540" y="40702"/>
                    </a:lnTo>
                    <a:lnTo>
                      <a:pt x="17311" y="38866"/>
                    </a:lnTo>
                    <a:lnTo>
                      <a:pt x="14481" y="37788"/>
                    </a:lnTo>
                    <a:lnTo>
                      <a:pt x="12101" y="36582"/>
                    </a:lnTo>
                    <a:lnTo>
                      <a:pt x="10823" y="35315"/>
                    </a:lnTo>
                    <a:lnTo>
                      <a:pt x="8795" y="35656"/>
                    </a:lnTo>
                    <a:lnTo>
                      <a:pt x="7428" y="35667"/>
                    </a:lnTo>
                    <a:lnTo>
                      <a:pt x="7441" y="35449"/>
                    </a:lnTo>
                    <a:lnTo>
                      <a:pt x="6662" y="33207"/>
                    </a:lnTo>
                    <a:lnTo>
                      <a:pt x="7476" y="29769"/>
                    </a:lnTo>
                    <a:lnTo>
                      <a:pt x="5999" y="24732"/>
                    </a:lnTo>
                    <a:lnTo>
                      <a:pt x="3584" y="18657"/>
                    </a:lnTo>
                    <a:lnTo>
                      <a:pt x="3405" y="12135"/>
                    </a:lnTo>
                    <a:lnTo>
                      <a:pt x="3234" y="10666"/>
                    </a:lnTo>
                    <a:lnTo>
                      <a:pt x="9173" y="6980"/>
                    </a:lnTo>
                    <a:lnTo>
                      <a:pt x="16666" y="3027"/>
                    </a:lnTo>
                    <a:lnTo>
                      <a:pt x="18370" y="2669"/>
                    </a:lnTo>
                    <a:lnTo>
                      <a:pt x="25275" y="326"/>
                    </a:lnTo>
                    <a:lnTo>
                      <a:pt x="26197" y="140"/>
                    </a:lnTo>
                    <a:lnTo>
                      <a:pt x="32419" y="574"/>
                    </a:lnTo>
                    <a:lnTo>
                      <a:pt x="37306" y="1131"/>
                    </a:lnTo>
                    <a:lnTo>
                      <a:pt x="41425" y="1062"/>
                    </a:lnTo>
                    <a:lnTo>
                      <a:pt x="43688" y="462"/>
                    </a:lnTo>
                    <a:lnTo>
                      <a:pt x="45738" y="964"/>
                    </a:lnTo>
                    <a:lnTo>
                      <a:pt x="47390" y="2729"/>
                    </a:lnTo>
                    <a:lnTo>
                      <a:pt x="49089" y="2522"/>
                    </a:lnTo>
                    <a:lnTo>
                      <a:pt x="50771" y="1380"/>
                    </a:lnTo>
                    <a:lnTo>
                      <a:pt x="59987" y="2423"/>
                    </a:lnTo>
                    <a:lnTo>
                      <a:pt x="62067" y="2398"/>
                    </a:lnTo>
                    <a:lnTo>
                      <a:pt x="64410" y="2567"/>
                    </a:lnTo>
                    <a:lnTo>
                      <a:pt x="68733" y="3630"/>
                    </a:lnTo>
                    <a:lnTo>
                      <a:pt x="71220" y="4600"/>
                    </a:lnTo>
                    <a:lnTo>
                      <a:pt x="76686" y="4014"/>
                    </a:lnTo>
                    <a:lnTo>
                      <a:pt x="79025" y="3980"/>
                    </a:lnTo>
                    <a:lnTo>
                      <a:pt x="80249" y="3598"/>
                    </a:lnTo>
                    <a:lnTo>
                      <a:pt x="84019" y="937"/>
                    </a:lnTo>
                    <a:lnTo>
                      <a:pt x="85650" y="479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29" name="ee4p_LU_1_15912">
                <a:extLst>
                  <a:ext uri="{FF2B5EF4-FFF2-40B4-BE49-F238E27FC236}">
                    <a16:creationId xmlns:a16="http://schemas.microsoft.com/office/drawing/2014/main" id="{CF45419A-E1F0-710C-1E77-7EBD85CC957E}"/>
                  </a:ext>
                </a:extLst>
              </p:cNvPr>
              <p:cNvSpPr>
                <a:spLocks noChangeAspect="1"/>
              </p:cNvSpPr>
              <p:nvPr>
                <p:custDataLst>
                  <p:tags r:id="rId260"/>
                </p:custDataLst>
              </p:nvPr>
            </p:nvSpPr>
            <p:spPr>
              <a:xfrm>
                <a:off x="4273551" y="4512457"/>
                <a:ext cx="67392" cy="82404"/>
              </a:xfrm>
              <a:custGeom>
                <a:avLst/>
                <a:gdLst/>
                <a:ahLst/>
                <a:cxnLst/>
                <a:rect l="0" t="0" r="0" b="0"/>
                <a:pathLst>
                  <a:path w="17000" h="20787">
                    <a:moveTo>
                      <a:pt x="8657" y="1335"/>
                    </a:moveTo>
                    <a:lnTo>
                      <a:pt x="8476" y="2109"/>
                    </a:lnTo>
                    <a:lnTo>
                      <a:pt x="8508" y="3838"/>
                    </a:lnTo>
                    <a:lnTo>
                      <a:pt x="9136" y="5572"/>
                    </a:lnTo>
                    <a:lnTo>
                      <a:pt x="10611" y="7279"/>
                    </a:lnTo>
                    <a:lnTo>
                      <a:pt x="11743" y="8517"/>
                    </a:lnTo>
                    <a:lnTo>
                      <a:pt x="13259" y="9505"/>
                    </a:lnTo>
                    <a:lnTo>
                      <a:pt x="15830" y="10443"/>
                    </a:lnTo>
                    <a:lnTo>
                      <a:pt x="16856" y="10640"/>
                    </a:lnTo>
                    <a:lnTo>
                      <a:pt x="16999" y="11909"/>
                    </a:lnTo>
                    <a:lnTo>
                      <a:pt x="16800" y="13250"/>
                    </a:lnTo>
                    <a:lnTo>
                      <a:pt x="15912" y="13991"/>
                    </a:lnTo>
                    <a:lnTo>
                      <a:pt x="15074" y="15057"/>
                    </a:lnTo>
                    <a:lnTo>
                      <a:pt x="14446" y="16361"/>
                    </a:lnTo>
                    <a:lnTo>
                      <a:pt x="13785" y="18857"/>
                    </a:lnTo>
                    <a:lnTo>
                      <a:pt x="13695" y="20577"/>
                    </a:lnTo>
                    <a:lnTo>
                      <a:pt x="12213" y="19865"/>
                    </a:lnTo>
                    <a:lnTo>
                      <a:pt x="11436" y="19383"/>
                    </a:lnTo>
                    <a:lnTo>
                      <a:pt x="10084" y="19252"/>
                    </a:lnTo>
                    <a:lnTo>
                      <a:pt x="8732" y="19645"/>
                    </a:lnTo>
                    <a:lnTo>
                      <a:pt x="7720" y="20522"/>
                    </a:lnTo>
                    <a:lnTo>
                      <a:pt x="6333" y="20786"/>
                    </a:lnTo>
                    <a:lnTo>
                      <a:pt x="5185" y="20522"/>
                    </a:lnTo>
                    <a:lnTo>
                      <a:pt x="4509" y="19865"/>
                    </a:lnTo>
                    <a:lnTo>
                      <a:pt x="3900" y="19515"/>
                    </a:lnTo>
                    <a:lnTo>
                      <a:pt x="2177" y="19075"/>
                    </a:lnTo>
                    <a:lnTo>
                      <a:pt x="1431" y="18122"/>
                    </a:lnTo>
                    <a:lnTo>
                      <a:pt x="2000" y="17676"/>
                    </a:lnTo>
                    <a:lnTo>
                      <a:pt x="2489" y="16972"/>
                    </a:lnTo>
                    <a:lnTo>
                      <a:pt x="2908" y="15980"/>
                    </a:lnTo>
                    <a:lnTo>
                      <a:pt x="3436" y="15063"/>
                    </a:lnTo>
                    <a:lnTo>
                      <a:pt x="1740" y="12549"/>
                    </a:lnTo>
                    <a:lnTo>
                      <a:pt x="1393" y="11780"/>
                    </a:lnTo>
                    <a:lnTo>
                      <a:pt x="0" y="10358"/>
                    </a:lnTo>
                    <a:lnTo>
                      <a:pt x="17" y="9636"/>
                    </a:lnTo>
                    <a:lnTo>
                      <a:pt x="350" y="8949"/>
                    </a:lnTo>
                    <a:lnTo>
                      <a:pt x="226" y="8417"/>
                    </a:lnTo>
                    <a:lnTo>
                      <a:pt x="421" y="7149"/>
                    </a:lnTo>
                    <a:lnTo>
                      <a:pt x="1395" y="5949"/>
                    </a:lnTo>
                    <a:lnTo>
                      <a:pt x="2043" y="4464"/>
                    </a:lnTo>
                    <a:lnTo>
                      <a:pt x="3137" y="2439"/>
                    </a:lnTo>
                    <a:lnTo>
                      <a:pt x="5556" y="0"/>
                    </a:lnTo>
                    <a:lnTo>
                      <a:pt x="7292" y="372"/>
                    </a:lnTo>
                    <a:lnTo>
                      <a:pt x="8050" y="364"/>
                    </a:lnTo>
                    <a:lnTo>
                      <a:pt x="8514" y="1255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0" name="ee4p_LV_1_15912">
                <a:extLst>
                  <a:ext uri="{FF2B5EF4-FFF2-40B4-BE49-F238E27FC236}">
                    <a16:creationId xmlns:a16="http://schemas.microsoft.com/office/drawing/2014/main" id="{4CF6AEFB-F19F-85B6-CFD8-9C77399FE76D}"/>
                  </a:ext>
                </a:extLst>
              </p:cNvPr>
              <p:cNvSpPr>
                <a:spLocks noChangeAspect="1"/>
              </p:cNvSpPr>
              <p:nvPr>
                <p:custDataLst>
                  <p:tags r:id="rId261"/>
                </p:custDataLst>
              </p:nvPr>
            </p:nvSpPr>
            <p:spPr>
              <a:xfrm>
                <a:off x="5613829" y="3560166"/>
                <a:ext cx="630007" cy="299640"/>
              </a:xfrm>
              <a:custGeom>
                <a:avLst/>
                <a:gdLst/>
                <a:ahLst/>
                <a:cxnLst/>
                <a:rect l="0" t="0" r="0" b="0"/>
                <a:pathLst>
                  <a:path w="158923" h="75586">
                    <a:moveTo>
                      <a:pt x="140124" y="17113"/>
                    </a:moveTo>
                    <a:lnTo>
                      <a:pt x="142728" y="17243"/>
                    </a:lnTo>
                    <a:lnTo>
                      <a:pt x="143644" y="17749"/>
                    </a:lnTo>
                    <a:lnTo>
                      <a:pt x="144253" y="20242"/>
                    </a:lnTo>
                    <a:lnTo>
                      <a:pt x="147218" y="22202"/>
                    </a:lnTo>
                    <a:lnTo>
                      <a:pt x="149963" y="23827"/>
                    </a:lnTo>
                    <a:lnTo>
                      <a:pt x="150664" y="24577"/>
                    </a:lnTo>
                    <a:lnTo>
                      <a:pt x="150878" y="26024"/>
                    </a:lnTo>
                    <a:lnTo>
                      <a:pt x="150701" y="27712"/>
                    </a:lnTo>
                    <a:lnTo>
                      <a:pt x="150353" y="28586"/>
                    </a:lnTo>
                    <a:lnTo>
                      <a:pt x="149209" y="29593"/>
                    </a:lnTo>
                    <a:lnTo>
                      <a:pt x="148205" y="32139"/>
                    </a:lnTo>
                    <a:lnTo>
                      <a:pt x="148067" y="34560"/>
                    </a:lnTo>
                    <a:lnTo>
                      <a:pt x="146482" y="38739"/>
                    </a:lnTo>
                    <a:lnTo>
                      <a:pt x="146840" y="38816"/>
                    </a:lnTo>
                    <a:lnTo>
                      <a:pt x="150166" y="38063"/>
                    </a:lnTo>
                    <a:lnTo>
                      <a:pt x="151107" y="38495"/>
                    </a:lnTo>
                    <a:lnTo>
                      <a:pt x="151835" y="39417"/>
                    </a:lnTo>
                    <a:lnTo>
                      <a:pt x="152068" y="42035"/>
                    </a:lnTo>
                    <a:lnTo>
                      <a:pt x="153158" y="43211"/>
                    </a:lnTo>
                    <a:lnTo>
                      <a:pt x="154268" y="45048"/>
                    </a:lnTo>
                    <a:lnTo>
                      <a:pt x="154620" y="46477"/>
                    </a:lnTo>
                    <a:lnTo>
                      <a:pt x="156734" y="48178"/>
                    </a:lnTo>
                    <a:lnTo>
                      <a:pt x="156905" y="49277"/>
                    </a:lnTo>
                    <a:lnTo>
                      <a:pt x="158196" y="53160"/>
                    </a:lnTo>
                    <a:lnTo>
                      <a:pt x="158693" y="55393"/>
                    </a:lnTo>
                    <a:lnTo>
                      <a:pt x="158922" y="57119"/>
                    </a:lnTo>
                    <a:lnTo>
                      <a:pt x="158287" y="59309"/>
                    </a:lnTo>
                    <a:lnTo>
                      <a:pt x="157726" y="60790"/>
                    </a:lnTo>
                    <a:lnTo>
                      <a:pt x="157061" y="60700"/>
                    </a:lnTo>
                    <a:lnTo>
                      <a:pt x="155162" y="61090"/>
                    </a:lnTo>
                    <a:lnTo>
                      <a:pt x="152161" y="62874"/>
                    </a:lnTo>
                    <a:lnTo>
                      <a:pt x="147693" y="67069"/>
                    </a:lnTo>
                    <a:lnTo>
                      <a:pt x="146544" y="67998"/>
                    </a:lnTo>
                    <a:lnTo>
                      <a:pt x="145376" y="71187"/>
                    </a:lnTo>
                    <a:lnTo>
                      <a:pt x="145095" y="71510"/>
                    </a:lnTo>
                    <a:lnTo>
                      <a:pt x="142496" y="71363"/>
                    </a:lnTo>
                    <a:lnTo>
                      <a:pt x="141787" y="71287"/>
                    </a:lnTo>
                    <a:lnTo>
                      <a:pt x="139179" y="71351"/>
                    </a:lnTo>
                    <a:lnTo>
                      <a:pt x="133504" y="70522"/>
                    </a:lnTo>
                    <a:lnTo>
                      <a:pt x="131303" y="71070"/>
                    </a:lnTo>
                    <a:lnTo>
                      <a:pt x="128416" y="74291"/>
                    </a:lnTo>
                    <a:lnTo>
                      <a:pt x="127298" y="74764"/>
                    </a:lnTo>
                    <a:lnTo>
                      <a:pt x="123944" y="75210"/>
                    </a:lnTo>
                    <a:lnTo>
                      <a:pt x="123354" y="75585"/>
                    </a:lnTo>
                    <a:lnTo>
                      <a:pt x="122234" y="75434"/>
                    </a:lnTo>
                    <a:lnTo>
                      <a:pt x="119099" y="74460"/>
                    </a:lnTo>
                    <a:lnTo>
                      <a:pt x="116449" y="73012"/>
                    </a:lnTo>
                    <a:lnTo>
                      <a:pt x="114864" y="71096"/>
                    </a:lnTo>
                    <a:lnTo>
                      <a:pt x="112121" y="68460"/>
                    </a:lnTo>
                    <a:lnTo>
                      <a:pt x="110323" y="67113"/>
                    </a:lnTo>
                    <a:lnTo>
                      <a:pt x="107496" y="65425"/>
                    </a:lnTo>
                    <a:lnTo>
                      <a:pt x="102782" y="61979"/>
                    </a:lnTo>
                    <a:lnTo>
                      <a:pt x="101070" y="61188"/>
                    </a:lnTo>
                    <a:lnTo>
                      <a:pt x="92694" y="59682"/>
                    </a:lnTo>
                    <a:lnTo>
                      <a:pt x="89664" y="58995"/>
                    </a:lnTo>
                    <a:lnTo>
                      <a:pt x="86876" y="55079"/>
                    </a:lnTo>
                    <a:lnTo>
                      <a:pt x="85973" y="52805"/>
                    </a:lnTo>
                    <a:lnTo>
                      <a:pt x="84602" y="52398"/>
                    </a:lnTo>
                    <a:lnTo>
                      <a:pt x="83104" y="52877"/>
                    </a:lnTo>
                    <a:lnTo>
                      <a:pt x="81473" y="53335"/>
                    </a:lnTo>
                    <a:lnTo>
                      <a:pt x="77703" y="55996"/>
                    </a:lnTo>
                    <a:lnTo>
                      <a:pt x="76479" y="56378"/>
                    </a:lnTo>
                    <a:lnTo>
                      <a:pt x="74140" y="56412"/>
                    </a:lnTo>
                    <a:lnTo>
                      <a:pt x="68674" y="56998"/>
                    </a:lnTo>
                    <a:lnTo>
                      <a:pt x="66187" y="56028"/>
                    </a:lnTo>
                    <a:lnTo>
                      <a:pt x="61864" y="54965"/>
                    </a:lnTo>
                    <a:lnTo>
                      <a:pt x="59521" y="54796"/>
                    </a:lnTo>
                    <a:lnTo>
                      <a:pt x="57441" y="54821"/>
                    </a:lnTo>
                    <a:lnTo>
                      <a:pt x="48225" y="53778"/>
                    </a:lnTo>
                    <a:lnTo>
                      <a:pt x="46543" y="54920"/>
                    </a:lnTo>
                    <a:lnTo>
                      <a:pt x="44844" y="55127"/>
                    </a:lnTo>
                    <a:lnTo>
                      <a:pt x="43192" y="53362"/>
                    </a:lnTo>
                    <a:lnTo>
                      <a:pt x="41142" y="52860"/>
                    </a:lnTo>
                    <a:lnTo>
                      <a:pt x="38879" y="53460"/>
                    </a:lnTo>
                    <a:lnTo>
                      <a:pt x="34760" y="53529"/>
                    </a:lnTo>
                    <a:lnTo>
                      <a:pt x="29873" y="52972"/>
                    </a:lnTo>
                    <a:lnTo>
                      <a:pt x="23651" y="52538"/>
                    </a:lnTo>
                    <a:lnTo>
                      <a:pt x="22729" y="52724"/>
                    </a:lnTo>
                    <a:lnTo>
                      <a:pt x="15824" y="55067"/>
                    </a:lnTo>
                    <a:lnTo>
                      <a:pt x="14120" y="55425"/>
                    </a:lnTo>
                    <a:lnTo>
                      <a:pt x="6627" y="59378"/>
                    </a:lnTo>
                    <a:lnTo>
                      <a:pt x="688" y="63064"/>
                    </a:lnTo>
                    <a:lnTo>
                      <a:pt x="0" y="57165"/>
                    </a:lnTo>
                    <a:lnTo>
                      <a:pt x="365" y="45323"/>
                    </a:lnTo>
                    <a:lnTo>
                      <a:pt x="1246" y="39431"/>
                    </a:lnTo>
                    <a:lnTo>
                      <a:pt x="5361" y="35991"/>
                    </a:lnTo>
                    <a:lnTo>
                      <a:pt x="7426" y="33308"/>
                    </a:lnTo>
                    <a:lnTo>
                      <a:pt x="8627" y="29723"/>
                    </a:lnTo>
                    <a:lnTo>
                      <a:pt x="8989" y="26401"/>
                    </a:lnTo>
                    <a:lnTo>
                      <a:pt x="9823" y="23652"/>
                    </a:lnTo>
                    <a:lnTo>
                      <a:pt x="15783" y="15747"/>
                    </a:lnTo>
                    <a:lnTo>
                      <a:pt x="20507" y="14891"/>
                    </a:lnTo>
                    <a:lnTo>
                      <a:pt x="26899" y="12692"/>
                    </a:lnTo>
                    <a:lnTo>
                      <a:pt x="34044" y="10858"/>
                    </a:lnTo>
                    <a:lnTo>
                      <a:pt x="35425" y="13191"/>
                    </a:lnTo>
                    <a:lnTo>
                      <a:pt x="36124" y="14970"/>
                    </a:lnTo>
                    <a:lnTo>
                      <a:pt x="44729" y="21440"/>
                    </a:lnTo>
                    <a:lnTo>
                      <a:pt x="46919" y="23609"/>
                    </a:lnTo>
                    <a:lnTo>
                      <a:pt x="50247" y="31029"/>
                    </a:lnTo>
                    <a:lnTo>
                      <a:pt x="58217" y="34782"/>
                    </a:lnTo>
                    <a:lnTo>
                      <a:pt x="64483" y="33598"/>
                    </a:lnTo>
                    <a:lnTo>
                      <a:pt x="67206" y="31776"/>
                    </a:lnTo>
                    <a:lnTo>
                      <a:pt x="72225" y="28414"/>
                    </a:lnTo>
                    <a:lnTo>
                      <a:pt x="74466" y="25950"/>
                    </a:lnTo>
                    <a:lnTo>
                      <a:pt x="74922" y="23572"/>
                    </a:lnTo>
                    <a:lnTo>
                      <a:pt x="74032" y="13378"/>
                    </a:lnTo>
                    <a:lnTo>
                      <a:pt x="72674" y="8945"/>
                    </a:lnTo>
                    <a:lnTo>
                      <a:pt x="73138" y="6179"/>
                    </a:lnTo>
                    <a:lnTo>
                      <a:pt x="74021" y="6322"/>
                    </a:lnTo>
                    <a:lnTo>
                      <a:pt x="76153" y="4987"/>
                    </a:lnTo>
                    <a:lnTo>
                      <a:pt x="83160" y="2507"/>
                    </a:lnTo>
                    <a:lnTo>
                      <a:pt x="84559" y="2396"/>
                    </a:lnTo>
                    <a:lnTo>
                      <a:pt x="86157" y="1887"/>
                    </a:lnTo>
                    <a:lnTo>
                      <a:pt x="90573" y="0"/>
                    </a:lnTo>
                    <a:lnTo>
                      <a:pt x="91992" y="1004"/>
                    </a:lnTo>
                    <a:lnTo>
                      <a:pt x="93175" y="2144"/>
                    </a:lnTo>
                    <a:lnTo>
                      <a:pt x="93829" y="2158"/>
                    </a:lnTo>
                    <a:lnTo>
                      <a:pt x="94147" y="1734"/>
                    </a:lnTo>
                    <a:lnTo>
                      <a:pt x="94058" y="1001"/>
                    </a:lnTo>
                    <a:lnTo>
                      <a:pt x="94367" y="479"/>
                    </a:lnTo>
                    <a:lnTo>
                      <a:pt x="95637" y="769"/>
                    </a:lnTo>
                    <a:lnTo>
                      <a:pt x="100750" y="3869"/>
                    </a:lnTo>
                    <a:lnTo>
                      <a:pt x="102715" y="4593"/>
                    </a:lnTo>
                    <a:lnTo>
                      <a:pt x="104058" y="4796"/>
                    </a:lnTo>
                    <a:lnTo>
                      <a:pt x="105669" y="6245"/>
                    </a:lnTo>
                    <a:lnTo>
                      <a:pt x="110033" y="7217"/>
                    </a:lnTo>
                    <a:lnTo>
                      <a:pt x="110567" y="7966"/>
                    </a:lnTo>
                    <a:lnTo>
                      <a:pt x="110901" y="8900"/>
                    </a:lnTo>
                    <a:lnTo>
                      <a:pt x="114985" y="12822"/>
                    </a:lnTo>
                    <a:lnTo>
                      <a:pt x="116820" y="14788"/>
                    </a:lnTo>
                    <a:lnTo>
                      <a:pt x="120448" y="16592"/>
                    </a:lnTo>
                    <a:lnTo>
                      <a:pt x="122007" y="17021"/>
                    </a:lnTo>
                    <a:lnTo>
                      <a:pt x="128356" y="15182"/>
                    </a:lnTo>
                    <a:lnTo>
                      <a:pt x="130127" y="14542"/>
                    </a:lnTo>
                    <a:lnTo>
                      <a:pt x="131590" y="14532"/>
                    </a:lnTo>
                    <a:lnTo>
                      <a:pt x="133081" y="15500"/>
                    </a:lnTo>
                    <a:lnTo>
                      <a:pt x="136479" y="16788"/>
                    </a:lnTo>
                    <a:lnTo>
                      <a:pt x="139563" y="17196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1" name="ee4p_MC_1_15912">
                <a:extLst>
                  <a:ext uri="{FF2B5EF4-FFF2-40B4-BE49-F238E27FC236}">
                    <a16:creationId xmlns:a16="http://schemas.microsoft.com/office/drawing/2014/main" id="{DB4EC745-AA7A-FDAE-5842-FC991CA8FF6F}"/>
                  </a:ext>
                </a:extLst>
              </p:cNvPr>
              <p:cNvSpPr>
                <a:spLocks noChangeAspect="1"/>
              </p:cNvSpPr>
              <p:nvPr>
                <p:custDataLst>
                  <p:tags r:id="rId262"/>
                </p:custDataLst>
              </p:nvPr>
            </p:nvSpPr>
            <p:spPr>
              <a:xfrm>
                <a:off x="4418424" y="5220409"/>
                <a:ext cx="5348" cy="4194"/>
              </a:xfrm>
              <a:custGeom>
                <a:avLst/>
                <a:gdLst/>
                <a:ahLst/>
                <a:cxnLst/>
                <a:rect l="0" t="0" r="0" b="0"/>
                <a:pathLst>
                  <a:path w="1349" h="1058">
                    <a:moveTo>
                      <a:pt x="1348" y="552"/>
                    </a:moveTo>
                    <a:lnTo>
                      <a:pt x="0" y="1057"/>
                    </a:lnTo>
                    <a:lnTo>
                      <a:pt x="52" y="477"/>
                    </a:lnTo>
                    <a:lnTo>
                      <a:pt x="383" y="150"/>
                    </a:lnTo>
                    <a:lnTo>
                      <a:pt x="812" y="0"/>
                    </a:lnTo>
                    <a:lnTo>
                      <a:pt x="1309" y="254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2" name="ee4p_MK_1_15912">
                <a:extLst>
                  <a:ext uri="{FF2B5EF4-FFF2-40B4-BE49-F238E27FC236}">
                    <a16:creationId xmlns:a16="http://schemas.microsoft.com/office/drawing/2014/main" id="{855144BA-7535-309C-042E-5D0ED978626E}"/>
                  </a:ext>
                </a:extLst>
              </p:cNvPr>
              <p:cNvSpPr>
                <a:spLocks noChangeAspect="1"/>
              </p:cNvSpPr>
              <p:nvPr>
                <p:custDataLst>
                  <p:tags r:id="rId263"/>
                </p:custDataLst>
              </p:nvPr>
            </p:nvSpPr>
            <p:spPr>
              <a:xfrm>
                <a:off x="5564189" y="5370590"/>
                <a:ext cx="224146" cy="158161"/>
              </a:xfrm>
              <a:custGeom>
                <a:avLst/>
                <a:gdLst/>
                <a:ahLst/>
                <a:cxnLst/>
                <a:rect l="0" t="0" r="0" b="0"/>
                <a:pathLst>
                  <a:path w="56542" h="39897">
                    <a:moveTo>
                      <a:pt x="41911" y="1177"/>
                    </a:moveTo>
                    <a:lnTo>
                      <a:pt x="45321" y="5138"/>
                    </a:lnTo>
                    <a:lnTo>
                      <a:pt x="47188" y="6740"/>
                    </a:lnTo>
                    <a:lnTo>
                      <a:pt x="49391" y="7954"/>
                    </a:lnTo>
                    <a:lnTo>
                      <a:pt x="51907" y="8842"/>
                    </a:lnTo>
                    <a:lnTo>
                      <a:pt x="52807" y="9694"/>
                    </a:lnTo>
                    <a:lnTo>
                      <a:pt x="54407" y="13896"/>
                    </a:lnTo>
                    <a:lnTo>
                      <a:pt x="55176" y="15489"/>
                    </a:lnTo>
                    <a:lnTo>
                      <a:pt x="56238" y="15963"/>
                    </a:lnTo>
                    <a:lnTo>
                      <a:pt x="56495" y="16423"/>
                    </a:lnTo>
                    <a:lnTo>
                      <a:pt x="56541" y="17029"/>
                    </a:lnTo>
                    <a:lnTo>
                      <a:pt x="55342" y="19975"/>
                    </a:lnTo>
                    <a:lnTo>
                      <a:pt x="54861" y="26568"/>
                    </a:lnTo>
                    <a:lnTo>
                      <a:pt x="54559" y="27091"/>
                    </a:lnTo>
                    <a:lnTo>
                      <a:pt x="53304" y="27062"/>
                    </a:lnTo>
                    <a:lnTo>
                      <a:pt x="51637" y="27204"/>
                    </a:lnTo>
                    <a:lnTo>
                      <a:pt x="51000" y="27712"/>
                    </a:lnTo>
                    <a:lnTo>
                      <a:pt x="50331" y="31250"/>
                    </a:lnTo>
                    <a:lnTo>
                      <a:pt x="47650" y="32260"/>
                    </a:lnTo>
                    <a:lnTo>
                      <a:pt x="45217" y="32831"/>
                    </a:lnTo>
                    <a:lnTo>
                      <a:pt x="43165" y="32703"/>
                    </a:lnTo>
                    <a:lnTo>
                      <a:pt x="39559" y="31865"/>
                    </a:lnTo>
                    <a:lnTo>
                      <a:pt x="38382" y="31774"/>
                    </a:lnTo>
                    <a:lnTo>
                      <a:pt x="37374" y="32252"/>
                    </a:lnTo>
                    <a:lnTo>
                      <a:pt x="34157" y="32503"/>
                    </a:lnTo>
                    <a:lnTo>
                      <a:pt x="32744" y="33123"/>
                    </a:lnTo>
                    <a:lnTo>
                      <a:pt x="29428" y="37254"/>
                    </a:lnTo>
                    <a:lnTo>
                      <a:pt x="26068" y="38676"/>
                    </a:lnTo>
                    <a:lnTo>
                      <a:pt x="24923" y="39396"/>
                    </a:lnTo>
                    <a:lnTo>
                      <a:pt x="22356" y="38485"/>
                    </a:lnTo>
                    <a:lnTo>
                      <a:pt x="21127" y="38391"/>
                    </a:lnTo>
                    <a:lnTo>
                      <a:pt x="19350" y="39443"/>
                    </a:lnTo>
                    <a:lnTo>
                      <a:pt x="15454" y="39549"/>
                    </a:lnTo>
                    <a:lnTo>
                      <a:pt x="14403" y="39732"/>
                    </a:lnTo>
                    <a:lnTo>
                      <a:pt x="11401" y="39896"/>
                    </a:lnTo>
                    <a:lnTo>
                      <a:pt x="11276" y="39328"/>
                    </a:lnTo>
                    <a:lnTo>
                      <a:pt x="10721" y="38498"/>
                    </a:lnTo>
                    <a:lnTo>
                      <a:pt x="9321" y="38109"/>
                    </a:lnTo>
                    <a:lnTo>
                      <a:pt x="6460" y="38441"/>
                    </a:lnTo>
                    <a:lnTo>
                      <a:pt x="5763" y="37834"/>
                    </a:lnTo>
                    <a:lnTo>
                      <a:pt x="4586" y="34328"/>
                    </a:lnTo>
                    <a:lnTo>
                      <a:pt x="3666" y="33765"/>
                    </a:lnTo>
                    <a:lnTo>
                      <a:pt x="2636" y="32586"/>
                    </a:lnTo>
                    <a:lnTo>
                      <a:pt x="891" y="28770"/>
                    </a:lnTo>
                    <a:lnTo>
                      <a:pt x="848" y="27096"/>
                    </a:lnTo>
                    <a:lnTo>
                      <a:pt x="967" y="25636"/>
                    </a:lnTo>
                    <a:lnTo>
                      <a:pt x="0" y="22205"/>
                    </a:lnTo>
                    <a:lnTo>
                      <a:pt x="596" y="21337"/>
                    </a:lnTo>
                    <a:lnTo>
                      <a:pt x="1494" y="20791"/>
                    </a:lnTo>
                    <a:lnTo>
                      <a:pt x="1503" y="19408"/>
                    </a:lnTo>
                    <a:lnTo>
                      <a:pt x="1250" y="17306"/>
                    </a:lnTo>
                    <a:lnTo>
                      <a:pt x="2310" y="13176"/>
                    </a:lnTo>
                    <a:lnTo>
                      <a:pt x="2599" y="12876"/>
                    </a:lnTo>
                    <a:lnTo>
                      <a:pt x="2871" y="13074"/>
                    </a:lnTo>
                    <a:lnTo>
                      <a:pt x="5445" y="13403"/>
                    </a:lnTo>
                    <a:lnTo>
                      <a:pt x="6110" y="12880"/>
                    </a:lnTo>
                    <a:lnTo>
                      <a:pt x="6534" y="12064"/>
                    </a:lnTo>
                    <a:lnTo>
                      <a:pt x="6672" y="9037"/>
                    </a:lnTo>
                    <a:lnTo>
                      <a:pt x="7285" y="7638"/>
                    </a:lnTo>
                    <a:lnTo>
                      <a:pt x="13513" y="4973"/>
                    </a:lnTo>
                    <a:lnTo>
                      <a:pt x="15342" y="4875"/>
                    </a:lnTo>
                    <a:lnTo>
                      <a:pt x="16748" y="6099"/>
                    </a:lnTo>
                    <a:lnTo>
                      <a:pt x="17860" y="6881"/>
                    </a:lnTo>
                    <a:lnTo>
                      <a:pt x="18529" y="6858"/>
                    </a:lnTo>
                    <a:lnTo>
                      <a:pt x="18771" y="6069"/>
                    </a:lnTo>
                    <a:lnTo>
                      <a:pt x="19527" y="4551"/>
                    </a:lnTo>
                    <a:lnTo>
                      <a:pt x="20805" y="3682"/>
                    </a:lnTo>
                    <a:lnTo>
                      <a:pt x="24593" y="2942"/>
                    </a:lnTo>
                    <a:lnTo>
                      <a:pt x="24629" y="2946"/>
                    </a:lnTo>
                    <a:lnTo>
                      <a:pt x="25862" y="3089"/>
                    </a:lnTo>
                    <a:lnTo>
                      <a:pt x="28538" y="2408"/>
                    </a:lnTo>
                    <a:lnTo>
                      <a:pt x="30205" y="1466"/>
                    </a:lnTo>
                    <a:lnTo>
                      <a:pt x="31053" y="1325"/>
                    </a:lnTo>
                    <a:lnTo>
                      <a:pt x="32183" y="961"/>
                    </a:lnTo>
                    <a:lnTo>
                      <a:pt x="33807" y="1015"/>
                    </a:lnTo>
                    <a:lnTo>
                      <a:pt x="35454" y="1425"/>
                    </a:lnTo>
                    <a:lnTo>
                      <a:pt x="37547" y="883"/>
                    </a:lnTo>
                    <a:lnTo>
                      <a:pt x="39605" y="0"/>
                    </a:lnTo>
                    <a:lnTo>
                      <a:pt x="40430" y="221"/>
                    </a:lnTo>
                    <a:lnTo>
                      <a:pt x="41321" y="970"/>
                    </a:lnTo>
                    <a:close/>
                  </a:path>
                </a:pathLst>
              </a:custGeom>
              <a:solidFill>
                <a:srgbClr val="AB5905">
                  <a:lumMod val="20000"/>
                  <a:lumOff val="80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3" name="ee4p_MT_1_15912">
                <a:extLst>
                  <a:ext uri="{FF2B5EF4-FFF2-40B4-BE49-F238E27FC236}">
                    <a16:creationId xmlns:a16="http://schemas.microsoft.com/office/drawing/2014/main" id="{485EC878-0FB2-9365-9775-FBFBFE4F7A0D}"/>
                  </a:ext>
                </a:extLst>
              </p:cNvPr>
              <p:cNvSpPr>
                <a:spLocks noChangeAspect="1"/>
              </p:cNvSpPr>
              <p:nvPr>
                <p:custDataLst>
                  <p:tags r:id="rId264"/>
                </p:custDataLst>
              </p:nvPr>
            </p:nvSpPr>
            <p:spPr>
              <a:xfrm>
                <a:off x="5029708" y="6025695"/>
                <a:ext cx="18846" cy="15817"/>
              </a:xfrm>
              <a:custGeom>
                <a:avLst/>
                <a:gdLst/>
                <a:ahLst/>
                <a:cxnLst/>
                <a:rect l="0" t="0" r="0" b="0"/>
                <a:pathLst>
                  <a:path w="4754" h="3990">
                    <a:moveTo>
                      <a:pt x="4753" y="3169"/>
                    </a:moveTo>
                    <a:lnTo>
                      <a:pt x="4012" y="3989"/>
                    </a:lnTo>
                    <a:lnTo>
                      <a:pt x="1883" y="3952"/>
                    </a:lnTo>
                    <a:lnTo>
                      <a:pt x="24" y="2677"/>
                    </a:lnTo>
                    <a:lnTo>
                      <a:pt x="0" y="0"/>
                    </a:lnTo>
                    <a:lnTo>
                      <a:pt x="2146" y="530"/>
                    </a:lnTo>
                    <a:lnTo>
                      <a:pt x="4107" y="2324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4" name="ee4p_MT_2_15912">
                <a:extLst>
                  <a:ext uri="{FF2B5EF4-FFF2-40B4-BE49-F238E27FC236}">
                    <a16:creationId xmlns:a16="http://schemas.microsoft.com/office/drawing/2014/main" id="{8CC9588C-5A56-1FAE-6E08-C5662AA4F7F2}"/>
                  </a:ext>
                </a:extLst>
              </p:cNvPr>
              <p:cNvSpPr>
                <a:spLocks noChangeAspect="1"/>
              </p:cNvSpPr>
              <p:nvPr>
                <p:custDataLst>
                  <p:tags r:id="rId265"/>
                </p:custDataLst>
              </p:nvPr>
            </p:nvSpPr>
            <p:spPr>
              <a:xfrm>
                <a:off x="5014727" y="6015955"/>
                <a:ext cx="12321" cy="6371"/>
              </a:xfrm>
              <a:custGeom>
                <a:avLst/>
                <a:gdLst/>
                <a:ahLst/>
                <a:cxnLst/>
                <a:rect l="0" t="0" r="0" b="0"/>
                <a:pathLst>
                  <a:path w="3108" h="1607">
                    <a:moveTo>
                      <a:pt x="2943" y="1216"/>
                    </a:moveTo>
                    <a:lnTo>
                      <a:pt x="1619" y="1606"/>
                    </a:lnTo>
                    <a:lnTo>
                      <a:pt x="307" y="847"/>
                    </a:lnTo>
                    <a:lnTo>
                      <a:pt x="0" y="388"/>
                    </a:lnTo>
                    <a:lnTo>
                      <a:pt x="1833" y="0"/>
                    </a:lnTo>
                    <a:lnTo>
                      <a:pt x="2727" y="340"/>
                    </a:lnTo>
                    <a:lnTo>
                      <a:pt x="3107" y="998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5" name="ee4p_ME_1_15912">
                <a:extLst>
                  <a:ext uri="{FF2B5EF4-FFF2-40B4-BE49-F238E27FC236}">
                    <a16:creationId xmlns:a16="http://schemas.microsoft.com/office/drawing/2014/main" id="{BB52345A-0524-F2FB-8A36-717D9A5296D4}"/>
                  </a:ext>
                </a:extLst>
              </p:cNvPr>
              <p:cNvSpPr>
                <a:spLocks noChangeAspect="1"/>
              </p:cNvSpPr>
              <p:nvPr>
                <p:custDataLst>
                  <p:tags r:id="rId266"/>
                </p:custDataLst>
              </p:nvPr>
            </p:nvSpPr>
            <p:spPr>
              <a:xfrm>
                <a:off x="5387793" y="5244845"/>
                <a:ext cx="167548" cy="177276"/>
              </a:xfrm>
              <a:custGeom>
                <a:avLst/>
                <a:gdLst/>
                <a:ahLst/>
                <a:cxnLst/>
                <a:rect l="0" t="0" r="0" b="0"/>
                <a:pathLst>
                  <a:path w="42265" h="44719">
                    <a:moveTo>
                      <a:pt x="16761" y="243"/>
                    </a:moveTo>
                    <a:lnTo>
                      <a:pt x="16701" y="573"/>
                    </a:lnTo>
                    <a:lnTo>
                      <a:pt x="16809" y="1544"/>
                    </a:lnTo>
                    <a:lnTo>
                      <a:pt x="17301" y="2488"/>
                    </a:lnTo>
                    <a:lnTo>
                      <a:pt x="19059" y="3456"/>
                    </a:lnTo>
                    <a:lnTo>
                      <a:pt x="21633" y="5370"/>
                    </a:lnTo>
                    <a:lnTo>
                      <a:pt x="24661" y="8878"/>
                    </a:lnTo>
                    <a:lnTo>
                      <a:pt x="26051" y="9920"/>
                    </a:lnTo>
                    <a:lnTo>
                      <a:pt x="27301" y="10174"/>
                    </a:lnTo>
                    <a:lnTo>
                      <a:pt x="29737" y="11629"/>
                    </a:lnTo>
                    <a:lnTo>
                      <a:pt x="31436" y="11984"/>
                    </a:lnTo>
                    <a:lnTo>
                      <a:pt x="33339" y="12383"/>
                    </a:lnTo>
                    <a:lnTo>
                      <a:pt x="38288" y="15416"/>
                    </a:lnTo>
                    <a:lnTo>
                      <a:pt x="40512" y="16301"/>
                    </a:lnTo>
                    <a:lnTo>
                      <a:pt x="42093" y="17441"/>
                    </a:lnTo>
                    <a:lnTo>
                      <a:pt x="42264" y="18514"/>
                    </a:lnTo>
                    <a:lnTo>
                      <a:pt x="42190" y="19179"/>
                    </a:lnTo>
                    <a:lnTo>
                      <a:pt x="39333" y="19958"/>
                    </a:lnTo>
                    <a:lnTo>
                      <a:pt x="38834" y="21140"/>
                    </a:lnTo>
                    <a:lnTo>
                      <a:pt x="37450" y="21002"/>
                    </a:lnTo>
                    <a:lnTo>
                      <a:pt x="35777" y="20995"/>
                    </a:lnTo>
                    <a:lnTo>
                      <a:pt x="35228" y="21744"/>
                    </a:lnTo>
                    <a:lnTo>
                      <a:pt x="36030" y="22978"/>
                    </a:lnTo>
                    <a:lnTo>
                      <a:pt x="36550" y="24429"/>
                    </a:lnTo>
                    <a:lnTo>
                      <a:pt x="36131" y="26417"/>
                    </a:lnTo>
                    <a:lnTo>
                      <a:pt x="35990" y="26678"/>
                    </a:lnTo>
                    <a:lnTo>
                      <a:pt x="35587" y="26608"/>
                    </a:lnTo>
                    <a:lnTo>
                      <a:pt x="33229" y="27761"/>
                    </a:lnTo>
                    <a:lnTo>
                      <a:pt x="31475" y="28304"/>
                    </a:lnTo>
                    <a:lnTo>
                      <a:pt x="29895" y="28575"/>
                    </a:lnTo>
                    <a:lnTo>
                      <a:pt x="29147" y="28021"/>
                    </a:lnTo>
                    <a:lnTo>
                      <a:pt x="28778" y="27269"/>
                    </a:lnTo>
                    <a:lnTo>
                      <a:pt x="28843" y="25086"/>
                    </a:lnTo>
                    <a:lnTo>
                      <a:pt x="28558" y="24349"/>
                    </a:lnTo>
                    <a:lnTo>
                      <a:pt x="28018" y="23991"/>
                    </a:lnTo>
                    <a:lnTo>
                      <a:pt x="26936" y="24508"/>
                    </a:lnTo>
                    <a:lnTo>
                      <a:pt x="25675" y="26194"/>
                    </a:lnTo>
                    <a:lnTo>
                      <a:pt x="24505" y="28154"/>
                    </a:lnTo>
                    <a:lnTo>
                      <a:pt x="22749" y="30196"/>
                    </a:lnTo>
                    <a:lnTo>
                      <a:pt x="21300" y="32153"/>
                    </a:lnTo>
                    <a:lnTo>
                      <a:pt x="19739" y="34619"/>
                    </a:lnTo>
                    <a:lnTo>
                      <a:pt x="18670" y="36660"/>
                    </a:lnTo>
                    <a:lnTo>
                      <a:pt x="19780" y="37810"/>
                    </a:lnTo>
                    <a:lnTo>
                      <a:pt x="20456" y="39409"/>
                    </a:lnTo>
                    <a:lnTo>
                      <a:pt x="20251" y="40606"/>
                    </a:lnTo>
                    <a:lnTo>
                      <a:pt x="20450" y="41304"/>
                    </a:lnTo>
                    <a:lnTo>
                      <a:pt x="20104" y="43398"/>
                    </a:lnTo>
                    <a:lnTo>
                      <a:pt x="20035" y="44718"/>
                    </a:lnTo>
                    <a:lnTo>
                      <a:pt x="16586" y="42608"/>
                    </a:lnTo>
                    <a:lnTo>
                      <a:pt x="15168" y="39638"/>
                    </a:lnTo>
                    <a:lnTo>
                      <a:pt x="10125" y="34614"/>
                    </a:lnTo>
                    <a:lnTo>
                      <a:pt x="4347" y="31190"/>
                    </a:lnTo>
                    <a:lnTo>
                      <a:pt x="4040" y="30648"/>
                    </a:lnTo>
                    <a:lnTo>
                      <a:pt x="4358" y="29989"/>
                    </a:lnTo>
                    <a:lnTo>
                      <a:pt x="4634" y="29467"/>
                    </a:lnTo>
                    <a:lnTo>
                      <a:pt x="3434" y="29427"/>
                    </a:lnTo>
                    <a:lnTo>
                      <a:pt x="2591" y="29845"/>
                    </a:lnTo>
                    <a:lnTo>
                      <a:pt x="1794" y="29728"/>
                    </a:lnTo>
                    <a:lnTo>
                      <a:pt x="892" y="28443"/>
                    </a:lnTo>
                    <a:lnTo>
                      <a:pt x="39" y="27327"/>
                    </a:lnTo>
                    <a:lnTo>
                      <a:pt x="0" y="26346"/>
                    </a:lnTo>
                    <a:lnTo>
                      <a:pt x="389" y="26218"/>
                    </a:lnTo>
                    <a:lnTo>
                      <a:pt x="967" y="25826"/>
                    </a:lnTo>
                    <a:lnTo>
                      <a:pt x="2181" y="24734"/>
                    </a:lnTo>
                    <a:lnTo>
                      <a:pt x="2423" y="24160"/>
                    </a:lnTo>
                    <a:lnTo>
                      <a:pt x="2365" y="23290"/>
                    </a:lnTo>
                    <a:lnTo>
                      <a:pt x="657" y="20535"/>
                    </a:lnTo>
                    <a:lnTo>
                      <a:pt x="415" y="18747"/>
                    </a:lnTo>
                    <a:lnTo>
                      <a:pt x="166" y="15417"/>
                    </a:lnTo>
                    <a:lnTo>
                      <a:pt x="527" y="14628"/>
                    </a:lnTo>
                    <a:lnTo>
                      <a:pt x="1153" y="14246"/>
                    </a:lnTo>
                    <a:lnTo>
                      <a:pt x="4142" y="13830"/>
                    </a:lnTo>
                    <a:lnTo>
                      <a:pt x="4103" y="11231"/>
                    </a:lnTo>
                    <a:lnTo>
                      <a:pt x="4282" y="10451"/>
                    </a:lnTo>
                    <a:lnTo>
                      <a:pt x="4876" y="9369"/>
                    </a:lnTo>
                    <a:lnTo>
                      <a:pt x="5261" y="8380"/>
                    </a:lnTo>
                    <a:lnTo>
                      <a:pt x="6919" y="6963"/>
                    </a:lnTo>
                    <a:lnTo>
                      <a:pt x="9171" y="5275"/>
                    </a:lnTo>
                    <a:lnTo>
                      <a:pt x="10156" y="5225"/>
                    </a:lnTo>
                    <a:lnTo>
                      <a:pt x="11019" y="5460"/>
                    </a:lnTo>
                    <a:lnTo>
                      <a:pt x="11993" y="6913"/>
                    </a:lnTo>
                    <a:lnTo>
                      <a:pt x="13053" y="6724"/>
                    </a:lnTo>
                    <a:lnTo>
                      <a:pt x="13276" y="4980"/>
                    </a:lnTo>
                    <a:lnTo>
                      <a:pt x="11885" y="2691"/>
                    </a:lnTo>
                    <a:lnTo>
                      <a:pt x="11143" y="1228"/>
                    </a:lnTo>
                    <a:lnTo>
                      <a:pt x="11374" y="422"/>
                    </a:lnTo>
                    <a:lnTo>
                      <a:pt x="11894" y="0"/>
                    </a:lnTo>
                    <a:lnTo>
                      <a:pt x="13090" y="264"/>
                    </a:lnTo>
                    <a:lnTo>
                      <a:pt x="14235" y="663"/>
                    </a:lnTo>
                    <a:lnTo>
                      <a:pt x="14958" y="393"/>
                    </a:lnTo>
                    <a:lnTo>
                      <a:pt x="16098" y="185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6" name="ee4p_NL_1_15912">
                <a:extLst>
                  <a:ext uri="{FF2B5EF4-FFF2-40B4-BE49-F238E27FC236}">
                    <a16:creationId xmlns:a16="http://schemas.microsoft.com/office/drawing/2014/main" id="{88719AA7-E31D-E3E4-7ED0-B5366E5D3D1A}"/>
                  </a:ext>
                </a:extLst>
              </p:cNvPr>
              <p:cNvSpPr>
                <a:spLocks noChangeAspect="1"/>
              </p:cNvSpPr>
              <p:nvPr>
                <p:custDataLst>
                  <p:tags r:id="rId267"/>
                </p:custDataLst>
              </p:nvPr>
            </p:nvSpPr>
            <p:spPr>
              <a:xfrm>
                <a:off x="4065373" y="4107483"/>
                <a:ext cx="337233" cy="337863"/>
              </a:xfrm>
              <a:custGeom>
                <a:avLst/>
                <a:gdLst>
                  <a:gd name="connsiteX0" fmla="*/ 5293 w 85069"/>
                  <a:gd name="connsiteY0" fmla="*/ 66254 h 85228"/>
                  <a:gd name="connsiteX1" fmla="*/ 8102 w 85069"/>
                  <a:gd name="connsiteY1" fmla="*/ 67143 h 85228"/>
                  <a:gd name="connsiteX2" fmla="*/ 11792 w 85069"/>
                  <a:gd name="connsiteY2" fmla="*/ 67572 h 85228"/>
                  <a:gd name="connsiteX3" fmla="*/ 14614 w 85069"/>
                  <a:gd name="connsiteY3" fmla="*/ 66356 h 85228"/>
                  <a:gd name="connsiteX4" fmla="*/ 16836 w 85069"/>
                  <a:gd name="connsiteY4" fmla="*/ 67392 h 85228"/>
                  <a:gd name="connsiteX5" fmla="*/ 19372 w 85069"/>
                  <a:gd name="connsiteY5" fmla="*/ 66634 h 85228"/>
                  <a:gd name="connsiteX6" fmla="*/ 19046 w 85069"/>
                  <a:gd name="connsiteY6" fmla="*/ 67741 h 85228"/>
                  <a:gd name="connsiteX7" fmla="*/ 18186 w 85069"/>
                  <a:gd name="connsiteY7" fmla="*/ 68963 h 85228"/>
                  <a:gd name="connsiteX8" fmla="*/ 15256 w 85069"/>
                  <a:gd name="connsiteY8" fmla="*/ 70722 h 85228"/>
                  <a:gd name="connsiteX9" fmla="*/ 12205 w 85069"/>
                  <a:gd name="connsiteY9" fmla="*/ 71876 h 85228"/>
                  <a:gd name="connsiteX10" fmla="*/ 10628 w 85069"/>
                  <a:gd name="connsiteY10" fmla="*/ 71732 h 85228"/>
                  <a:gd name="connsiteX11" fmla="*/ 9548 w 85069"/>
                  <a:gd name="connsiteY11" fmla="*/ 71128 h 85228"/>
                  <a:gd name="connsiteX12" fmla="*/ 8968 w 85069"/>
                  <a:gd name="connsiteY12" fmla="*/ 70494 h 85228"/>
                  <a:gd name="connsiteX13" fmla="*/ 7335 w 85069"/>
                  <a:gd name="connsiteY13" fmla="*/ 69883 h 85228"/>
                  <a:gd name="connsiteX14" fmla="*/ 5089 w 85069"/>
                  <a:gd name="connsiteY14" fmla="*/ 69576 h 85228"/>
                  <a:gd name="connsiteX15" fmla="*/ 3692 w 85069"/>
                  <a:gd name="connsiteY15" fmla="*/ 70237 h 85228"/>
                  <a:gd name="connsiteX16" fmla="*/ 2695 w 85069"/>
                  <a:gd name="connsiteY16" fmla="*/ 70863 h 85228"/>
                  <a:gd name="connsiteX17" fmla="*/ 1822 w 85069"/>
                  <a:gd name="connsiteY17" fmla="*/ 70760 h 85228"/>
                  <a:gd name="connsiteX18" fmla="*/ 1166 w 85069"/>
                  <a:gd name="connsiteY18" fmla="*/ 70237 h 85228"/>
                  <a:gd name="connsiteX19" fmla="*/ 663 w 85069"/>
                  <a:gd name="connsiteY19" fmla="*/ 69431 h 85228"/>
                  <a:gd name="connsiteX20" fmla="*/ 0 w 85069"/>
                  <a:gd name="connsiteY20" fmla="*/ 66892 h 85228"/>
                  <a:gd name="connsiteX21" fmla="*/ 1673 w 85069"/>
                  <a:gd name="connsiteY21" fmla="*/ 66428 h 85228"/>
                  <a:gd name="connsiteX22" fmla="*/ 9706 w 85069"/>
                  <a:gd name="connsiteY22" fmla="*/ 56047 h 85228"/>
                  <a:gd name="connsiteX23" fmla="*/ 13246 w 85069"/>
                  <a:gd name="connsiteY23" fmla="*/ 56253 h 85228"/>
                  <a:gd name="connsiteX24" fmla="*/ 15405 w 85069"/>
                  <a:gd name="connsiteY24" fmla="*/ 57860 h 85228"/>
                  <a:gd name="connsiteX25" fmla="*/ 15865 w 85069"/>
                  <a:gd name="connsiteY25" fmla="*/ 58373 h 85228"/>
                  <a:gd name="connsiteX26" fmla="*/ 16031 w 85069"/>
                  <a:gd name="connsiteY26" fmla="*/ 58924 h 85228"/>
                  <a:gd name="connsiteX27" fmla="*/ 13287 w 85069"/>
                  <a:gd name="connsiteY27" fmla="*/ 59563 h 85228"/>
                  <a:gd name="connsiteX28" fmla="*/ 10369 w 85069"/>
                  <a:gd name="connsiteY28" fmla="*/ 57592 h 85228"/>
                  <a:gd name="connsiteX29" fmla="*/ 8441 w 85069"/>
                  <a:gd name="connsiteY29" fmla="*/ 58057 h 85228"/>
                  <a:gd name="connsiteX30" fmla="*/ 7715 w 85069"/>
                  <a:gd name="connsiteY30" fmla="*/ 57123 h 85228"/>
                  <a:gd name="connsiteX31" fmla="*/ 7704 w 85069"/>
                  <a:gd name="connsiteY31" fmla="*/ 56540 h 85228"/>
                  <a:gd name="connsiteX32" fmla="*/ 33971 w 85069"/>
                  <a:gd name="connsiteY32" fmla="*/ 13310 h 85228"/>
                  <a:gd name="connsiteX33" fmla="*/ 33965 w 85069"/>
                  <a:gd name="connsiteY33" fmla="*/ 16687 h 85228"/>
                  <a:gd name="connsiteX34" fmla="*/ 31775 w 85069"/>
                  <a:gd name="connsiteY34" fmla="*/ 18811 h 85228"/>
                  <a:gd name="connsiteX35" fmla="*/ 30441 w 85069"/>
                  <a:gd name="connsiteY35" fmla="*/ 18218 h 85228"/>
                  <a:gd name="connsiteX36" fmla="*/ 30052 w 85069"/>
                  <a:gd name="connsiteY36" fmla="*/ 17726 h 85228"/>
                  <a:gd name="connsiteX37" fmla="*/ 30730 w 85069"/>
                  <a:gd name="connsiteY37" fmla="*/ 16070 h 85228"/>
                  <a:gd name="connsiteX38" fmla="*/ 37081 w 85069"/>
                  <a:gd name="connsiteY38" fmla="*/ 9498 h 85228"/>
                  <a:gd name="connsiteX39" fmla="*/ 38884 w 85069"/>
                  <a:gd name="connsiteY39" fmla="*/ 9564 h 85228"/>
                  <a:gd name="connsiteX40" fmla="*/ 34796 w 85069"/>
                  <a:gd name="connsiteY40" fmla="*/ 11771 h 85228"/>
                  <a:gd name="connsiteX41" fmla="*/ 34446 w 85069"/>
                  <a:gd name="connsiteY41" fmla="*/ 11420 h 85228"/>
                  <a:gd name="connsiteX42" fmla="*/ 76643 w 85069"/>
                  <a:gd name="connsiteY42" fmla="*/ 5558 h 85228"/>
                  <a:gd name="connsiteX43" fmla="*/ 78770 w 85069"/>
                  <a:gd name="connsiteY43" fmla="*/ 7538 h 85228"/>
                  <a:gd name="connsiteX44" fmla="*/ 80003 w 85069"/>
                  <a:gd name="connsiteY44" fmla="*/ 8984 h 85228"/>
                  <a:gd name="connsiteX45" fmla="*/ 81989 w 85069"/>
                  <a:gd name="connsiteY45" fmla="*/ 9787 h 85228"/>
                  <a:gd name="connsiteX46" fmla="*/ 85069 w 85069"/>
                  <a:gd name="connsiteY46" fmla="*/ 10338 h 85228"/>
                  <a:gd name="connsiteX47" fmla="*/ 84885 w 85069"/>
                  <a:gd name="connsiteY47" fmla="*/ 13193 h 85228"/>
                  <a:gd name="connsiteX48" fmla="*/ 84907 w 85069"/>
                  <a:gd name="connsiteY48" fmla="*/ 18820 h 85228"/>
                  <a:gd name="connsiteX49" fmla="*/ 84676 w 85069"/>
                  <a:gd name="connsiteY49" fmla="*/ 19817 h 85228"/>
                  <a:gd name="connsiteX50" fmla="*/ 83296 w 85069"/>
                  <a:gd name="connsiteY50" fmla="*/ 22186 h 85228"/>
                  <a:gd name="connsiteX51" fmla="*/ 81832 w 85069"/>
                  <a:gd name="connsiteY51" fmla="*/ 26435 h 85228"/>
                  <a:gd name="connsiteX52" fmla="*/ 81437 w 85069"/>
                  <a:gd name="connsiteY52" fmla="*/ 29222 h 85228"/>
                  <a:gd name="connsiteX53" fmla="*/ 80998 w 85069"/>
                  <a:gd name="connsiteY53" fmla="*/ 29753 h 85228"/>
                  <a:gd name="connsiteX54" fmla="*/ 75144 w 85069"/>
                  <a:gd name="connsiteY54" fmla="*/ 29737 h 85228"/>
                  <a:gd name="connsiteX55" fmla="*/ 74311 w 85069"/>
                  <a:gd name="connsiteY55" fmla="*/ 30220 h 85228"/>
                  <a:gd name="connsiteX56" fmla="*/ 74192 w 85069"/>
                  <a:gd name="connsiteY56" fmla="*/ 30822 h 85228"/>
                  <a:gd name="connsiteX57" fmla="*/ 74488 w 85069"/>
                  <a:gd name="connsiteY57" fmla="*/ 31539 h 85228"/>
                  <a:gd name="connsiteX58" fmla="*/ 74347 w 85069"/>
                  <a:gd name="connsiteY58" fmla="*/ 32252 h 85228"/>
                  <a:gd name="connsiteX59" fmla="*/ 73888 w 85069"/>
                  <a:gd name="connsiteY59" fmla="*/ 32832 h 85228"/>
                  <a:gd name="connsiteX60" fmla="*/ 74138 w 85069"/>
                  <a:gd name="connsiteY60" fmla="*/ 33753 h 85228"/>
                  <a:gd name="connsiteX61" fmla="*/ 75153 w 85069"/>
                  <a:gd name="connsiteY61" fmla="*/ 34800 h 85228"/>
                  <a:gd name="connsiteX62" fmla="*/ 77003 w 85069"/>
                  <a:gd name="connsiteY62" fmla="*/ 35447 h 85228"/>
                  <a:gd name="connsiteX63" fmla="*/ 78984 w 85069"/>
                  <a:gd name="connsiteY63" fmla="*/ 35506 h 85228"/>
                  <a:gd name="connsiteX64" fmla="*/ 80003 w 85069"/>
                  <a:gd name="connsiteY64" fmla="*/ 35393 h 85228"/>
                  <a:gd name="connsiteX65" fmla="*/ 80748 w 85069"/>
                  <a:gd name="connsiteY65" fmla="*/ 36139 h 85228"/>
                  <a:gd name="connsiteX66" fmla="*/ 81484 w 85069"/>
                  <a:gd name="connsiteY66" fmla="*/ 37291 h 85228"/>
                  <a:gd name="connsiteX67" fmla="*/ 81428 w 85069"/>
                  <a:gd name="connsiteY67" fmla="*/ 38738 h 85228"/>
                  <a:gd name="connsiteX68" fmla="*/ 81141 w 85069"/>
                  <a:gd name="connsiteY68" fmla="*/ 40682 h 85228"/>
                  <a:gd name="connsiteX69" fmla="*/ 80203 w 85069"/>
                  <a:gd name="connsiteY69" fmla="*/ 42476 h 85228"/>
                  <a:gd name="connsiteX70" fmla="*/ 77502 w 85069"/>
                  <a:gd name="connsiteY70" fmla="*/ 44542 h 85228"/>
                  <a:gd name="connsiteX71" fmla="*/ 76293 w 85069"/>
                  <a:gd name="connsiteY71" fmla="*/ 45270 h 85228"/>
                  <a:gd name="connsiteX72" fmla="*/ 75157 w 85069"/>
                  <a:gd name="connsiteY72" fmla="*/ 45641 h 85228"/>
                  <a:gd name="connsiteX73" fmla="*/ 74615 w 85069"/>
                  <a:gd name="connsiteY73" fmla="*/ 46187 h 85228"/>
                  <a:gd name="connsiteX74" fmla="*/ 74360 w 85069"/>
                  <a:gd name="connsiteY74" fmla="*/ 46878 h 85228"/>
                  <a:gd name="connsiteX75" fmla="*/ 74419 w 85069"/>
                  <a:gd name="connsiteY75" fmla="*/ 47491 h 85228"/>
                  <a:gd name="connsiteX76" fmla="*/ 76338 w 85069"/>
                  <a:gd name="connsiteY76" fmla="*/ 49147 h 85228"/>
                  <a:gd name="connsiteX77" fmla="*/ 76293 w 85069"/>
                  <a:gd name="connsiteY77" fmla="*/ 49525 h 85228"/>
                  <a:gd name="connsiteX78" fmla="*/ 75736 w 85069"/>
                  <a:gd name="connsiteY78" fmla="*/ 50385 h 85228"/>
                  <a:gd name="connsiteX79" fmla="*/ 74997 w 85069"/>
                  <a:gd name="connsiteY79" fmla="*/ 51194 h 85228"/>
                  <a:gd name="connsiteX80" fmla="*/ 70039 w 85069"/>
                  <a:gd name="connsiteY80" fmla="*/ 52876 h 85228"/>
                  <a:gd name="connsiteX81" fmla="*/ 67992 w 85069"/>
                  <a:gd name="connsiteY81" fmla="*/ 52744 h 85228"/>
                  <a:gd name="connsiteX82" fmla="*/ 66824 w 85069"/>
                  <a:gd name="connsiteY82" fmla="*/ 53581 h 85228"/>
                  <a:gd name="connsiteX83" fmla="*/ 66459 w 85069"/>
                  <a:gd name="connsiteY83" fmla="*/ 53740 h 85228"/>
                  <a:gd name="connsiteX84" fmla="*/ 65164 w 85069"/>
                  <a:gd name="connsiteY84" fmla="*/ 52971 h 85228"/>
                  <a:gd name="connsiteX85" fmla="*/ 62276 w 85069"/>
                  <a:gd name="connsiteY85" fmla="*/ 52084 h 85228"/>
                  <a:gd name="connsiteX86" fmla="*/ 61186 w 85069"/>
                  <a:gd name="connsiteY86" fmla="*/ 52390 h 85228"/>
                  <a:gd name="connsiteX87" fmla="*/ 60581 w 85069"/>
                  <a:gd name="connsiteY87" fmla="*/ 52876 h 85228"/>
                  <a:gd name="connsiteX88" fmla="*/ 58763 w 85069"/>
                  <a:gd name="connsiteY88" fmla="*/ 53465 h 85228"/>
                  <a:gd name="connsiteX89" fmla="*/ 57461 w 85069"/>
                  <a:gd name="connsiteY89" fmla="*/ 54388 h 85228"/>
                  <a:gd name="connsiteX90" fmla="*/ 57457 w 85069"/>
                  <a:gd name="connsiteY90" fmla="*/ 55576 h 85228"/>
                  <a:gd name="connsiteX91" fmla="*/ 59761 w 85069"/>
                  <a:gd name="connsiteY91" fmla="*/ 58645 h 85228"/>
                  <a:gd name="connsiteX92" fmla="*/ 60571 w 85069"/>
                  <a:gd name="connsiteY92" fmla="*/ 59247 h 85228"/>
                  <a:gd name="connsiteX93" fmla="*/ 60609 w 85069"/>
                  <a:gd name="connsiteY93" fmla="*/ 60391 h 85228"/>
                  <a:gd name="connsiteX94" fmla="*/ 61726 w 85069"/>
                  <a:gd name="connsiteY94" fmla="*/ 61827 h 85228"/>
                  <a:gd name="connsiteX95" fmla="*/ 62868 w 85069"/>
                  <a:gd name="connsiteY95" fmla="*/ 63626 h 85228"/>
                  <a:gd name="connsiteX96" fmla="*/ 62991 w 85069"/>
                  <a:gd name="connsiteY96" fmla="*/ 64769 h 85228"/>
                  <a:gd name="connsiteX97" fmla="*/ 62860 w 85069"/>
                  <a:gd name="connsiteY97" fmla="*/ 65926 h 85228"/>
                  <a:gd name="connsiteX98" fmla="*/ 62270 w 85069"/>
                  <a:gd name="connsiteY98" fmla="*/ 67562 h 85228"/>
                  <a:gd name="connsiteX99" fmla="*/ 60273 w 85069"/>
                  <a:gd name="connsiteY99" fmla="*/ 71394 h 85228"/>
                  <a:gd name="connsiteX100" fmla="*/ 60249 w 85069"/>
                  <a:gd name="connsiteY100" fmla="*/ 72129 h 85228"/>
                  <a:gd name="connsiteX101" fmla="*/ 60417 w 85069"/>
                  <a:gd name="connsiteY101" fmla="*/ 72687 h 85228"/>
                  <a:gd name="connsiteX102" fmla="*/ 61102 w 85069"/>
                  <a:gd name="connsiteY102" fmla="*/ 72841 h 85228"/>
                  <a:gd name="connsiteX103" fmla="*/ 61622 w 85069"/>
                  <a:gd name="connsiteY103" fmla="*/ 73130 h 85228"/>
                  <a:gd name="connsiteX104" fmla="*/ 61469 w 85069"/>
                  <a:gd name="connsiteY104" fmla="*/ 73640 h 85228"/>
                  <a:gd name="connsiteX105" fmla="*/ 57733 w 85069"/>
                  <a:gd name="connsiteY105" fmla="*/ 76293 h 85228"/>
                  <a:gd name="connsiteX106" fmla="*/ 57251 w 85069"/>
                  <a:gd name="connsiteY106" fmla="*/ 76757 h 85228"/>
                  <a:gd name="connsiteX107" fmla="*/ 55684 w 85069"/>
                  <a:gd name="connsiteY107" fmla="*/ 76626 h 85228"/>
                  <a:gd name="connsiteX108" fmla="*/ 55444 w 85069"/>
                  <a:gd name="connsiteY108" fmla="*/ 77069 h 85228"/>
                  <a:gd name="connsiteX109" fmla="*/ 55658 w 85069"/>
                  <a:gd name="connsiteY109" fmla="*/ 77784 h 85228"/>
                  <a:gd name="connsiteX110" fmla="*/ 56267 w 85069"/>
                  <a:gd name="connsiteY110" fmla="*/ 78410 h 85228"/>
                  <a:gd name="connsiteX111" fmla="*/ 57601 w 85069"/>
                  <a:gd name="connsiteY111" fmla="*/ 78740 h 85228"/>
                  <a:gd name="connsiteX112" fmla="*/ 58746 w 85069"/>
                  <a:gd name="connsiteY112" fmla="*/ 79411 h 85228"/>
                  <a:gd name="connsiteX113" fmla="*/ 59666 w 85069"/>
                  <a:gd name="connsiteY113" fmla="*/ 80726 h 85228"/>
                  <a:gd name="connsiteX114" fmla="*/ 58461 w 85069"/>
                  <a:gd name="connsiteY114" fmla="*/ 85228 h 85228"/>
                  <a:gd name="connsiteX115" fmla="*/ 54114 w 85069"/>
                  <a:gd name="connsiteY115" fmla="*/ 85109 h 85228"/>
                  <a:gd name="connsiteX116" fmla="*/ 53002 w 85069"/>
                  <a:gd name="connsiteY116" fmla="*/ 84963 h 85228"/>
                  <a:gd name="connsiteX117" fmla="*/ 51821 w 85069"/>
                  <a:gd name="connsiteY117" fmla="*/ 84523 h 85228"/>
                  <a:gd name="connsiteX118" fmla="*/ 51818 w 85069"/>
                  <a:gd name="connsiteY118" fmla="*/ 84520 h 85228"/>
                  <a:gd name="connsiteX119" fmla="*/ 51278 w 85069"/>
                  <a:gd name="connsiteY119" fmla="*/ 83611 h 85228"/>
                  <a:gd name="connsiteX120" fmla="*/ 50622 w 85069"/>
                  <a:gd name="connsiteY120" fmla="*/ 82514 h 85228"/>
                  <a:gd name="connsiteX121" fmla="*/ 50801 w 85069"/>
                  <a:gd name="connsiteY121" fmla="*/ 81842 h 85228"/>
                  <a:gd name="connsiteX122" fmla="*/ 52771 w 85069"/>
                  <a:gd name="connsiteY122" fmla="*/ 79931 h 85228"/>
                  <a:gd name="connsiteX123" fmla="*/ 53067 w 85069"/>
                  <a:gd name="connsiteY123" fmla="*/ 79403 h 85228"/>
                  <a:gd name="connsiteX124" fmla="*/ 52864 w 85069"/>
                  <a:gd name="connsiteY124" fmla="*/ 79120 h 85228"/>
                  <a:gd name="connsiteX125" fmla="*/ 53062 w 85069"/>
                  <a:gd name="connsiteY125" fmla="*/ 78278 h 85228"/>
                  <a:gd name="connsiteX126" fmla="*/ 54576 w 85069"/>
                  <a:gd name="connsiteY126" fmla="*/ 75424 h 85228"/>
                  <a:gd name="connsiteX127" fmla="*/ 54772 w 85069"/>
                  <a:gd name="connsiteY127" fmla="*/ 74277 h 85228"/>
                  <a:gd name="connsiteX128" fmla="*/ 54095 w 85069"/>
                  <a:gd name="connsiteY128" fmla="*/ 73474 h 85228"/>
                  <a:gd name="connsiteX129" fmla="*/ 53118 w 85069"/>
                  <a:gd name="connsiteY129" fmla="*/ 72994 h 85228"/>
                  <a:gd name="connsiteX130" fmla="*/ 49944 w 85069"/>
                  <a:gd name="connsiteY130" fmla="*/ 72146 h 85228"/>
                  <a:gd name="connsiteX131" fmla="*/ 48433 w 85069"/>
                  <a:gd name="connsiteY131" fmla="*/ 70949 h 85228"/>
                  <a:gd name="connsiteX132" fmla="*/ 47733 w 85069"/>
                  <a:gd name="connsiteY132" fmla="*/ 69903 h 85228"/>
                  <a:gd name="connsiteX133" fmla="*/ 47027 w 85069"/>
                  <a:gd name="connsiteY133" fmla="*/ 69609 h 85228"/>
                  <a:gd name="connsiteX134" fmla="*/ 45986 w 85069"/>
                  <a:gd name="connsiteY134" fmla="*/ 69962 h 85228"/>
                  <a:gd name="connsiteX135" fmla="*/ 43356 w 85069"/>
                  <a:gd name="connsiteY135" fmla="*/ 70351 h 85228"/>
                  <a:gd name="connsiteX136" fmla="*/ 41218 w 85069"/>
                  <a:gd name="connsiteY136" fmla="*/ 69787 h 85228"/>
                  <a:gd name="connsiteX137" fmla="*/ 38692 w 85069"/>
                  <a:gd name="connsiteY137" fmla="*/ 67807 h 85228"/>
                  <a:gd name="connsiteX138" fmla="*/ 38106 w 85069"/>
                  <a:gd name="connsiteY138" fmla="*/ 66036 h 85228"/>
                  <a:gd name="connsiteX139" fmla="*/ 37798 w 85069"/>
                  <a:gd name="connsiteY139" fmla="*/ 64677 h 85228"/>
                  <a:gd name="connsiteX140" fmla="*/ 37167 w 85069"/>
                  <a:gd name="connsiteY140" fmla="*/ 64208 h 85228"/>
                  <a:gd name="connsiteX141" fmla="*/ 36319 w 85069"/>
                  <a:gd name="connsiteY141" fmla="*/ 64905 h 85228"/>
                  <a:gd name="connsiteX142" fmla="*/ 35243 w 85069"/>
                  <a:gd name="connsiteY142" fmla="*/ 66009 h 85228"/>
                  <a:gd name="connsiteX143" fmla="*/ 33123 w 85069"/>
                  <a:gd name="connsiteY143" fmla="*/ 66141 h 85228"/>
                  <a:gd name="connsiteX144" fmla="*/ 32518 w 85069"/>
                  <a:gd name="connsiteY144" fmla="*/ 65883 h 85228"/>
                  <a:gd name="connsiteX145" fmla="*/ 32414 w 85069"/>
                  <a:gd name="connsiteY145" fmla="*/ 65274 h 85228"/>
                  <a:gd name="connsiteX146" fmla="*/ 32293 w 85069"/>
                  <a:gd name="connsiteY146" fmla="*/ 64689 h 85228"/>
                  <a:gd name="connsiteX147" fmla="*/ 31710 w 85069"/>
                  <a:gd name="connsiteY147" fmla="*/ 63964 h 85228"/>
                  <a:gd name="connsiteX148" fmla="*/ 31080 w 85069"/>
                  <a:gd name="connsiteY148" fmla="*/ 63561 h 85228"/>
                  <a:gd name="connsiteX149" fmla="*/ 28389 w 85069"/>
                  <a:gd name="connsiteY149" fmla="*/ 65599 h 85228"/>
                  <a:gd name="connsiteX150" fmla="*/ 27389 w 85069"/>
                  <a:gd name="connsiteY150" fmla="*/ 65594 h 85228"/>
                  <a:gd name="connsiteX151" fmla="*/ 26126 w 85069"/>
                  <a:gd name="connsiteY151" fmla="*/ 64811 h 85228"/>
                  <a:gd name="connsiteX152" fmla="*/ 25502 w 85069"/>
                  <a:gd name="connsiteY152" fmla="*/ 64043 h 85228"/>
                  <a:gd name="connsiteX153" fmla="*/ 24120 w 85069"/>
                  <a:gd name="connsiteY153" fmla="*/ 64481 h 85228"/>
                  <a:gd name="connsiteX154" fmla="*/ 22878 w 85069"/>
                  <a:gd name="connsiteY154" fmla="*/ 65427 h 85228"/>
                  <a:gd name="connsiteX155" fmla="*/ 23304 w 85069"/>
                  <a:gd name="connsiteY155" fmla="*/ 67203 h 85228"/>
                  <a:gd name="connsiteX156" fmla="*/ 22634 w 85069"/>
                  <a:gd name="connsiteY156" fmla="*/ 67528 h 85228"/>
                  <a:gd name="connsiteX157" fmla="*/ 21104 w 85069"/>
                  <a:gd name="connsiteY157" fmla="*/ 67366 h 85228"/>
                  <a:gd name="connsiteX158" fmla="*/ 19372 w 85069"/>
                  <a:gd name="connsiteY158" fmla="*/ 66634 h 85228"/>
                  <a:gd name="connsiteX159" fmla="*/ 17441 w 85069"/>
                  <a:gd name="connsiteY159" fmla="*/ 66193 h 85228"/>
                  <a:gd name="connsiteX160" fmla="*/ 14515 w 85069"/>
                  <a:gd name="connsiteY160" fmla="*/ 64968 h 85228"/>
                  <a:gd name="connsiteX161" fmla="*/ 10432 w 85069"/>
                  <a:gd name="connsiteY161" fmla="*/ 65962 h 85228"/>
                  <a:gd name="connsiteX162" fmla="*/ 7594 w 85069"/>
                  <a:gd name="connsiteY162" fmla="*/ 64772 h 85228"/>
                  <a:gd name="connsiteX163" fmla="*/ 5236 w 85069"/>
                  <a:gd name="connsiteY163" fmla="*/ 64654 h 85228"/>
                  <a:gd name="connsiteX164" fmla="*/ 3768 w 85069"/>
                  <a:gd name="connsiteY164" fmla="*/ 63706 h 85228"/>
                  <a:gd name="connsiteX165" fmla="*/ 2185 w 85069"/>
                  <a:gd name="connsiteY165" fmla="*/ 62102 h 85228"/>
                  <a:gd name="connsiteX166" fmla="*/ 3306 w 85069"/>
                  <a:gd name="connsiteY166" fmla="*/ 61046 h 85228"/>
                  <a:gd name="connsiteX167" fmla="*/ 4390 w 85069"/>
                  <a:gd name="connsiteY167" fmla="*/ 60680 h 85228"/>
                  <a:gd name="connsiteX168" fmla="*/ 8709 w 85069"/>
                  <a:gd name="connsiteY168" fmla="*/ 60476 h 85228"/>
                  <a:gd name="connsiteX169" fmla="*/ 11850 w 85069"/>
                  <a:gd name="connsiteY169" fmla="*/ 61118 h 85228"/>
                  <a:gd name="connsiteX170" fmla="*/ 17495 w 85069"/>
                  <a:gd name="connsiteY170" fmla="*/ 64600 h 85228"/>
                  <a:gd name="connsiteX171" fmla="*/ 18920 w 85069"/>
                  <a:gd name="connsiteY171" fmla="*/ 64573 h 85228"/>
                  <a:gd name="connsiteX172" fmla="*/ 20432 w 85069"/>
                  <a:gd name="connsiteY172" fmla="*/ 64134 h 85228"/>
                  <a:gd name="connsiteX173" fmla="*/ 19663 w 85069"/>
                  <a:gd name="connsiteY173" fmla="*/ 63185 h 85228"/>
                  <a:gd name="connsiteX174" fmla="*/ 18251 w 85069"/>
                  <a:gd name="connsiteY174" fmla="*/ 62733 h 85228"/>
                  <a:gd name="connsiteX175" fmla="*/ 16150 w 85069"/>
                  <a:gd name="connsiteY175" fmla="*/ 61797 h 85228"/>
                  <a:gd name="connsiteX176" fmla="*/ 14476 w 85069"/>
                  <a:gd name="connsiteY176" fmla="*/ 60482 h 85228"/>
                  <a:gd name="connsiteX177" fmla="*/ 18408 w 85069"/>
                  <a:gd name="connsiteY177" fmla="*/ 60056 h 85228"/>
                  <a:gd name="connsiteX178" fmla="*/ 17864 w 85069"/>
                  <a:gd name="connsiteY178" fmla="*/ 59375 h 85228"/>
                  <a:gd name="connsiteX179" fmla="*/ 17346 w 85069"/>
                  <a:gd name="connsiteY179" fmla="*/ 58213 h 85228"/>
                  <a:gd name="connsiteX180" fmla="*/ 13196 w 85069"/>
                  <a:gd name="connsiteY180" fmla="*/ 54156 h 85228"/>
                  <a:gd name="connsiteX181" fmla="*/ 13904 w 85069"/>
                  <a:gd name="connsiteY181" fmla="*/ 53057 h 85228"/>
                  <a:gd name="connsiteX182" fmla="*/ 14947 w 85069"/>
                  <a:gd name="connsiteY182" fmla="*/ 50697 h 85228"/>
                  <a:gd name="connsiteX183" fmla="*/ 16247 w 85069"/>
                  <a:gd name="connsiteY183" fmla="*/ 48735 h 85228"/>
                  <a:gd name="connsiteX184" fmla="*/ 17283 w 85069"/>
                  <a:gd name="connsiteY184" fmla="*/ 48209 h 85228"/>
                  <a:gd name="connsiteX185" fmla="*/ 18987 w 85069"/>
                  <a:gd name="connsiteY185" fmla="*/ 46816 h 85228"/>
                  <a:gd name="connsiteX186" fmla="*/ 22691 w 85069"/>
                  <a:gd name="connsiteY186" fmla="*/ 42733 h 85228"/>
                  <a:gd name="connsiteX187" fmla="*/ 25046 w 85069"/>
                  <a:gd name="connsiteY187" fmla="*/ 39401 h 85228"/>
                  <a:gd name="connsiteX188" fmla="*/ 26800 w 85069"/>
                  <a:gd name="connsiteY188" fmla="*/ 35438 h 85228"/>
                  <a:gd name="connsiteX189" fmla="*/ 29369 w 85069"/>
                  <a:gd name="connsiteY189" fmla="*/ 24495 h 85228"/>
                  <a:gd name="connsiteX190" fmla="*/ 30130 w 85069"/>
                  <a:gd name="connsiteY190" fmla="*/ 22631 h 85228"/>
                  <a:gd name="connsiteX191" fmla="*/ 31369 w 85069"/>
                  <a:gd name="connsiteY191" fmla="*/ 20562 h 85228"/>
                  <a:gd name="connsiteX192" fmla="*/ 32924 w 85069"/>
                  <a:gd name="connsiteY192" fmla="*/ 20952 h 85228"/>
                  <a:gd name="connsiteX193" fmla="*/ 34006 w 85069"/>
                  <a:gd name="connsiteY193" fmla="*/ 21548 h 85228"/>
                  <a:gd name="connsiteX194" fmla="*/ 37837 w 85069"/>
                  <a:gd name="connsiteY194" fmla="*/ 19984 h 85228"/>
                  <a:gd name="connsiteX195" fmla="*/ 44408 w 85069"/>
                  <a:gd name="connsiteY195" fmla="*/ 15914 h 85228"/>
                  <a:gd name="connsiteX196" fmla="*/ 46344 w 85069"/>
                  <a:gd name="connsiteY196" fmla="*/ 12387 h 85228"/>
                  <a:gd name="connsiteX197" fmla="*/ 48247 w 85069"/>
                  <a:gd name="connsiteY197" fmla="*/ 10746 h 85228"/>
                  <a:gd name="connsiteX198" fmla="*/ 55798 w 85069"/>
                  <a:gd name="connsiteY198" fmla="*/ 7544 h 85228"/>
                  <a:gd name="connsiteX199" fmla="*/ 59970 w 85069"/>
                  <a:gd name="connsiteY199" fmla="*/ 6584 h 85228"/>
                  <a:gd name="connsiteX200" fmla="*/ 66405 w 85069"/>
                  <a:gd name="connsiteY200" fmla="*/ 6337 h 85228"/>
                  <a:gd name="connsiteX201" fmla="*/ 71056 w 85069"/>
                  <a:gd name="connsiteY201" fmla="*/ 5765 h 85228"/>
                  <a:gd name="connsiteX202" fmla="*/ 48808 w 85069"/>
                  <a:gd name="connsiteY202" fmla="*/ 5486 h 85228"/>
                  <a:gd name="connsiteX203" fmla="*/ 49365 w 85069"/>
                  <a:gd name="connsiteY203" fmla="*/ 5650 h 85228"/>
                  <a:gd name="connsiteX204" fmla="*/ 43686 w 85069"/>
                  <a:gd name="connsiteY204" fmla="*/ 7226 h 85228"/>
                  <a:gd name="connsiteX205" fmla="*/ 41626 w 85069"/>
                  <a:gd name="connsiteY205" fmla="*/ 7466 h 85228"/>
                  <a:gd name="connsiteX206" fmla="*/ 40689 w 85069"/>
                  <a:gd name="connsiteY206" fmla="*/ 7044 h 85228"/>
                  <a:gd name="connsiteX207" fmla="*/ 45662 w 85069"/>
                  <a:gd name="connsiteY207" fmla="*/ 5850 h 85228"/>
                  <a:gd name="connsiteX208" fmla="*/ 55859 w 85069"/>
                  <a:gd name="connsiteY208" fmla="*/ 4536 h 85228"/>
                  <a:gd name="connsiteX209" fmla="*/ 57008 w 85069"/>
                  <a:gd name="connsiteY209" fmla="*/ 4840 h 85228"/>
                  <a:gd name="connsiteX210" fmla="*/ 57031 w 85069"/>
                  <a:gd name="connsiteY210" fmla="*/ 5026 h 85228"/>
                  <a:gd name="connsiteX211" fmla="*/ 52669 w 85069"/>
                  <a:gd name="connsiteY211" fmla="*/ 5514 h 85228"/>
                  <a:gd name="connsiteX212" fmla="*/ 51194 w 85069"/>
                  <a:gd name="connsiteY212" fmla="*/ 5145 h 85228"/>
                  <a:gd name="connsiteX213" fmla="*/ 50951 w 85069"/>
                  <a:gd name="connsiteY213" fmla="*/ 4795 h 85228"/>
                  <a:gd name="connsiteX214" fmla="*/ 52140 w 85069"/>
                  <a:gd name="connsiteY214" fmla="*/ 4587 h 85228"/>
                  <a:gd name="connsiteX215" fmla="*/ 65028 w 85069"/>
                  <a:gd name="connsiteY215" fmla="*/ 3334 h 85228"/>
                  <a:gd name="connsiteX216" fmla="*/ 65967 w 85069"/>
                  <a:gd name="connsiteY216" fmla="*/ 3462 h 85228"/>
                  <a:gd name="connsiteX217" fmla="*/ 62868 w 85069"/>
                  <a:gd name="connsiteY217" fmla="*/ 4484 h 85228"/>
                  <a:gd name="connsiteX218" fmla="*/ 62117 w 85069"/>
                  <a:gd name="connsiteY218" fmla="*/ 4270 h 85228"/>
                  <a:gd name="connsiteX219" fmla="*/ 62302 w 85069"/>
                  <a:gd name="connsiteY219" fmla="*/ 3974 h 85228"/>
                  <a:gd name="connsiteX220" fmla="*/ 75280 w 85069"/>
                  <a:gd name="connsiteY220" fmla="*/ 0 h 85228"/>
                  <a:gd name="connsiteX221" fmla="*/ 76304 w 85069"/>
                  <a:gd name="connsiteY221" fmla="*/ 0 h 85228"/>
                  <a:gd name="connsiteX222" fmla="*/ 74842 w 85069"/>
                  <a:gd name="connsiteY222" fmla="*/ 1297 h 85228"/>
                  <a:gd name="connsiteX223" fmla="*/ 72793 w 85069"/>
                  <a:gd name="connsiteY223" fmla="*/ 1397 h 85228"/>
                  <a:gd name="connsiteX224" fmla="*/ 73378 w 85069"/>
                  <a:gd name="connsiteY224" fmla="*/ 599 h 852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</a:cxnLst>
                <a:rect l="l" t="t" r="r" b="b"/>
                <a:pathLst>
                  <a:path w="85069" h="85228">
                    <a:moveTo>
                      <a:pt x="5293" y="66254"/>
                    </a:moveTo>
                    <a:lnTo>
                      <a:pt x="8102" y="67143"/>
                    </a:lnTo>
                    <a:lnTo>
                      <a:pt x="11792" y="67572"/>
                    </a:lnTo>
                    <a:lnTo>
                      <a:pt x="14614" y="66356"/>
                    </a:lnTo>
                    <a:lnTo>
                      <a:pt x="16836" y="67392"/>
                    </a:lnTo>
                    <a:lnTo>
                      <a:pt x="19372" y="66634"/>
                    </a:lnTo>
                    <a:lnTo>
                      <a:pt x="19046" y="67741"/>
                    </a:lnTo>
                    <a:lnTo>
                      <a:pt x="18186" y="68963"/>
                    </a:lnTo>
                    <a:lnTo>
                      <a:pt x="15256" y="70722"/>
                    </a:lnTo>
                    <a:lnTo>
                      <a:pt x="12205" y="71876"/>
                    </a:lnTo>
                    <a:lnTo>
                      <a:pt x="10628" y="71732"/>
                    </a:lnTo>
                    <a:lnTo>
                      <a:pt x="9548" y="71128"/>
                    </a:lnTo>
                    <a:lnTo>
                      <a:pt x="8968" y="70494"/>
                    </a:lnTo>
                    <a:lnTo>
                      <a:pt x="7335" y="69883"/>
                    </a:lnTo>
                    <a:lnTo>
                      <a:pt x="5089" y="69576"/>
                    </a:lnTo>
                    <a:lnTo>
                      <a:pt x="3692" y="70237"/>
                    </a:lnTo>
                    <a:lnTo>
                      <a:pt x="2695" y="70863"/>
                    </a:lnTo>
                    <a:lnTo>
                      <a:pt x="1822" y="70760"/>
                    </a:lnTo>
                    <a:lnTo>
                      <a:pt x="1166" y="70237"/>
                    </a:lnTo>
                    <a:lnTo>
                      <a:pt x="663" y="69431"/>
                    </a:lnTo>
                    <a:lnTo>
                      <a:pt x="0" y="66892"/>
                    </a:lnTo>
                    <a:lnTo>
                      <a:pt x="1673" y="66428"/>
                    </a:lnTo>
                    <a:close/>
                    <a:moveTo>
                      <a:pt x="9706" y="56047"/>
                    </a:moveTo>
                    <a:lnTo>
                      <a:pt x="13246" y="56253"/>
                    </a:lnTo>
                    <a:lnTo>
                      <a:pt x="15405" y="57860"/>
                    </a:lnTo>
                    <a:lnTo>
                      <a:pt x="15865" y="58373"/>
                    </a:lnTo>
                    <a:lnTo>
                      <a:pt x="16031" y="58924"/>
                    </a:lnTo>
                    <a:lnTo>
                      <a:pt x="13287" y="59563"/>
                    </a:lnTo>
                    <a:lnTo>
                      <a:pt x="10369" y="57592"/>
                    </a:lnTo>
                    <a:lnTo>
                      <a:pt x="8441" y="58057"/>
                    </a:lnTo>
                    <a:lnTo>
                      <a:pt x="7715" y="57123"/>
                    </a:lnTo>
                    <a:lnTo>
                      <a:pt x="7704" y="56540"/>
                    </a:lnTo>
                    <a:close/>
                    <a:moveTo>
                      <a:pt x="33971" y="13310"/>
                    </a:moveTo>
                    <a:lnTo>
                      <a:pt x="33965" y="16687"/>
                    </a:lnTo>
                    <a:lnTo>
                      <a:pt x="31775" y="18811"/>
                    </a:lnTo>
                    <a:lnTo>
                      <a:pt x="30441" y="18218"/>
                    </a:lnTo>
                    <a:lnTo>
                      <a:pt x="30052" y="17726"/>
                    </a:lnTo>
                    <a:lnTo>
                      <a:pt x="30730" y="16070"/>
                    </a:lnTo>
                    <a:close/>
                    <a:moveTo>
                      <a:pt x="37081" y="9498"/>
                    </a:moveTo>
                    <a:lnTo>
                      <a:pt x="38884" y="9564"/>
                    </a:lnTo>
                    <a:lnTo>
                      <a:pt x="34796" y="11771"/>
                    </a:lnTo>
                    <a:lnTo>
                      <a:pt x="34446" y="11420"/>
                    </a:lnTo>
                    <a:close/>
                    <a:moveTo>
                      <a:pt x="76643" y="5558"/>
                    </a:moveTo>
                    <a:lnTo>
                      <a:pt x="78770" y="7538"/>
                    </a:lnTo>
                    <a:lnTo>
                      <a:pt x="80003" y="8984"/>
                    </a:lnTo>
                    <a:lnTo>
                      <a:pt x="81989" y="9787"/>
                    </a:lnTo>
                    <a:lnTo>
                      <a:pt x="85069" y="10338"/>
                    </a:lnTo>
                    <a:lnTo>
                      <a:pt x="84885" y="13193"/>
                    </a:lnTo>
                    <a:lnTo>
                      <a:pt x="84907" y="18820"/>
                    </a:lnTo>
                    <a:lnTo>
                      <a:pt x="84676" y="19817"/>
                    </a:lnTo>
                    <a:lnTo>
                      <a:pt x="83296" y="22186"/>
                    </a:lnTo>
                    <a:lnTo>
                      <a:pt x="81832" y="26435"/>
                    </a:lnTo>
                    <a:lnTo>
                      <a:pt x="81437" y="29222"/>
                    </a:lnTo>
                    <a:lnTo>
                      <a:pt x="80998" y="29753"/>
                    </a:lnTo>
                    <a:lnTo>
                      <a:pt x="75144" y="29737"/>
                    </a:lnTo>
                    <a:lnTo>
                      <a:pt x="74311" y="30220"/>
                    </a:lnTo>
                    <a:lnTo>
                      <a:pt x="74192" y="30822"/>
                    </a:lnTo>
                    <a:lnTo>
                      <a:pt x="74488" y="31539"/>
                    </a:lnTo>
                    <a:lnTo>
                      <a:pt x="74347" y="32252"/>
                    </a:lnTo>
                    <a:lnTo>
                      <a:pt x="73888" y="32832"/>
                    </a:lnTo>
                    <a:lnTo>
                      <a:pt x="74138" y="33753"/>
                    </a:lnTo>
                    <a:lnTo>
                      <a:pt x="75153" y="34800"/>
                    </a:lnTo>
                    <a:lnTo>
                      <a:pt x="77003" y="35447"/>
                    </a:lnTo>
                    <a:lnTo>
                      <a:pt x="78984" y="35506"/>
                    </a:lnTo>
                    <a:lnTo>
                      <a:pt x="80003" y="35393"/>
                    </a:lnTo>
                    <a:lnTo>
                      <a:pt x="80748" y="36139"/>
                    </a:lnTo>
                    <a:lnTo>
                      <a:pt x="81484" y="37291"/>
                    </a:lnTo>
                    <a:lnTo>
                      <a:pt x="81428" y="38738"/>
                    </a:lnTo>
                    <a:lnTo>
                      <a:pt x="81141" y="40682"/>
                    </a:lnTo>
                    <a:lnTo>
                      <a:pt x="80203" y="42476"/>
                    </a:lnTo>
                    <a:lnTo>
                      <a:pt x="77502" y="44542"/>
                    </a:lnTo>
                    <a:lnTo>
                      <a:pt x="76293" y="45270"/>
                    </a:lnTo>
                    <a:lnTo>
                      <a:pt x="75157" y="45641"/>
                    </a:lnTo>
                    <a:lnTo>
                      <a:pt x="74615" y="46187"/>
                    </a:lnTo>
                    <a:lnTo>
                      <a:pt x="74360" y="46878"/>
                    </a:lnTo>
                    <a:lnTo>
                      <a:pt x="74419" y="47491"/>
                    </a:lnTo>
                    <a:lnTo>
                      <a:pt x="76338" y="49147"/>
                    </a:lnTo>
                    <a:lnTo>
                      <a:pt x="76293" y="49525"/>
                    </a:lnTo>
                    <a:lnTo>
                      <a:pt x="75736" y="50385"/>
                    </a:lnTo>
                    <a:lnTo>
                      <a:pt x="74997" y="51194"/>
                    </a:lnTo>
                    <a:lnTo>
                      <a:pt x="70039" y="52876"/>
                    </a:lnTo>
                    <a:lnTo>
                      <a:pt x="67992" y="52744"/>
                    </a:lnTo>
                    <a:lnTo>
                      <a:pt x="66824" y="53581"/>
                    </a:lnTo>
                    <a:lnTo>
                      <a:pt x="66459" y="53740"/>
                    </a:lnTo>
                    <a:lnTo>
                      <a:pt x="65164" y="52971"/>
                    </a:lnTo>
                    <a:lnTo>
                      <a:pt x="62276" y="52084"/>
                    </a:lnTo>
                    <a:lnTo>
                      <a:pt x="61186" y="52390"/>
                    </a:lnTo>
                    <a:lnTo>
                      <a:pt x="60581" y="52876"/>
                    </a:lnTo>
                    <a:lnTo>
                      <a:pt x="58763" y="53465"/>
                    </a:lnTo>
                    <a:lnTo>
                      <a:pt x="57461" y="54388"/>
                    </a:lnTo>
                    <a:lnTo>
                      <a:pt x="57457" y="55576"/>
                    </a:lnTo>
                    <a:lnTo>
                      <a:pt x="59761" y="58645"/>
                    </a:lnTo>
                    <a:lnTo>
                      <a:pt x="60571" y="59247"/>
                    </a:lnTo>
                    <a:lnTo>
                      <a:pt x="60609" y="60391"/>
                    </a:lnTo>
                    <a:lnTo>
                      <a:pt x="61726" y="61827"/>
                    </a:lnTo>
                    <a:lnTo>
                      <a:pt x="62868" y="63626"/>
                    </a:lnTo>
                    <a:lnTo>
                      <a:pt x="62991" y="64769"/>
                    </a:lnTo>
                    <a:lnTo>
                      <a:pt x="62860" y="65926"/>
                    </a:lnTo>
                    <a:lnTo>
                      <a:pt x="62270" y="67562"/>
                    </a:lnTo>
                    <a:lnTo>
                      <a:pt x="60273" y="71394"/>
                    </a:lnTo>
                    <a:lnTo>
                      <a:pt x="60249" y="72129"/>
                    </a:lnTo>
                    <a:lnTo>
                      <a:pt x="60417" y="72687"/>
                    </a:lnTo>
                    <a:lnTo>
                      <a:pt x="61102" y="72841"/>
                    </a:lnTo>
                    <a:lnTo>
                      <a:pt x="61622" y="73130"/>
                    </a:lnTo>
                    <a:lnTo>
                      <a:pt x="61469" y="73640"/>
                    </a:lnTo>
                    <a:lnTo>
                      <a:pt x="57733" y="76293"/>
                    </a:lnTo>
                    <a:lnTo>
                      <a:pt x="57251" y="76757"/>
                    </a:lnTo>
                    <a:lnTo>
                      <a:pt x="55684" y="76626"/>
                    </a:lnTo>
                    <a:lnTo>
                      <a:pt x="55444" y="77069"/>
                    </a:lnTo>
                    <a:lnTo>
                      <a:pt x="55658" y="77784"/>
                    </a:lnTo>
                    <a:lnTo>
                      <a:pt x="56267" y="78410"/>
                    </a:lnTo>
                    <a:lnTo>
                      <a:pt x="57601" y="78740"/>
                    </a:lnTo>
                    <a:lnTo>
                      <a:pt x="58746" y="79411"/>
                    </a:lnTo>
                    <a:lnTo>
                      <a:pt x="59666" y="80726"/>
                    </a:lnTo>
                    <a:lnTo>
                      <a:pt x="58461" y="85228"/>
                    </a:lnTo>
                    <a:lnTo>
                      <a:pt x="54114" y="85109"/>
                    </a:lnTo>
                    <a:lnTo>
                      <a:pt x="53002" y="84963"/>
                    </a:lnTo>
                    <a:lnTo>
                      <a:pt x="51821" y="84523"/>
                    </a:lnTo>
                    <a:lnTo>
                      <a:pt x="51818" y="84520"/>
                    </a:lnTo>
                    <a:lnTo>
                      <a:pt x="51278" y="83611"/>
                    </a:lnTo>
                    <a:lnTo>
                      <a:pt x="50622" y="82514"/>
                    </a:lnTo>
                    <a:lnTo>
                      <a:pt x="50801" y="81842"/>
                    </a:lnTo>
                    <a:lnTo>
                      <a:pt x="52771" y="79931"/>
                    </a:lnTo>
                    <a:lnTo>
                      <a:pt x="53067" y="79403"/>
                    </a:lnTo>
                    <a:lnTo>
                      <a:pt x="52864" y="79120"/>
                    </a:lnTo>
                    <a:lnTo>
                      <a:pt x="53062" y="78278"/>
                    </a:lnTo>
                    <a:lnTo>
                      <a:pt x="54576" y="75424"/>
                    </a:lnTo>
                    <a:lnTo>
                      <a:pt x="54772" y="74277"/>
                    </a:lnTo>
                    <a:lnTo>
                      <a:pt x="54095" y="73474"/>
                    </a:lnTo>
                    <a:lnTo>
                      <a:pt x="53118" y="72994"/>
                    </a:lnTo>
                    <a:lnTo>
                      <a:pt x="49944" y="72146"/>
                    </a:lnTo>
                    <a:lnTo>
                      <a:pt x="48433" y="70949"/>
                    </a:lnTo>
                    <a:lnTo>
                      <a:pt x="47733" y="69903"/>
                    </a:lnTo>
                    <a:lnTo>
                      <a:pt x="47027" y="69609"/>
                    </a:lnTo>
                    <a:lnTo>
                      <a:pt x="45986" y="69962"/>
                    </a:lnTo>
                    <a:lnTo>
                      <a:pt x="43356" y="70351"/>
                    </a:lnTo>
                    <a:lnTo>
                      <a:pt x="41218" y="69787"/>
                    </a:lnTo>
                    <a:lnTo>
                      <a:pt x="38692" y="67807"/>
                    </a:lnTo>
                    <a:lnTo>
                      <a:pt x="38106" y="66036"/>
                    </a:lnTo>
                    <a:lnTo>
                      <a:pt x="37798" y="64677"/>
                    </a:lnTo>
                    <a:lnTo>
                      <a:pt x="37167" y="64208"/>
                    </a:lnTo>
                    <a:lnTo>
                      <a:pt x="36319" y="64905"/>
                    </a:lnTo>
                    <a:lnTo>
                      <a:pt x="35243" y="66009"/>
                    </a:lnTo>
                    <a:lnTo>
                      <a:pt x="33123" y="66141"/>
                    </a:lnTo>
                    <a:lnTo>
                      <a:pt x="32518" y="65883"/>
                    </a:lnTo>
                    <a:lnTo>
                      <a:pt x="32414" y="65274"/>
                    </a:lnTo>
                    <a:lnTo>
                      <a:pt x="32293" y="64689"/>
                    </a:lnTo>
                    <a:lnTo>
                      <a:pt x="31710" y="63964"/>
                    </a:lnTo>
                    <a:lnTo>
                      <a:pt x="31080" y="63561"/>
                    </a:lnTo>
                    <a:lnTo>
                      <a:pt x="28389" y="65599"/>
                    </a:lnTo>
                    <a:lnTo>
                      <a:pt x="27389" y="65594"/>
                    </a:lnTo>
                    <a:lnTo>
                      <a:pt x="26126" y="64811"/>
                    </a:lnTo>
                    <a:lnTo>
                      <a:pt x="25502" y="64043"/>
                    </a:lnTo>
                    <a:lnTo>
                      <a:pt x="24120" y="64481"/>
                    </a:lnTo>
                    <a:lnTo>
                      <a:pt x="22878" y="65427"/>
                    </a:lnTo>
                    <a:lnTo>
                      <a:pt x="23304" y="67203"/>
                    </a:lnTo>
                    <a:lnTo>
                      <a:pt x="22634" y="67528"/>
                    </a:lnTo>
                    <a:lnTo>
                      <a:pt x="21104" y="67366"/>
                    </a:lnTo>
                    <a:lnTo>
                      <a:pt x="19372" y="66634"/>
                    </a:lnTo>
                    <a:lnTo>
                      <a:pt x="17441" y="66193"/>
                    </a:lnTo>
                    <a:lnTo>
                      <a:pt x="14515" y="64968"/>
                    </a:lnTo>
                    <a:lnTo>
                      <a:pt x="10432" y="65962"/>
                    </a:lnTo>
                    <a:lnTo>
                      <a:pt x="7594" y="64772"/>
                    </a:lnTo>
                    <a:lnTo>
                      <a:pt x="5236" y="64654"/>
                    </a:lnTo>
                    <a:lnTo>
                      <a:pt x="3768" y="63706"/>
                    </a:lnTo>
                    <a:lnTo>
                      <a:pt x="2185" y="62102"/>
                    </a:lnTo>
                    <a:lnTo>
                      <a:pt x="3306" y="61046"/>
                    </a:lnTo>
                    <a:lnTo>
                      <a:pt x="4390" y="60680"/>
                    </a:lnTo>
                    <a:lnTo>
                      <a:pt x="8709" y="60476"/>
                    </a:lnTo>
                    <a:lnTo>
                      <a:pt x="11850" y="61118"/>
                    </a:lnTo>
                    <a:lnTo>
                      <a:pt x="17495" y="64600"/>
                    </a:lnTo>
                    <a:lnTo>
                      <a:pt x="18920" y="64573"/>
                    </a:lnTo>
                    <a:lnTo>
                      <a:pt x="20432" y="64134"/>
                    </a:lnTo>
                    <a:lnTo>
                      <a:pt x="19663" y="63185"/>
                    </a:lnTo>
                    <a:lnTo>
                      <a:pt x="18251" y="62733"/>
                    </a:lnTo>
                    <a:lnTo>
                      <a:pt x="16150" y="61797"/>
                    </a:lnTo>
                    <a:lnTo>
                      <a:pt x="14476" y="60482"/>
                    </a:lnTo>
                    <a:lnTo>
                      <a:pt x="18408" y="60056"/>
                    </a:lnTo>
                    <a:lnTo>
                      <a:pt x="17864" y="59375"/>
                    </a:lnTo>
                    <a:lnTo>
                      <a:pt x="17346" y="58213"/>
                    </a:lnTo>
                    <a:lnTo>
                      <a:pt x="13196" y="54156"/>
                    </a:lnTo>
                    <a:lnTo>
                      <a:pt x="13904" y="53057"/>
                    </a:lnTo>
                    <a:lnTo>
                      <a:pt x="14947" y="50697"/>
                    </a:lnTo>
                    <a:lnTo>
                      <a:pt x="16247" y="48735"/>
                    </a:lnTo>
                    <a:lnTo>
                      <a:pt x="17283" y="48209"/>
                    </a:lnTo>
                    <a:lnTo>
                      <a:pt x="18987" y="46816"/>
                    </a:lnTo>
                    <a:lnTo>
                      <a:pt x="22691" y="42733"/>
                    </a:lnTo>
                    <a:lnTo>
                      <a:pt x="25046" y="39401"/>
                    </a:lnTo>
                    <a:lnTo>
                      <a:pt x="26800" y="35438"/>
                    </a:lnTo>
                    <a:lnTo>
                      <a:pt x="29369" y="24495"/>
                    </a:lnTo>
                    <a:lnTo>
                      <a:pt x="30130" y="22631"/>
                    </a:lnTo>
                    <a:lnTo>
                      <a:pt x="31369" y="20562"/>
                    </a:lnTo>
                    <a:lnTo>
                      <a:pt x="32924" y="20952"/>
                    </a:lnTo>
                    <a:lnTo>
                      <a:pt x="34006" y="21548"/>
                    </a:lnTo>
                    <a:lnTo>
                      <a:pt x="37837" y="19984"/>
                    </a:lnTo>
                    <a:lnTo>
                      <a:pt x="44408" y="15914"/>
                    </a:lnTo>
                    <a:lnTo>
                      <a:pt x="46344" y="12387"/>
                    </a:lnTo>
                    <a:lnTo>
                      <a:pt x="48247" y="10746"/>
                    </a:lnTo>
                    <a:lnTo>
                      <a:pt x="55798" y="7544"/>
                    </a:lnTo>
                    <a:lnTo>
                      <a:pt x="59970" y="6584"/>
                    </a:lnTo>
                    <a:lnTo>
                      <a:pt x="66405" y="6337"/>
                    </a:lnTo>
                    <a:lnTo>
                      <a:pt x="71056" y="5765"/>
                    </a:lnTo>
                    <a:close/>
                    <a:moveTo>
                      <a:pt x="48808" y="5486"/>
                    </a:moveTo>
                    <a:lnTo>
                      <a:pt x="49365" y="5650"/>
                    </a:lnTo>
                    <a:lnTo>
                      <a:pt x="43686" y="7226"/>
                    </a:lnTo>
                    <a:lnTo>
                      <a:pt x="41626" y="7466"/>
                    </a:lnTo>
                    <a:lnTo>
                      <a:pt x="40689" y="7044"/>
                    </a:lnTo>
                    <a:lnTo>
                      <a:pt x="45662" y="5850"/>
                    </a:lnTo>
                    <a:close/>
                    <a:moveTo>
                      <a:pt x="55859" y="4536"/>
                    </a:moveTo>
                    <a:lnTo>
                      <a:pt x="57008" y="4840"/>
                    </a:lnTo>
                    <a:lnTo>
                      <a:pt x="57031" y="5026"/>
                    </a:lnTo>
                    <a:lnTo>
                      <a:pt x="52669" y="5514"/>
                    </a:lnTo>
                    <a:lnTo>
                      <a:pt x="51194" y="5145"/>
                    </a:lnTo>
                    <a:lnTo>
                      <a:pt x="50951" y="4795"/>
                    </a:lnTo>
                    <a:lnTo>
                      <a:pt x="52140" y="4587"/>
                    </a:lnTo>
                    <a:close/>
                    <a:moveTo>
                      <a:pt x="65028" y="3334"/>
                    </a:moveTo>
                    <a:lnTo>
                      <a:pt x="65967" y="3462"/>
                    </a:lnTo>
                    <a:lnTo>
                      <a:pt x="62868" y="4484"/>
                    </a:lnTo>
                    <a:lnTo>
                      <a:pt x="62117" y="4270"/>
                    </a:lnTo>
                    <a:lnTo>
                      <a:pt x="62302" y="3974"/>
                    </a:lnTo>
                    <a:close/>
                    <a:moveTo>
                      <a:pt x="75280" y="0"/>
                    </a:moveTo>
                    <a:lnTo>
                      <a:pt x="76304" y="0"/>
                    </a:lnTo>
                    <a:lnTo>
                      <a:pt x="74842" y="1297"/>
                    </a:lnTo>
                    <a:lnTo>
                      <a:pt x="72793" y="1397"/>
                    </a:lnTo>
                    <a:lnTo>
                      <a:pt x="73378" y="59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7" name="ee4p_NO_1_15912">
                <a:extLst>
                  <a:ext uri="{FF2B5EF4-FFF2-40B4-BE49-F238E27FC236}">
                    <a16:creationId xmlns:a16="http://schemas.microsoft.com/office/drawing/2014/main" id="{FF25FC45-F6D3-F211-E383-982F97611603}"/>
                  </a:ext>
                </a:extLst>
              </p:cNvPr>
              <p:cNvSpPr>
                <a:spLocks noChangeAspect="1"/>
              </p:cNvSpPr>
              <p:nvPr>
                <p:custDataLst>
                  <p:tags r:id="rId268"/>
                </p:custDataLst>
              </p:nvPr>
            </p:nvSpPr>
            <p:spPr>
              <a:xfrm>
                <a:off x="4192379" y="1700213"/>
                <a:ext cx="2293260" cy="1865356"/>
              </a:xfrm>
              <a:custGeom>
                <a:avLst/>
                <a:gdLst>
                  <a:gd name="connsiteX0" fmla="*/ 4236 w 578488"/>
                  <a:gd name="connsiteY0" fmla="*/ 391131 h 470547"/>
                  <a:gd name="connsiteX1" fmla="*/ 5553 w 578488"/>
                  <a:gd name="connsiteY1" fmla="*/ 393229 h 470547"/>
                  <a:gd name="connsiteX2" fmla="*/ 6342 w 578488"/>
                  <a:gd name="connsiteY2" fmla="*/ 395934 h 470547"/>
                  <a:gd name="connsiteX3" fmla="*/ 6413 w 578488"/>
                  <a:gd name="connsiteY3" fmla="*/ 399875 h 470547"/>
                  <a:gd name="connsiteX4" fmla="*/ 4376 w 578488"/>
                  <a:gd name="connsiteY4" fmla="*/ 399577 h 470547"/>
                  <a:gd name="connsiteX5" fmla="*/ 3461 w 578488"/>
                  <a:gd name="connsiteY5" fmla="*/ 398066 h 470547"/>
                  <a:gd name="connsiteX6" fmla="*/ 3196 w 578488"/>
                  <a:gd name="connsiteY6" fmla="*/ 397101 h 470547"/>
                  <a:gd name="connsiteX7" fmla="*/ 3355 w 578488"/>
                  <a:gd name="connsiteY7" fmla="*/ 394818 h 470547"/>
                  <a:gd name="connsiteX8" fmla="*/ 2897 w 578488"/>
                  <a:gd name="connsiteY8" fmla="*/ 392461 h 470547"/>
                  <a:gd name="connsiteX9" fmla="*/ 3498 w 578488"/>
                  <a:gd name="connsiteY9" fmla="*/ 391290 h 470547"/>
                  <a:gd name="connsiteX10" fmla="*/ 2573 w 578488"/>
                  <a:gd name="connsiteY10" fmla="*/ 366113 h 470547"/>
                  <a:gd name="connsiteX11" fmla="*/ 3852 w 578488"/>
                  <a:gd name="connsiteY11" fmla="*/ 367834 h 470547"/>
                  <a:gd name="connsiteX12" fmla="*/ 3530 w 578488"/>
                  <a:gd name="connsiteY12" fmla="*/ 369975 h 470547"/>
                  <a:gd name="connsiteX13" fmla="*/ 1572 w 578488"/>
                  <a:gd name="connsiteY13" fmla="*/ 370400 h 470547"/>
                  <a:gd name="connsiteX14" fmla="*/ 0 w 578488"/>
                  <a:gd name="connsiteY14" fmla="*/ 370038 h 470547"/>
                  <a:gd name="connsiteX15" fmla="*/ 561 w 578488"/>
                  <a:gd name="connsiteY15" fmla="*/ 366825 h 470547"/>
                  <a:gd name="connsiteX16" fmla="*/ 1384 w 578488"/>
                  <a:gd name="connsiteY16" fmla="*/ 366299 h 470547"/>
                  <a:gd name="connsiteX17" fmla="*/ 72406 w 578488"/>
                  <a:gd name="connsiteY17" fmla="*/ 288176 h 470547"/>
                  <a:gd name="connsiteX18" fmla="*/ 73790 w 578488"/>
                  <a:gd name="connsiteY18" fmla="*/ 289555 h 470547"/>
                  <a:gd name="connsiteX19" fmla="*/ 73896 w 578488"/>
                  <a:gd name="connsiteY19" fmla="*/ 291823 h 470547"/>
                  <a:gd name="connsiteX20" fmla="*/ 73052 w 578488"/>
                  <a:gd name="connsiteY20" fmla="*/ 292828 h 470547"/>
                  <a:gd name="connsiteX21" fmla="*/ 70884 w 578488"/>
                  <a:gd name="connsiteY21" fmla="*/ 292852 h 470547"/>
                  <a:gd name="connsiteX22" fmla="*/ 68309 w 578488"/>
                  <a:gd name="connsiteY22" fmla="*/ 292314 h 470547"/>
                  <a:gd name="connsiteX23" fmla="*/ 66697 w 578488"/>
                  <a:gd name="connsiteY23" fmla="*/ 291172 h 470547"/>
                  <a:gd name="connsiteX24" fmla="*/ 66446 w 578488"/>
                  <a:gd name="connsiteY24" fmla="*/ 290164 h 470547"/>
                  <a:gd name="connsiteX25" fmla="*/ 69417 w 578488"/>
                  <a:gd name="connsiteY25" fmla="*/ 288910 h 470547"/>
                  <a:gd name="connsiteX26" fmla="*/ 87688 w 578488"/>
                  <a:gd name="connsiteY26" fmla="*/ 276468 h 470547"/>
                  <a:gd name="connsiteX27" fmla="*/ 88672 w 578488"/>
                  <a:gd name="connsiteY27" fmla="*/ 277636 h 470547"/>
                  <a:gd name="connsiteX28" fmla="*/ 88798 w 578488"/>
                  <a:gd name="connsiteY28" fmla="*/ 279233 h 470547"/>
                  <a:gd name="connsiteX29" fmla="*/ 88172 w 578488"/>
                  <a:gd name="connsiteY29" fmla="*/ 280023 h 470547"/>
                  <a:gd name="connsiteX30" fmla="*/ 81190 w 578488"/>
                  <a:gd name="connsiteY30" fmla="*/ 281299 h 470547"/>
                  <a:gd name="connsiteX31" fmla="*/ 78655 w 578488"/>
                  <a:gd name="connsiteY31" fmla="*/ 281381 h 470547"/>
                  <a:gd name="connsiteX32" fmla="*/ 77129 w 578488"/>
                  <a:gd name="connsiteY32" fmla="*/ 280596 h 470547"/>
                  <a:gd name="connsiteX33" fmla="*/ 80758 w 578488"/>
                  <a:gd name="connsiteY33" fmla="*/ 279027 h 470547"/>
                  <a:gd name="connsiteX34" fmla="*/ 86455 w 578488"/>
                  <a:gd name="connsiteY34" fmla="*/ 277535 h 470547"/>
                  <a:gd name="connsiteX35" fmla="*/ 86997 w 578488"/>
                  <a:gd name="connsiteY35" fmla="*/ 276585 h 470547"/>
                  <a:gd name="connsiteX36" fmla="*/ 137580 w 578488"/>
                  <a:gd name="connsiteY36" fmla="*/ 234750 h 470547"/>
                  <a:gd name="connsiteX37" fmla="*/ 140049 w 578488"/>
                  <a:gd name="connsiteY37" fmla="*/ 234842 h 470547"/>
                  <a:gd name="connsiteX38" fmla="*/ 142560 w 578488"/>
                  <a:gd name="connsiteY38" fmla="*/ 237291 h 470547"/>
                  <a:gd name="connsiteX39" fmla="*/ 142234 w 578488"/>
                  <a:gd name="connsiteY39" fmla="*/ 238798 h 470547"/>
                  <a:gd name="connsiteX40" fmla="*/ 141074 w 578488"/>
                  <a:gd name="connsiteY40" fmla="*/ 239795 h 470547"/>
                  <a:gd name="connsiteX41" fmla="*/ 138498 w 578488"/>
                  <a:gd name="connsiteY41" fmla="*/ 238994 h 470547"/>
                  <a:gd name="connsiteX42" fmla="*/ 133413 w 578488"/>
                  <a:gd name="connsiteY42" fmla="*/ 239613 h 470547"/>
                  <a:gd name="connsiteX43" fmla="*/ 131364 w 578488"/>
                  <a:gd name="connsiteY43" fmla="*/ 238638 h 470547"/>
                  <a:gd name="connsiteX44" fmla="*/ 132992 w 578488"/>
                  <a:gd name="connsiteY44" fmla="*/ 236741 h 470547"/>
                  <a:gd name="connsiteX45" fmla="*/ 156473 w 578488"/>
                  <a:gd name="connsiteY45" fmla="*/ 208471 h 470547"/>
                  <a:gd name="connsiteX46" fmla="*/ 158617 w 578488"/>
                  <a:gd name="connsiteY46" fmla="*/ 208629 h 470547"/>
                  <a:gd name="connsiteX47" fmla="*/ 159300 w 578488"/>
                  <a:gd name="connsiteY47" fmla="*/ 209433 h 470547"/>
                  <a:gd name="connsiteX48" fmla="*/ 158520 w 578488"/>
                  <a:gd name="connsiteY48" fmla="*/ 211357 h 470547"/>
                  <a:gd name="connsiteX49" fmla="*/ 157058 w 578488"/>
                  <a:gd name="connsiteY49" fmla="*/ 212476 h 470547"/>
                  <a:gd name="connsiteX50" fmla="*/ 154327 w 578488"/>
                  <a:gd name="connsiteY50" fmla="*/ 212155 h 470547"/>
                  <a:gd name="connsiteX51" fmla="*/ 154035 w 578488"/>
                  <a:gd name="connsiteY51" fmla="*/ 211196 h 470547"/>
                  <a:gd name="connsiteX52" fmla="*/ 154815 w 578488"/>
                  <a:gd name="connsiteY52" fmla="*/ 209272 h 470547"/>
                  <a:gd name="connsiteX53" fmla="*/ 175748 w 578488"/>
                  <a:gd name="connsiteY53" fmla="*/ 197328 h 470547"/>
                  <a:gd name="connsiteX54" fmla="*/ 176449 w 578488"/>
                  <a:gd name="connsiteY54" fmla="*/ 198048 h 470547"/>
                  <a:gd name="connsiteX55" fmla="*/ 175119 w 578488"/>
                  <a:gd name="connsiteY55" fmla="*/ 199065 h 470547"/>
                  <a:gd name="connsiteX56" fmla="*/ 170496 w 578488"/>
                  <a:gd name="connsiteY56" fmla="*/ 201327 h 470547"/>
                  <a:gd name="connsiteX57" fmla="*/ 168725 w 578488"/>
                  <a:gd name="connsiteY57" fmla="*/ 201432 h 470547"/>
                  <a:gd name="connsiteX58" fmla="*/ 168740 w 578488"/>
                  <a:gd name="connsiteY58" fmla="*/ 199939 h 470547"/>
                  <a:gd name="connsiteX59" fmla="*/ 169755 w 578488"/>
                  <a:gd name="connsiteY59" fmla="*/ 198582 h 470547"/>
                  <a:gd name="connsiteX60" fmla="*/ 171364 w 578488"/>
                  <a:gd name="connsiteY60" fmla="*/ 197674 h 470547"/>
                  <a:gd name="connsiteX61" fmla="*/ 173433 w 578488"/>
                  <a:gd name="connsiteY61" fmla="*/ 197432 h 470547"/>
                  <a:gd name="connsiteX62" fmla="*/ 170891 w 578488"/>
                  <a:gd name="connsiteY62" fmla="*/ 190029 h 470547"/>
                  <a:gd name="connsiteX63" fmla="*/ 172956 w 578488"/>
                  <a:gd name="connsiteY63" fmla="*/ 191226 h 470547"/>
                  <a:gd name="connsiteX64" fmla="*/ 172996 w 578488"/>
                  <a:gd name="connsiteY64" fmla="*/ 193260 h 470547"/>
                  <a:gd name="connsiteX65" fmla="*/ 171973 w 578488"/>
                  <a:gd name="connsiteY65" fmla="*/ 195112 h 470547"/>
                  <a:gd name="connsiteX66" fmla="*/ 168514 w 578488"/>
                  <a:gd name="connsiteY66" fmla="*/ 196161 h 470547"/>
                  <a:gd name="connsiteX67" fmla="*/ 166467 w 578488"/>
                  <a:gd name="connsiteY67" fmla="*/ 196404 h 470547"/>
                  <a:gd name="connsiteX68" fmla="*/ 166808 w 578488"/>
                  <a:gd name="connsiteY68" fmla="*/ 194788 h 470547"/>
                  <a:gd name="connsiteX69" fmla="*/ 168464 w 578488"/>
                  <a:gd name="connsiteY69" fmla="*/ 193253 h 470547"/>
                  <a:gd name="connsiteX70" fmla="*/ 169099 w 578488"/>
                  <a:gd name="connsiteY70" fmla="*/ 192202 h 470547"/>
                  <a:gd name="connsiteX71" fmla="*/ 169429 w 578488"/>
                  <a:gd name="connsiteY71" fmla="*/ 190966 h 470547"/>
                  <a:gd name="connsiteX72" fmla="*/ 182845 w 578488"/>
                  <a:gd name="connsiteY72" fmla="*/ 120497 h 470547"/>
                  <a:gd name="connsiteX73" fmla="*/ 184057 w 578488"/>
                  <a:gd name="connsiteY73" fmla="*/ 121330 h 470547"/>
                  <a:gd name="connsiteX74" fmla="*/ 183502 w 578488"/>
                  <a:gd name="connsiteY74" fmla="*/ 123106 h 470547"/>
                  <a:gd name="connsiteX75" fmla="*/ 183513 w 578488"/>
                  <a:gd name="connsiteY75" fmla="*/ 124862 h 470547"/>
                  <a:gd name="connsiteX76" fmla="*/ 182990 w 578488"/>
                  <a:gd name="connsiteY76" fmla="*/ 125692 h 470547"/>
                  <a:gd name="connsiteX77" fmla="*/ 180716 w 578488"/>
                  <a:gd name="connsiteY77" fmla="*/ 127984 h 470547"/>
                  <a:gd name="connsiteX78" fmla="*/ 177449 w 578488"/>
                  <a:gd name="connsiteY78" fmla="*/ 129987 h 470547"/>
                  <a:gd name="connsiteX79" fmla="*/ 178641 w 578488"/>
                  <a:gd name="connsiteY79" fmla="*/ 126329 h 470547"/>
                  <a:gd name="connsiteX80" fmla="*/ 180405 w 578488"/>
                  <a:gd name="connsiteY80" fmla="*/ 122620 h 470547"/>
                  <a:gd name="connsiteX81" fmla="*/ 198678 w 578488"/>
                  <a:gd name="connsiteY81" fmla="*/ 112691 h 470547"/>
                  <a:gd name="connsiteX82" fmla="*/ 200641 w 578488"/>
                  <a:gd name="connsiteY82" fmla="*/ 113103 h 470547"/>
                  <a:gd name="connsiteX83" fmla="*/ 201956 w 578488"/>
                  <a:gd name="connsiteY83" fmla="*/ 113756 h 470547"/>
                  <a:gd name="connsiteX84" fmla="*/ 205392 w 578488"/>
                  <a:gd name="connsiteY84" fmla="*/ 113566 h 470547"/>
                  <a:gd name="connsiteX85" fmla="*/ 206080 w 578488"/>
                  <a:gd name="connsiteY85" fmla="*/ 113810 h 470547"/>
                  <a:gd name="connsiteX86" fmla="*/ 205592 w 578488"/>
                  <a:gd name="connsiteY86" fmla="*/ 114887 h 470547"/>
                  <a:gd name="connsiteX87" fmla="*/ 204100 w 578488"/>
                  <a:gd name="connsiteY87" fmla="*/ 116071 h 470547"/>
                  <a:gd name="connsiteX88" fmla="*/ 200969 w 578488"/>
                  <a:gd name="connsiteY88" fmla="*/ 116797 h 470547"/>
                  <a:gd name="connsiteX89" fmla="*/ 199561 w 578488"/>
                  <a:gd name="connsiteY89" fmla="*/ 118603 h 470547"/>
                  <a:gd name="connsiteX90" fmla="*/ 198553 w 578488"/>
                  <a:gd name="connsiteY90" fmla="*/ 119216 h 470547"/>
                  <a:gd name="connsiteX91" fmla="*/ 195849 w 578488"/>
                  <a:gd name="connsiteY91" fmla="*/ 119224 h 470547"/>
                  <a:gd name="connsiteX92" fmla="*/ 194254 w 578488"/>
                  <a:gd name="connsiteY92" fmla="*/ 119640 h 470547"/>
                  <a:gd name="connsiteX93" fmla="*/ 192291 w 578488"/>
                  <a:gd name="connsiteY93" fmla="*/ 121245 h 470547"/>
                  <a:gd name="connsiteX94" fmla="*/ 190721 w 578488"/>
                  <a:gd name="connsiteY94" fmla="*/ 120062 h 470547"/>
                  <a:gd name="connsiteX95" fmla="*/ 190283 w 578488"/>
                  <a:gd name="connsiteY95" fmla="*/ 120902 h 470547"/>
                  <a:gd name="connsiteX96" fmla="*/ 189997 w 578488"/>
                  <a:gd name="connsiteY96" fmla="*/ 122401 h 470547"/>
                  <a:gd name="connsiteX97" fmla="*/ 189125 w 578488"/>
                  <a:gd name="connsiteY97" fmla="*/ 122841 h 470547"/>
                  <a:gd name="connsiteX98" fmla="*/ 186413 w 578488"/>
                  <a:gd name="connsiteY98" fmla="*/ 123384 h 470547"/>
                  <a:gd name="connsiteX99" fmla="*/ 185752 w 578488"/>
                  <a:gd name="connsiteY99" fmla="*/ 119891 h 470547"/>
                  <a:gd name="connsiteX100" fmla="*/ 187000 w 578488"/>
                  <a:gd name="connsiteY100" fmla="*/ 118622 h 470547"/>
                  <a:gd name="connsiteX101" fmla="*/ 187978 w 578488"/>
                  <a:gd name="connsiteY101" fmla="*/ 117104 h 470547"/>
                  <a:gd name="connsiteX102" fmla="*/ 189477 w 578488"/>
                  <a:gd name="connsiteY102" fmla="*/ 116872 h 470547"/>
                  <a:gd name="connsiteX103" fmla="*/ 190820 w 578488"/>
                  <a:gd name="connsiteY103" fmla="*/ 116998 h 470547"/>
                  <a:gd name="connsiteX104" fmla="*/ 193237 w 578488"/>
                  <a:gd name="connsiteY104" fmla="*/ 113726 h 470547"/>
                  <a:gd name="connsiteX105" fmla="*/ 196547 w 578488"/>
                  <a:gd name="connsiteY105" fmla="*/ 112796 h 470547"/>
                  <a:gd name="connsiteX106" fmla="*/ 227817 w 578488"/>
                  <a:gd name="connsiteY106" fmla="*/ 84536 h 470547"/>
                  <a:gd name="connsiteX107" fmla="*/ 228398 w 578488"/>
                  <a:gd name="connsiteY107" fmla="*/ 84693 h 470547"/>
                  <a:gd name="connsiteX108" fmla="*/ 229447 w 578488"/>
                  <a:gd name="connsiteY108" fmla="*/ 85561 h 470547"/>
                  <a:gd name="connsiteX109" fmla="*/ 230145 w 578488"/>
                  <a:gd name="connsiteY109" fmla="*/ 87049 h 470547"/>
                  <a:gd name="connsiteX110" fmla="*/ 233021 w 578488"/>
                  <a:gd name="connsiteY110" fmla="*/ 90942 h 470547"/>
                  <a:gd name="connsiteX111" fmla="*/ 234334 w 578488"/>
                  <a:gd name="connsiteY111" fmla="*/ 93213 h 470547"/>
                  <a:gd name="connsiteX112" fmla="*/ 233269 w 578488"/>
                  <a:gd name="connsiteY112" fmla="*/ 97497 h 470547"/>
                  <a:gd name="connsiteX113" fmla="*/ 230475 w 578488"/>
                  <a:gd name="connsiteY113" fmla="*/ 99655 h 470547"/>
                  <a:gd name="connsiteX114" fmla="*/ 226163 w 578488"/>
                  <a:gd name="connsiteY114" fmla="*/ 100039 h 470547"/>
                  <a:gd name="connsiteX115" fmla="*/ 223138 w 578488"/>
                  <a:gd name="connsiteY115" fmla="*/ 99860 h 470547"/>
                  <a:gd name="connsiteX116" fmla="*/ 221231 w 578488"/>
                  <a:gd name="connsiteY116" fmla="*/ 98822 h 470547"/>
                  <a:gd name="connsiteX117" fmla="*/ 220993 w 578488"/>
                  <a:gd name="connsiteY117" fmla="*/ 97657 h 470547"/>
                  <a:gd name="connsiteX118" fmla="*/ 219892 w 578488"/>
                  <a:gd name="connsiteY118" fmla="*/ 97313 h 470547"/>
                  <a:gd name="connsiteX119" fmla="*/ 216987 w 578488"/>
                  <a:gd name="connsiteY119" fmla="*/ 98809 h 470547"/>
                  <a:gd name="connsiteX120" fmla="*/ 214969 w 578488"/>
                  <a:gd name="connsiteY120" fmla="*/ 99011 h 470547"/>
                  <a:gd name="connsiteX121" fmla="*/ 212401 w 578488"/>
                  <a:gd name="connsiteY121" fmla="*/ 97851 h 470547"/>
                  <a:gd name="connsiteX122" fmla="*/ 211710 w 578488"/>
                  <a:gd name="connsiteY122" fmla="*/ 95995 h 470547"/>
                  <a:gd name="connsiteX123" fmla="*/ 214435 w 578488"/>
                  <a:gd name="connsiteY123" fmla="*/ 93665 h 470547"/>
                  <a:gd name="connsiteX124" fmla="*/ 215696 w 578488"/>
                  <a:gd name="connsiteY124" fmla="*/ 91852 h 470547"/>
                  <a:gd name="connsiteX125" fmla="*/ 218720 w 578488"/>
                  <a:gd name="connsiteY125" fmla="*/ 92012 h 470547"/>
                  <a:gd name="connsiteX126" fmla="*/ 219475 w 578488"/>
                  <a:gd name="connsiteY126" fmla="*/ 92576 h 470547"/>
                  <a:gd name="connsiteX127" fmla="*/ 221183 w 578488"/>
                  <a:gd name="connsiteY127" fmla="*/ 92928 h 470547"/>
                  <a:gd name="connsiteX128" fmla="*/ 222222 w 578488"/>
                  <a:gd name="connsiteY128" fmla="*/ 90744 h 470547"/>
                  <a:gd name="connsiteX129" fmla="*/ 221982 w 578488"/>
                  <a:gd name="connsiteY129" fmla="*/ 89232 h 470547"/>
                  <a:gd name="connsiteX130" fmla="*/ 222742 w 578488"/>
                  <a:gd name="connsiteY130" fmla="*/ 88181 h 470547"/>
                  <a:gd name="connsiteX131" fmla="*/ 226394 w 578488"/>
                  <a:gd name="connsiteY131" fmla="*/ 88938 h 470547"/>
                  <a:gd name="connsiteX132" fmla="*/ 226400 w 578488"/>
                  <a:gd name="connsiteY132" fmla="*/ 84826 h 470547"/>
                  <a:gd name="connsiteX133" fmla="*/ 246910 w 578488"/>
                  <a:gd name="connsiteY133" fmla="*/ 73108 h 470547"/>
                  <a:gd name="connsiteX134" fmla="*/ 248739 w 578488"/>
                  <a:gd name="connsiteY134" fmla="*/ 73108 h 470547"/>
                  <a:gd name="connsiteX135" fmla="*/ 250540 w 578488"/>
                  <a:gd name="connsiteY135" fmla="*/ 74204 h 470547"/>
                  <a:gd name="connsiteX136" fmla="*/ 250216 w 578488"/>
                  <a:gd name="connsiteY136" fmla="*/ 76443 h 470547"/>
                  <a:gd name="connsiteX137" fmla="*/ 247515 w 578488"/>
                  <a:gd name="connsiteY137" fmla="*/ 80477 h 470547"/>
                  <a:gd name="connsiteX138" fmla="*/ 243513 w 578488"/>
                  <a:gd name="connsiteY138" fmla="*/ 83908 h 470547"/>
                  <a:gd name="connsiteX139" fmla="*/ 244001 w 578488"/>
                  <a:gd name="connsiteY139" fmla="*/ 86367 h 470547"/>
                  <a:gd name="connsiteX140" fmla="*/ 245595 w 578488"/>
                  <a:gd name="connsiteY140" fmla="*/ 88389 h 470547"/>
                  <a:gd name="connsiteX141" fmla="*/ 245986 w 578488"/>
                  <a:gd name="connsiteY141" fmla="*/ 91839 h 470547"/>
                  <a:gd name="connsiteX142" fmla="*/ 246083 w 578488"/>
                  <a:gd name="connsiteY142" fmla="*/ 95156 h 470547"/>
                  <a:gd name="connsiteX143" fmla="*/ 243049 w 578488"/>
                  <a:gd name="connsiteY143" fmla="*/ 99627 h 470547"/>
                  <a:gd name="connsiteX144" fmla="*/ 242378 w 578488"/>
                  <a:gd name="connsiteY144" fmla="*/ 101772 h 470547"/>
                  <a:gd name="connsiteX145" fmla="*/ 242643 w 578488"/>
                  <a:gd name="connsiteY145" fmla="*/ 102042 h 470547"/>
                  <a:gd name="connsiteX146" fmla="*/ 245656 w 578488"/>
                  <a:gd name="connsiteY146" fmla="*/ 98341 h 470547"/>
                  <a:gd name="connsiteX147" fmla="*/ 248994 w 578488"/>
                  <a:gd name="connsiteY147" fmla="*/ 97185 h 470547"/>
                  <a:gd name="connsiteX148" fmla="*/ 249201 w 578488"/>
                  <a:gd name="connsiteY148" fmla="*/ 95895 h 470547"/>
                  <a:gd name="connsiteX149" fmla="*/ 250495 w 578488"/>
                  <a:gd name="connsiteY149" fmla="*/ 94646 h 470547"/>
                  <a:gd name="connsiteX150" fmla="*/ 250348 w 578488"/>
                  <a:gd name="connsiteY150" fmla="*/ 92605 h 470547"/>
                  <a:gd name="connsiteX151" fmla="*/ 251006 w 578488"/>
                  <a:gd name="connsiteY151" fmla="*/ 90944 h 470547"/>
                  <a:gd name="connsiteX152" fmla="*/ 252708 w 578488"/>
                  <a:gd name="connsiteY152" fmla="*/ 90504 h 470547"/>
                  <a:gd name="connsiteX153" fmla="*/ 253771 w 578488"/>
                  <a:gd name="connsiteY153" fmla="*/ 89942 h 470547"/>
                  <a:gd name="connsiteX154" fmla="*/ 254950 w 578488"/>
                  <a:gd name="connsiteY154" fmla="*/ 89632 h 470547"/>
                  <a:gd name="connsiteX155" fmla="*/ 257079 w 578488"/>
                  <a:gd name="connsiteY155" fmla="*/ 90976 h 470547"/>
                  <a:gd name="connsiteX156" fmla="*/ 258284 w 578488"/>
                  <a:gd name="connsiteY156" fmla="*/ 92467 h 470547"/>
                  <a:gd name="connsiteX157" fmla="*/ 259780 w 578488"/>
                  <a:gd name="connsiteY157" fmla="*/ 95797 h 470547"/>
                  <a:gd name="connsiteX158" fmla="*/ 259158 w 578488"/>
                  <a:gd name="connsiteY158" fmla="*/ 99013 h 470547"/>
                  <a:gd name="connsiteX159" fmla="*/ 255150 w 578488"/>
                  <a:gd name="connsiteY159" fmla="*/ 101517 h 470547"/>
                  <a:gd name="connsiteX160" fmla="*/ 251965 w 578488"/>
                  <a:gd name="connsiteY160" fmla="*/ 102646 h 470547"/>
                  <a:gd name="connsiteX161" fmla="*/ 248748 w 578488"/>
                  <a:gd name="connsiteY161" fmla="*/ 105516 h 470547"/>
                  <a:gd name="connsiteX162" fmla="*/ 247131 w 578488"/>
                  <a:gd name="connsiteY162" fmla="*/ 107859 h 470547"/>
                  <a:gd name="connsiteX163" fmla="*/ 245742 w 578488"/>
                  <a:gd name="connsiteY163" fmla="*/ 108366 h 470547"/>
                  <a:gd name="connsiteX164" fmla="*/ 244863 w 578488"/>
                  <a:gd name="connsiteY164" fmla="*/ 108175 h 470547"/>
                  <a:gd name="connsiteX165" fmla="*/ 244082 w 578488"/>
                  <a:gd name="connsiteY165" fmla="*/ 107609 h 470547"/>
                  <a:gd name="connsiteX166" fmla="*/ 242451 w 578488"/>
                  <a:gd name="connsiteY166" fmla="*/ 107607 h 470547"/>
                  <a:gd name="connsiteX167" fmla="*/ 240657 w 578488"/>
                  <a:gd name="connsiteY167" fmla="*/ 109638 h 470547"/>
                  <a:gd name="connsiteX168" fmla="*/ 235239 w 578488"/>
                  <a:gd name="connsiteY168" fmla="*/ 111288 h 470547"/>
                  <a:gd name="connsiteX169" fmla="*/ 233114 w 578488"/>
                  <a:gd name="connsiteY169" fmla="*/ 110812 h 470547"/>
                  <a:gd name="connsiteX170" fmla="*/ 233017 w 578488"/>
                  <a:gd name="connsiteY170" fmla="*/ 108788 h 470547"/>
                  <a:gd name="connsiteX171" fmla="*/ 231749 w 578488"/>
                  <a:gd name="connsiteY171" fmla="*/ 108956 h 470547"/>
                  <a:gd name="connsiteX172" fmla="*/ 229719 w 578488"/>
                  <a:gd name="connsiteY172" fmla="*/ 111382 h 470547"/>
                  <a:gd name="connsiteX173" fmla="*/ 227733 w 578488"/>
                  <a:gd name="connsiteY173" fmla="*/ 112191 h 470547"/>
                  <a:gd name="connsiteX174" fmla="*/ 226398 w 578488"/>
                  <a:gd name="connsiteY174" fmla="*/ 112440 h 470547"/>
                  <a:gd name="connsiteX175" fmla="*/ 223947 w 578488"/>
                  <a:gd name="connsiteY175" fmla="*/ 111527 h 470547"/>
                  <a:gd name="connsiteX176" fmla="*/ 217359 w 578488"/>
                  <a:gd name="connsiteY176" fmla="*/ 115654 h 470547"/>
                  <a:gd name="connsiteX177" fmla="*/ 211181 w 578488"/>
                  <a:gd name="connsiteY177" fmla="*/ 116425 h 470547"/>
                  <a:gd name="connsiteX178" fmla="*/ 209147 w 578488"/>
                  <a:gd name="connsiteY178" fmla="*/ 115948 h 470547"/>
                  <a:gd name="connsiteX179" fmla="*/ 209140 w 578488"/>
                  <a:gd name="connsiteY179" fmla="*/ 113424 h 470547"/>
                  <a:gd name="connsiteX180" fmla="*/ 213133 w 578488"/>
                  <a:gd name="connsiteY180" fmla="*/ 110191 h 470547"/>
                  <a:gd name="connsiteX181" fmla="*/ 216407 w 578488"/>
                  <a:gd name="connsiteY181" fmla="*/ 107941 h 470547"/>
                  <a:gd name="connsiteX182" fmla="*/ 227672 w 578488"/>
                  <a:gd name="connsiteY182" fmla="*/ 106369 h 470547"/>
                  <a:gd name="connsiteX183" fmla="*/ 234688 w 578488"/>
                  <a:gd name="connsiteY183" fmla="*/ 99674 h 470547"/>
                  <a:gd name="connsiteX184" fmla="*/ 236383 w 578488"/>
                  <a:gd name="connsiteY184" fmla="*/ 92374 h 470547"/>
                  <a:gd name="connsiteX185" fmla="*/ 238042 w 578488"/>
                  <a:gd name="connsiteY185" fmla="*/ 89732 h 470547"/>
                  <a:gd name="connsiteX186" fmla="*/ 237262 w 578488"/>
                  <a:gd name="connsiteY186" fmla="*/ 88238 h 470547"/>
                  <a:gd name="connsiteX187" fmla="*/ 235375 w 578488"/>
                  <a:gd name="connsiteY187" fmla="*/ 87975 h 470547"/>
                  <a:gd name="connsiteX188" fmla="*/ 235260 w 578488"/>
                  <a:gd name="connsiteY188" fmla="*/ 85677 h 470547"/>
                  <a:gd name="connsiteX189" fmla="*/ 236245 w 578488"/>
                  <a:gd name="connsiteY189" fmla="*/ 83162 h 470547"/>
                  <a:gd name="connsiteX190" fmla="*/ 239927 w 578488"/>
                  <a:gd name="connsiteY190" fmla="*/ 79703 h 470547"/>
                  <a:gd name="connsiteX191" fmla="*/ 241972 w 578488"/>
                  <a:gd name="connsiteY191" fmla="*/ 78229 h 470547"/>
                  <a:gd name="connsiteX192" fmla="*/ 245304 w 578488"/>
                  <a:gd name="connsiteY192" fmla="*/ 74050 h 470547"/>
                  <a:gd name="connsiteX193" fmla="*/ 280912 w 578488"/>
                  <a:gd name="connsiteY193" fmla="*/ 61606 h 470547"/>
                  <a:gd name="connsiteX194" fmla="*/ 283570 w 578488"/>
                  <a:gd name="connsiteY194" fmla="*/ 63847 h 470547"/>
                  <a:gd name="connsiteX195" fmla="*/ 284766 w 578488"/>
                  <a:gd name="connsiteY195" fmla="*/ 63162 h 470547"/>
                  <a:gd name="connsiteX196" fmla="*/ 287118 w 578488"/>
                  <a:gd name="connsiteY196" fmla="*/ 62907 h 470547"/>
                  <a:gd name="connsiteX197" fmla="*/ 288867 w 578488"/>
                  <a:gd name="connsiteY197" fmla="*/ 63693 h 470547"/>
                  <a:gd name="connsiteX198" fmla="*/ 290297 w 578488"/>
                  <a:gd name="connsiteY198" fmla="*/ 65116 h 470547"/>
                  <a:gd name="connsiteX199" fmla="*/ 291992 w 578488"/>
                  <a:gd name="connsiteY199" fmla="*/ 65181 h 470547"/>
                  <a:gd name="connsiteX200" fmla="*/ 293056 w 578488"/>
                  <a:gd name="connsiteY200" fmla="*/ 67038 h 470547"/>
                  <a:gd name="connsiteX201" fmla="*/ 293598 w 578488"/>
                  <a:gd name="connsiteY201" fmla="*/ 69452 h 470547"/>
                  <a:gd name="connsiteX202" fmla="*/ 292367 w 578488"/>
                  <a:gd name="connsiteY202" fmla="*/ 71253 h 470547"/>
                  <a:gd name="connsiteX203" fmla="*/ 290621 w 578488"/>
                  <a:gd name="connsiteY203" fmla="*/ 72068 h 470547"/>
                  <a:gd name="connsiteX204" fmla="*/ 290148 w 578488"/>
                  <a:gd name="connsiteY204" fmla="*/ 74189 h 470547"/>
                  <a:gd name="connsiteX205" fmla="*/ 290811 w 578488"/>
                  <a:gd name="connsiteY205" fmla="*/ 77154 h 470547"/>
                  <a:gd name="connsiteX206" fmla="*/ 286893 w 578488"/>
                  <a:gd name="connsiteY206" fmla="*/ 78170 h 470547"/>
                  <a:gd name="connsiteX207" fmla="*/ 282352 w 578488"/>
                  <a:gd name="connsiteY207" fmla="*/ 78622 h 470547"/>
                  <a:gd name="connsiteX208" fmla="*/ 280577 w 578488"/>
                  <a:gd name="connsiteY208" fmla="*/ 77205 h 470547"/>
                  <a:gd name="connsiteX209" fmla="*/ 276945 w 578488"/>
                  <a:gd name="connsiteY209" fmla="*/ 79802 h 470547"/>
                  <a:gd name="connsiteX210" fmla="*/ 273348 w 578488"/>
                  <a:gd name="connsiteY210" fmla="*/ 83842 h 470547"/>
                  <a:gd name="connsiteX211" fmla="*/ 271614 w 578488"/>
                  <a:gd name="connsiteY211" fmla="*/ 84317 h 470547"/>
                  <a:gd name="connsiteX212" fmla="*/ 271493 w 578488"/>
                  <a:gd name="connsiteY212" fmla="*/ 83039 h 470547"/>
                  <a:gd name="connsiteX213" fmla="*/ 268908 w 578488"/>
                  <a:gd name="connsiteY213" fmla="*/ 82156 h 470547"/>
                  <a:gd name="connsiteX214" fmla="*/ 265598 w 578488"/>
                  <a:gd name="connsiteY214" fmla="*/ 82105 h 470547"/>
                  <a:gd name="connsiteX215" fmla="*/ 265708 w 578488"/>
                  <a:gd name="connsiteY215" fmla="*/ 81158 h 470547"/>
                  <a:gd name="connsiteX216" fmla="*/ 266308 w 578488"/>
                  <a:gd name="connsiteY216" fmla="*/ 80489 h 470547"/>
                  <a:gd name="connsiteX217" fmla="*/ 269165 w 578488"/>
                  <a:gd name="connsiteY217" fmla="*/ 79496 h 470547"/>
                  <a:gd name="connsiteX218" fmla="*/ 269735 w 578488"/>
                  <a:gd name="connsiteY218" fmla="*/ 77447 h 470547"/>
                  <a:gd name="connsiteX219" fmla="*/ 269216 w 578488"/>
                  <a:gd name="connsiteY219" fmla="*/ 73784 h 470547"/>
                  <a:gd name="connsiteX220" fmla="*/ 269720 w 578488"/>
                  <a:gd name="connsiteY220" fmla="*/ 72004 h 470547"/>
                  <a:gd name="connsiteX221" fmla="*/ 269828 w 578488"/>
                  <a:gd name="connsiteY221" fmla="*/ 70773 h 470547"/>
                  <a:gd name="connsiteX222" fmla="*/ 271624 w 578488"/>
                  <a:gd name="connsiteY222" fmla="*/ 69332 h 470547"/>
                  <a:gd name="connsiteX223" fmla="*/ 277768 w 578488"/>
                  <a:gd name="connsiteY223" fmla="*/ 70009 h 470547"/>
                  <a:gd name="connsiteX224" fmla="*/ 278513 w 578488"/>
                  <a:gd name="connsiteY224" fmla="*/ 68633 h 470547"/>
                  <a:gd name="connsiteX225" fmla="*/ 278047 w 578488"/>
                  <a:gd name="connsiteY225" fmla="*/ 67767 h 470547"/>
                  <a:gd name="connsiteX226" fmla="*/ 274872 w 578488"/>
                  <a:gd name="connsiteY226" fmla="*/ 66249 h 470547"/>
                  <a:gd name="connsiteX227" fmla="*/ 275360 w 578488"/>
                  <a:gd name="connsiteY227" fmla="*/ 65227 h 470547"/>
                  <a:gd name="connsiteX228" fmla="*/ 277651 w 578488"/>
                  <a:gd name="connsiteY228" fmla="*/ 64313 h 470547"/>
                  <a:gd name="connsiteX229" fmla="*/ 279819 w 578488"/>
                  <a:gd name="connsiteY229" fmla="*/ 64195 h 470547"/>
                  <a:gd name="connsiteX230" fmla="*/ 280471 w 578488"/>
                  <a:gd name="connsiteY230" fmla="*/ 62647 h 470547"/>
                  <a:gd name="connsiteX231" fmla="*/ 280584 w 578488"/>
                  <a:gd name="connsiteY231" fmla="*/ 61973 h 470547"/>
                  <a:gd name="connsiteX232" fmla="*/ 553617 w 578488"/>
                  <a:gd name="connsiteY232" fmla="*/ 49437 h 470547"/>
                  <a:gd name="connsiteX233" fmla="*/ 555344 w 578488"/>
                  <a:gd name="connsiteY233" fmla="*/ 49560 h 470547"/>
                  <a:gd name="connsiteX234" fmla="*/ 557091 w 578488"/>
                  <a:gd name="connsiteY234" fmla="*/ 50712 h 470547"/>
                  <a:gd name="connsiteX235" fmla="*/ 558466 w 578488"/>
                  <a:gd name="connsiteY235" fmla="*/ 52086 h 470547"/>
                  <a:gd name="connsiteX236" fmla="*/ 556277 w 578488"/>
                  <a:gd name="connsiteY236" fmla="*/ 53725 h 470547"/>
                  <a:gd name="connsiteX237" fmla="*/ 552077 w 578488"/>
                  <a:gd name="connsiteY237" fmla="*/ 54876 h 470547"/>
                  <a:gd name="connsiteX238" fmla="*/ 551591 w 578488"/>
                  <a:gd name="connsiteY238" fmla="*/ 53929 h 470547"/>
                  <a:gd name="connsiteX239" fmla="*/ 552513 w 578488"/>
                  <a:gd name="connsiteY239" fmla="*/ 52454 h 470547"/>
                  <a:gd name="connsiteX240" fmla="*/ 350606 w 578488"/>
                  <a:gd name="connsiteY240" fmla="*/ 36555 h 470547"/>
                  <a:gd name="connsiteX241" fmla="*/ 353506 w 578488"/>
                  <a:gd name="connsiteY241" fmla="*/ 37006 h 470547"/>
                  <a:gd name="connsiteX242" fmla="*/ 354245 w 578488"/>
                  <a:gd name="connsiteY242" fmla="*/ 37564 h 470547"/>
                  <a:gd name="connsiteX243" fmla="*/ 353355 w 578488"/>
                  <a:gd name="connsiteY243" fmla="*/ 42154 h 470547"/>
                  <a:gd name="connsiteX244" fmla="*/ 352163 w 578488"/>
                  <a:gd name="connsiteY244" fmla="*/ 43074 h 470547"/>
                  <a:gd name="connsiteX245" fmla="*/ 350334 w 578488"/>
                  <a:gd name="connsiteY245" fmla="*/ 43450 h 470547"/>
                  <a:gd name="connsiteX246" fmla="*/ 349349 w 578488"/>
                  <a:gd name="connsiteY246" fmla="*/ 42879 h 470547"/>
                  <a:gd name="connsiteX247" fmla="*/ 347948 w 578488"/>
                  <a:gd name="connsiteY247" fmla="*/ 42504 h 470547"/>
                  <a:gd name="connsiteX248" fmla="*/ 346391 w 578488"/>
                  <a:gd name="connsiteY248" fmla="*/ 42676 h 470547"/>
                  <a:gd name="connsiteX249" fmla="*/ 345082 w 578488"/>
                  <a:gd name="connsiteY249" fmla="*/ 40989 h 470547"/>
                  <a:gd name="connsiteX250" fmla="*/ 345229 w 578488"/>
                  <a:gd name="connsiteY250" fmla="*/ 39572 h 470547"/>
                  <a:gd name="connsiteX251" fmla="*/ 347021 w 578488"/>
                  <a:gd name="connsiteY251" fmla="*/ 37649 h 470547"/>
                  <a:gd name="connsiteX252" fmla="*/ 318716 w 578488"/>
                  <a:gd name="connsiteY252" fmla="*/ 35896 h 470547"/>
                  <a:gd name="connsiteX253" fmla="*/ 319528 w 578488"/>
                  <a:gd name="connsiteY253" fmla="*/ 38632 h 470547"/>
                  <a:gd name="connsiteX254" fmla="*/ 319653 w 578488"/>
                  <a:gd name="connsiteY254" fmla="*/ 43078 h 470547"/>
                  <a:gd name="connsiteX255" fmla="*/ 321614 w 578488"/>
                  <a:gd name="connsiteY255" fmla="*/ 45233 h 470547"/>
                  <a:gd name="connsiteX256" fmla="*/ 323350 w 578488"/>
                  <a:gd name="connsiteY256" fmla="*/ 45026 h 470547"/>
                  <a:gd name="connsiteX257" fmla="*/ 323873 w 578488"/>
                  <a:gd name="connsiteY257" fmla="*/ 44213 h 470547"/>
                  <a:gd name="connsiteX258" fmla="*/ 325058 w 578488"/>
                  <a:gd name="connsiteY258" fmla="*/ 43811 h 470547"/>
                  <a:gd name="connsiteX259" fmla="*/ 327453 w 578488"/>
                  <a:gd name="connsiteY259" fmla="*/ 44949 h 470547"/>
                  <a:gd name="connsiteX260" fmla="*/ 327110 w 578488"/>
                  <a:gd name="connsiteY260" fmla="*/ 46885 h 470547"/>
                  <a:gd name="connsiteX261" fmla="*/ 323795 w 578488"/>
                  <a:gd name="connsiteY261" fmla="*/ 49325 h 470547"/>
                  <a:gd name="connsiteX262" fmla="*/ 321416 w 578488"/>
                  <a:gd name="connsiteY262" fmla="*/ 52800 h 470547"/>
                  <a:gd name="connsiteX263" fmla="*/ 318371 w 578488"/>
                  <a:gd name="connsiteY263" fmla="*/ 53606 h 470547"/>
                  <a:gd name="connsiteX264" fmla="*/ 316907 w 578488"/>
                  <a:gd name="connsiteY264" fmla="*/ 53187 h 470547"/>
                  <a:gd name="connsiteX265" fmla="*/ 314186 w 578488"/>
                  <a:gd name="connsiteY265" fmla="*/ 55190 h 470547"/>
                  <a:gd name="connsiteX266" fmla="*/ 312005 w 578488"/>
                  <a:gd name="connsiteY266" fmla="*/ 57269 h 470547"/>
                  <a:gd name="connsiteX267" fmla="*/ 309744 w 578488"/>
                  <a:gd name="connsiteY267" fmla="*/ 59895 h 470547"/>
                  <a:gd name="connsiteX268" fmla="*/ 309606 w 578488"/>
                  <a:gd name="connsiteY268" fmla="*/ 61247 h 470547"/>
                  <a:gd name="connsiteX269" fmla="*/ 309254 w 578488"/>
                  <a:gd name="connsiteY269" fmla="*/ 62281 h 470547"/>
                  <a:gd name="connsiteX270" fmla="*/ 300973 w 578488"/>
                  <a:gd name="connsiteY270" fmla="*/ 63307 h 470547"/>
                  <a:gd name="connsiteX271" fmla="*/ 297962 w 578488"/>
                  <a:gd name="connsiteY271" fmla="*/ 63986 h 470547"/>
                  <a:gd name="connsiteX272" fmla="*/ 294773 w 578488"/>
                  <a:gd name="connsiteY272" fmla="*/ 63110 h 470547"/>
                  <a:gd name="connsiteX273" fmla="*/ 293262 w 578488"/>
                  <a:gd name="connsiteY273" fmla="*/ 61376 h 470547"/>
                  <a:gd name="connsiteX274" fmla="*/ 293747 w 578488"/>
                  <a:gd name="connsiteY274" fmla="*/ 60433 h 470547"/>
                  <a:gd name="connsiteX275" fmla="*/ 296930 w 578488"/>
                  <a:gd name="connsiteY275" fmla="*/ 60056 h 470547"/>
                  <a:gd name="connsiteX276" fmla="*/ 297032 w 578488"/>
                  <a:gd name="connsiteY276" fmla="*/ 58445 h 470547"/>
                  <a:gd name="connsiteX277" fmla="*/ 297837 w 578488"/>
                  <a:gd name="connsiteY277" fmla="*/ 57461 h 470547"/>
                  <a:gd name="connsiteX278" fmla="*/ 298867 w 578488"/>
                  <a:gd name="connsiteY278" fmla="*/ 56924 h 470547"/>
                  <a:gd name="connsiteX279" fmla="*/ 299625 w 578488"/>
                  <a:gd name="connsiteY279" fmla="*/ 54863 h 470547"/>
                  <a:gd name="connsiteX280" fmla="*/ 300884 w 578488"/>
                  <a:gd name="connsiteY280" fmla="*/ 54325 h 470547"/>
                  <a:gd name="connsiteX281" fmla="*/ 303231 w 578488"/>
                  <a:gd name="connsiteY281" fmla="*/ 54832 h 470547"/>
                  <a:gd name="connsiteX282" fmla="*/ 304814 w 578488"/>
                  <a:gd name="connsiteY282" fmla="*/ 53338 h 470547"/>
                  <a:gd name="connsiteX283" fmla="*/ 305706 w 578488"/>
                  <a:gd name="connsiteY283" fmla="*/ 53085 h 470547"/>
                  <a:gd name="connsiteX284" fmla="*/ 306805 w 578488"/>
                  <a:gd name="connsiteY284" fmla="*/ 54321 h 470547"/>
                  <a:gd name="connsiteX285" fmla="*/ 307334 w 578488"/>
                  <a:gd name="connsiteY285" fmla="*/ 52619 h 470547"/>
                  <a:gd name="connsiteX286" fmla="*/ 306805 w 578488"/>
                  <a:gd name="connsiteY286" fmla="*/ 51064 h 470547"/>
                  <a:gd name="connsiteX287" fmla="*/ 307082 w 578488"/>
                  <a:gd name="connsiteY287" fmla="*/ 50015 h 470547"/>
                  <a:gd name="connsiteX288" fmla="*/ 310117 w 578488"/>
                  <a:gd name="connsiteY288" fmla="*/ 47283 h 470547"/>
                  <a:gd name="connsiteX289" fmla="*/ 311431 w 578488"/>
                  <a:gd name="connsiteY289" fmla="*/ 45289 h 470547"/>
                  <a:gd name="connsiteX290" fmla="*/ 313320 w 578488"/>
                  <a:gd name="connsiteY290" fmla="*/ 44004 h 470547"/>
                  <a:gd name="connsiteX291" fmla="*/ 315140 w 578488"/>
                  <a:gd name="connsiteY291" fmla="*/ 44209 h 470547"/>
                  <a:gd name="connsiteX292" fmla="*/ 315669 w 578488"/>
                  <a:gd name="connsiteY292" fmla="*/ 42315 h 470547"/>
                  <a:gd name="connsiteX293" fmla="*/ 315140 w 578488"/>
                  <a:gd name="connsiteY293" fmla="*/ 40373 h 470547"/>
                  <a:gd name="connsiteX294" fmla="*/ 315341 w 578488"/>
                  <a:gd name="connsiteY294" fmla="*/ 39107 h 470547"/>
                  <a:gd name="connsiteX295" fmla="*/ 316948 w 578488"/>
                  <a:gd name="connsiteY295" fmla="*/ 36027 h 470547"/>
                  <a:gd name="connsiteX296" fmla="*/ 329133 w 578488"/>
                  <a:gd name="connsiteY296" fmla="*/ 34857 h 470547"/>
                  <a:gd name="connsiteX297" fmla="*/ 330984 w 578488"/>
                  <a:gd name="connsiteY297" fmla="*/ 37118 h 470547"/>
                  <a:gd name="connsiteX298" fmla="*/ 332109 w 578488"/>
                  <a:gd name="connsiteY298" fmla="*/ 37583 h 470547"/>
                  <a:gd name="connsiteX299" fmla="*/ 333221 w 578488"/>
                  <a:gd name="connsiteY299" fmla="*/ 37294 h 470547"/>
                  <a:gd name="connsiteX300" fmla="*/ 334145 w 578488"/>
                  <a:gd name="connsiteY300" fmla="*/ 37705 h 470547"/>
                  <a:gd name="connsiteX301" fmla="*/ 335996 w 578488"/>
                  <a:gd name="connsiteY301" fmla="*/ 39794 h 470547"/>
                  <a:gd name="connsiteX302" fmla="*/ 337989 w 578488"/>
                  <a:gd name="connsiteY302" fmla="*/ 40615 h 470547"/>
                  <a:gd name="connsiteX303" fmla="*/ 338082 w 578488"/>
                  <a:gd name="connsiteY303" fmla="*/ 41666 h 470547"/>
                  <a:gd name="connsiteX304" fmla="*/ 336257 w 578488"/>
                  <a:gd name="connsiteY304" fmla="*/ 42690 h 470547"/>
                  <a:gd name="connsiteX305" fmla="*/ 333854 w 578488"/>
                  <a:gd name="connsiteY305" fmla="*/ 42997 h 470547"/>
                  <a:gd name="connsiteX306" fmla="*/ 331280 w 578488"/>
                  <a:gd name="connsiteY306" fmla="*/ 42641 h 470547"/>
                  <a:gd name="connsiteX307" fmla="*/ 330524 w 578488"/>
                  <a:gd name="connsiteY307" fmla="*/ 41332 h 470547"/>
                  <a:gd name="connsiteX308" fmla="*/ 329731 w 578488"/>
                  <a:gd name="connsiteY308" fmla="*/ 39157 h 470547"/>
                  <a:gd name="connsiteX309" fmla="*/ 327578 w 578488"/>
                  <a:gd name="connsiteY309" fmla="*/ 37023 h 470547"/>
                  <a:gd name="connsiteX310" fmla="*/ 327259 w 578488"/>
                  <a:gd name="connsiteY310" fmla="*/ 35152 h 470547"/>
                  <a:gd name="connsiteX311" fmla="*/ 414550 w 578488"/>
                  <a:gd name="connsiteY311" fmla="*/ 21147 h 470547"/>
                  <a:gd name="connsiteX312" fmla="*/ 415263 w 578488"/>
                  <a:gd name="connsiteY312" fmla="*/ 22086 h 470547"/>
                  <a:gd name="connsiteX313" fmla="*/ 416068 w 578488"/>
                  <a:gd name="connsiteY313" fmla="*/ 23860 h 470547"/>
                  <a:gd name="connsiteX314" fmla="*/ 416480 w 578488"/>
                  <a:gd name="connsiteY314" fmla="*/ 25730 h 470547"/>
                  <a:gd name="connsiteX315" fmla="*/ 416636 w 578488"/>
                  <a:gd name="connsiteY315" fmla="*/ 27271 h 470547"/>
                  <a:gd name="connsiteX316" fmla="*/ 414573 w 578488"/>
                  <a:gd name="connsiteY316" fmla="*/ 29498 h 470547"/>
                  <a:gd name="connsiteX317" fmla="*/ 409821 w 578488"/>
                  <a:gd name="connsiteY317" fmla="*/ 32415 h 470547"/>
                  <a:gd name="connsiteX318" fmla="*/ 410093 w 578488"/>
                  <a:gd name="connsiteY318" fmla="*/ 33198 h 470547"/>
                  <a:gd name="connsiteX319" fmla="*/ 408448 w 578488"/>
                  <a:gd name="connsiteY319" fmla="*/ 33946 h 470547"/>
                  <a:gd name="connsiteX320" fmla="*/ 405981 w 578488"/>
                  <a:gd name="connsiteY320" fmla="*/ 34498 h 470547"/>
                  <a:gd name="connsiteX321" fmla="*/ 404679 w 578488"/>
                  <a:gd name="connsiteY321" fmla="*/ 33962 h 470547"/>
                  <a:gd name="connsiteX322" fmla="*/ 404859 w 578488"/>
                  <a:gd name="connsiteY322" fmla="*/ 31463 h 470547"/>
                  <a:gd name="connsiteX323" fmla="*/ 404466 w 578488"/>
                  <a:gd name="connsiteY323" fmla="*/ 30714 h 470547"/>
                  <a:gd name="connsiteX324" fmla="*/ 402593 w 578488"/>
                  <a:gd name="connsiteY324" fmla="*/ 31705 h 470547"/>
                  <a:gd name="connsiteX325" fmla="*/ 400646 w 578488"/>
                  <a:gd name="connsiteY325" fmla="*/ 30434 h 470547"/>
                  <a:gd name="connsiteX326" fmla="*/ 400643 w 578488"/>
                  <a:gd name="connsiteY326" fmla="*/ 29155 h 470547"/>
                  <a:gd name="connsiteX327" fmla="*/ 401157 w 578488"/>
                  <a:gd name="connsiteY327" fmla="*/ 28044 h 470547"/>
                  <a:gd name="connsiteX328" fmla="*/ 402958 w 578488"/>
                  <a:gd name="connsiteY328" fmla="*/ 26354 h 470547"/>
                  <a:gd name="connsiteX329" fmla="*/ 405964 w 578488"/>
                  <a:gd name="connsiteY329" fmla="*/ 25189 h 470547"/>
                  <a:gd name="connsiteX330" fmla="*/ 407946 w 578488"/>
                  <a:gd name="connsiteY330" fmla="*/ 25626 h 470547"/>
                  <a:gd name="connsiteX331" fmla="*/ 419674 w 578488"/>
                  <a:gd name="connsiteY331" fmla="*/ 15922 h 470547"/>
                  <a:gd name="connsiteX332" fmla="*/ 420959 w 578488"/>
                  <a:gd name="connsiteY332" fmla="*/ 16643 h 470547"/>
                  <a:gd name="connsiteX333" fmla="*/ 421302 w 578488"/>
                  <a:gd name="connsiteY333" fmla="*/ 17247 h 470547"/>
                  <a:gd name="connsiteX334" fmla="*/ 423611 w 578488"/>
                  <a:gd name="connsiteY334" fmla="*/ 17839 h 470547"/>
                  <a:gd name="connsiteX335" fmla="*/ 426305 w 578488"/>
                  <a:gd name="connsiteY335" fmla="*/ 19805 h 470547"/>
                  <a:gd name="connsiteX336" fmla="*/ 424962 w 578488"/>
                  <a:gd name="connsiteY336" fmla="*/ 23137 h 470547"/>
                  <a:gd name="connsiteX337" fmla="*/ 420751 w 578488"/>
                  <a:gd name="connsiteY337" fmla="*/ 24733 h 470547"/>
                  <a:gd name="connsiteX338" fmla="*/ 418307 w 578488"/>
                  <a:gd name="connsiteY338" fmla="*/ 23358 h 470547"/>
                  <a:gd name="connsiteX339" fmla="*/ 417279 w 578488"/>
                  <a:gd name="connsiteY339" fmla="*/ 21949 h 470547"/>
                  <a:gd name="connsiteX340" fmla="*/ 417128 w 578488"/>
                  <a:gd name="connsiteY340" fmla="*/ 18816 h 470547"/>
                  <a:gd name="connsiteX341" fmla="*/ 417700 w 578488"/>
                  <a:gd name="connsiteY341" fmla="*/ 16908 h 470547"/>
                  <a:gd name="connsiteX342" fmla="*/ 411209 w 578488"/>
                  <a:gd name="connsiteY342" fmla="*/ 12093 h 470547"/>
                  <a:gd name="connsiteX343" fmla="*/ 412202 w 578488"/>
                  <a:gd name="connsiteY343" fmla="*/ 13172 h 470547"/>
                  <a:gd name="connsiteX344" fmla="*/ 411769 w 578488"/>
                  <a:gd name="connsiteY344" fmla="*/ 14432 h 470547"/>
                  <a:gd name="connsiteX345" fmla="*/ 411021 w 578488"/>
                  <a:gd name="connsiteY345" fmla="*/ 15659 h 470547"/>
                  <a:gd name="connsiteX346" fmla="*/ 409209 w 578488"/>
                  <a:gd name="connsiteY346" fmla="*/ 16953 h 470547"/>
                  <a:gd name="connsiteX347" fmla="*/ 403969 w 578488"/>
                  <a:gd name="connsiteY347" fmla="*/ 22068 h 470547"/>
                  <a:gd name="connsiteX348" fmla="*/ 400889 w 578488"/>
                  <a:gd name="connsiteY348" fmla="*/ 22891 h 470547"/>
                  <a:gd name="connsiteX349" fmla="*/ 399914 w 578488"/>
                  <a:gd name="connsiteY349" fmla="*/ 23692 h 470547"/>
                  <a:gd name="connsiteX350" fmla="*/ 398683 w 578488"/>
                  <a:gd name="connsiteY350" fmla="*/ 24170 h 470547"/>
                  <a:gd name="connsiteX351" fmla="*/ 394856 w 578488"/>
                  <a:gd name="connsiteY351" fmla="*/ 23471 h 470547"/>
                  <a:gd name="connsiteX352" fmla="*/ 393736 w 578488"/>
                  <a:gd name="connsiteY352" fmla="*/ 24506 h 470547"/>
                  <a:gd name="connsiteX353" fmla="*/ 392678 w 578488"/>
                  <a:gd name="connsiteY353" fmla="*/ 25197 h 470547"/>
                  <a:gd name="connsiteX354" fmla="*/ 389907 w 578488"/>
                  <a:gd name="connsiteY354" fmla="*/ 25465 h 470547"/>
                  <a:gd name="connsiteX355" fmla="*/ 388281 w 578488"/>
                  <a:gd name="connsiteY355" fmla="*/ 25240 h 470547"/>
                  <a:gd name="connsiteX356" fmla="*/ 384081 w 578488"/>
                  <a:gd name="connsiteY356" fmla="*/ 23348 h 470547"/>
                  <a:gd name="connsiteX357" fmla="*/ 381582 w 578488"/>
                  <a:gd name="connsiteY357" fmla="*/ 21298 h 470547"/>
                  <a:gd name="connsiteX358" fmla="*/ 380229 w 578488"/>
                  <a:gd name="connsiteY358" fmla="*/ 19542 h 470547"/>
                  <a:gd name="connsiteX359" fmla="*/ 384109 w 578488"/>
                  <a:gd name="connsiteY359" fmla="*/ 19576 h 470547"/>
                  <a:gd name="connsiteX360" fmla="*/ 385493 w 578488"/>
                  <a:gd name="connsiteY360" fmla="*/ 19151 h 470547"/>
                  <a:gd name="connsiteX361" fmla="*/ 388095 w 578488"/>
                  <a:gd name="connsiteY361" fmla="*/ 19521 h 470547"/>
                  <a:gd name="connsiteX362" fmla="*/ 389658 w 578488"/>
                  <a:gd name="connsiteY362" fmla="*/ 17719 h 470547"/>
                  <a:gd name="connsiteX363" fmla="*/ 392969 w 578488"/>
                  <a:gd name="connsiteY363" fmla="*/ 17937 h 470547"/>
                  <a:gd name="connsiteX364" fmla="*/ 399324 w 578488"/>
                  <a:gd name="connsiteY364" fmla="*/ 16682 h 470547"/>
                  <a:gd name="connsiteX365" fmla="*/ 401656 w 578488"/>
                  <a:gd name="connsiteY365" fmla="*/ 17382 h 470547"/>
                  <a:gd name="connsiteX366" fmla="*/ 406988 w 578488"/>
                  <a:gd name="connsiteY366" fmla="*/ 13184 h 470547"/>
                  <a:gd name="connsiteX367" fmla="*/ 408657 w 578488"/>
                  <a:gd name="connsiteY367" fmla="*/ 13294 h 470547"/>
                  <a:gd name="connsiteX368" fmla="*/ 504113 w 578488"/>
                  <a:gd name="connsiteY368" fmla="*/ 2056 h 470547"/>
                  <a:gd name="connsiteX369" fmla="*/ 507129 w 578488"/>
                  <a:gd name="connsiteY369" fmla="*/ 2479 h 470547"/>
                  <a:gd name="connsiteX370" fmla="*/ 508932 w 578488"/>
                  <a:gd name="connsiteY370" fmla="*/ 3348 h 470547"/>
                  <a:gd name="connsiteX371" fmla="*/ 516155 w 578488"/>
                  <a:gd name="connsiteY371" fmla="*/ 4009 h 470547"/>
                  <a:gd name="connsiteX372" fmla="*/ 521696 w 578488"/>
                  <a:gd name="connsiteY372" fmla="*/ 6744 h 470547"/>
                  <a:gd name="connsiteX373" fmla="*/ 521485 w 578488"/>
                  <a:gd name="connsiteY373" fmla="*/ 11012 h 470547"/>
                  <a:gd name="connsiteX374" fmla="*/ 520250 w 578488"/>
                  <a:gd name="connsiteY374" fmla="*/ 12793 h 470547"/>
                  <a:gd name="connsiteX375" fmla="*/ 519034 w 578488"/>
                  <a:gd name="connsiteY375" fmla="*/ 13889 h 470547"/>
                  <a:gd name="connsiteX376" fmla="*/ 511938 w 578488"/>
                  <a:gd name="connsiteY376" fmla="*/ 17118 h 470547"/>
                  <a:gd name="connsiteX377" fmla="*/ 510768 w 578488"/>
                  <a:gd name="connsiteY377" fmla="*/ 18708 h 470547"/>
                  <a:gd name="connsiteX378" fmla="*/ 512996 w 578488"/>
                  <a:gd name="connsiteY378" fmla="*/ 19257 h 470547"/>
                  <a:gd name="connsiteX379" fmla="*/ 517790 w 578488"/>
                  <a:gd name="connsiteY379" fmla="*/ 17649 h 470547"/>
                  <a:gd name="connsiteX380" fmla="*/ 519032 w 578488"/>
                  <a:gd name="connsiteY380" fmla="*/ 19108 h 470547"/>
                  <a:gd name="connsiteX381" fmla="*/ 517505 w 578488"/>
                  <a:gd name="connsiteY381" fmla="*/ 22756 h 470547"/>
                  <a:gd name="connsiteX382" fmla="*/ 517246 w 578488"/>
                  <a:gd name="connsiteY382" fmla="*/ 28220 h 470547"/>
                  <a:gd name="connsiteX383" fmla="*/ 516693 w 578488"/>
                  <a:gd name="connsiteY383" fmla="*/ 31401 h 470547"/>
                  <a:gd name="connsiteX384" fmla="*/ 516693 w 578488"/>
                  <a:gd name="connsiteY384" fmla="*/ 34298 h 470547"/>
                  <a:gd name="connsiteX385" fmla="*/ 517289 w 578488"/>
                  <a:gd name="connsiteY385" fmla="*/ 35851 h 470547"/>
                  <a:gd name="connsiteX386" fmla="*/ 519215 w 578488"/>
                  <a:gd name="connsiteY386" fmla="*/ 29687 h 470547"/>
                  <a:gd name="connsiteX387" fmla="*/ 519874 w 578488"/>
                  <a:gd name="connsiteY387" fmla="*/ 28105 h 470547"/>
                  <a:gd name="connsiteX388" fmla="*/ 522692 w 578488"/>
                  <a:gd name="connsiteY388" fmla="*/ 25777 h 470547"/>
                  <a:gd name="connsiteX389" fmla="*/ 523741 w 578488"/>
                  <a:gd name="connsiteY389" fmla="*/ 21079 h 470547"/>
                  <a:gd name="connsiteX390" fmla="*/ 526497 w 578488"/>
                  <a:gd name="connsiteY390" fmla="*/ 15427 h 470547"/>
                  <a:gd name="connsiteX391" fmla="*/ 529602 w 578488"/>
                  <a:gd name="connsiteY391" fmla="*/ 12136 h 470547"/>
                  <a:gd name="connsiteX392" fmla="*/ 531409 w 578488"/>
                  <a:gd name="connsiteY392" fmla="*/ 11232 h 470547"/>
                  <a:gd name="connsiteX393" fmla="*/ 537397 w 578488"/>
                  <a:gd name="connsiteY393" fmla="*/ 11362 h 470547"/>
                  <a:gd name="connsiteX394" fmla="*/ 539967 w 578488"/>
                  <a:gd name="connsiteY394" fmla="*/ 12602 h 470547"/>
                  <a:gd name="connsiteX395" fmla="*/ 542234 w 578488"/>
                  <a:gd name="connsiteY395" fmla="*/ 15355 h 470547"/>
                  <a:gd name="connsiteX396" fmla="*/ 543927 w 578488"/>
                  <a:gd name="connsiteY396" fmla="*/ 16453 h 470547"/>
                  <a:gd name="connsiteX397" fmla="*/ 549265 w 578488"/>
                  <a:gd name="connsiteY397" fmla="*/ 17621 h 470547"/>
                  <a:gd name="connsiteX398" fmla="*/ 551098 w 578488"/>
                  <a:gd name="connsiteY398" fmla="*/ 19084 h 470547"/>
                  <a:gd name="connsiteX399" fmla="*/ 551442 w 578488"/>
                  <a:gd name="connsiteY399" fmla="*/ 19955 h 470547"/>
                  <a:gd name="connsiteX400" fmla="*/ 552746 w 578488"/>
                  <a:gd name="connsiteY400" fmla="*/ 20128 h 470547"/>
                  <a:gd name="connsiteX401" fmla="*/ 556348 w 578488"/>
                  <a:gd name="connsiteY401" fmla="*/ 18048 h 470547"/>
                  <a:gd name="connsiteX402" fmla="*/ 558687 w 578488"/>
                  <a:gd name="connsiteY402" fmla="*/ 17703 h 470547"/>
                  <a:gd name="connsiteX403" fmla="*/ 562502 w 578488"/>
                  <a:gd name="connsiteY403" fmla="*/ 20944 h 470547"/>
                  <a:gd name="connsiteX404" fmla="*/ 561736 w 578488"/>
                  <a:gd name="connsiteY404" fmla="*/ 23340 h 470547"/>
                  <a:gd name="connsiteX405" fmla="*/ 561960 w 578488"/>
                  <a:gd name="connsiteY405" fmla="*/ 24100 h 470547"/>
                  <a:gd name="connsiteX406" fmla="*/ 566579 w 578488"/>
                  <a:gd name="connsiteY406" fmla="*/ 23946 h 470547"/>
                  <a:gd name="connsiteX407" fmla="*/ 570423 w 578488"/>
                  <a:gd name="connsiteY407" fmla="*/ 24885 h 470547"/>
                  <a:gd name="connsiteX408" fmla="*/ 577730 w 578488"/>
                  <a:gd name="connsiteY408" fmla="*/ 29778 h 470547"/>
                  <a:gd name="connsiteX409" fmla="*/ 578488 w 578488"/>
                  <a:gd name="connsiteY409" fmla="*/ 32061 h 470547"/>
                  <a:gd name="connsiteX410" fmla="*/ 578123 w 578488"/>
                  <a:gd name="connsiteY410" fmla="*/ 34824 h 470547"/>
                  <a:gd name="connsiteX411" fmla="*/ 567616 w 578488"/>
                  <a:gd name="connsiteY411" fmla="*/ 37866 h 470547"/>
                  <a:gd name="connsiteX412" fmla="*/ 563062 w 578488"/>
                  <a:gd name="connsiteY412" fmla="*/ 40768 h 470547"/>
                  <a:gd name="connsiteX413" fmla="*/ 555608 w 578488"/>
                  <a:gd name="connsiteY413" fmla="*/ 41887 h 470547"/>
                  <a:gd name="connsiteX414" fmla="*/ 530295 w 578488"/>
                  <a:gd name="connsiteY414" fmla="*/ 39947 h 470547"/>
                  <a:gd name="connsiteX415" fmla="*/ 530807 w 578488"/>
                  <a:gd name="connsiteY415" fmla="*/ 42044 h 470547"/>
                  <a:gd name="connsiteX416" fmla="*/ 548432 w 578488"/>
                  <a:gd name="connsiteY416" fmla="*/ 46625 h 470547"/>
                  <a:gd name="connsiteX417" fmla="*/ 549438 w 578488"/>
                  <a:gd name="connsiteY417" fmla="*/ 47931 h 470547"/>
                  <a:gd name="connsiteX418" fmla="*/ 548874 w 578488"/>
                  <a:gd name="connsiteY418" fmla="*/ 50679 h 470547"/>
                  <a:gd name="connsiteX419" fmla="*/ 548866 w 578488"/>
                  <a:gd name="connsiteY419" fmla="*/ 52881 h 470547"/>
                  <a:gd name="connsiteX420" fmla="*/ 549196 w 578488"/>
                  <a:gd name="connsiteY420" fmla="*/ 54381 h 470547"/>
                  <a:gd name="connsiteX421" fmla="*/ 550494 w 578488"/>
                  <a:gd name="connsiteY421" fmla="*/ 55779 h 470547"/>
                  <a:gd name="connsiteX422" fmla="*/ 552649 w 578488"/>
                  <a:gd name="connsiteY422" fmla="*/ 56436 h 470547"/>
                  <a:gd name="connsiteX423" fmla="*/ 557033 w 578488"/>
                  <a:gd name="connsiteY423" fmla="*/ 56090 h 470547"/>
                  <a:gd name="connsiteX424" fmla="*/ 559198 w 578488"/>
                  <a:gd name="connsiteY424" fmla="*/ 56841 h 470547"/>
                  <a:gd name="connsiteX425" fmla="*/ 560678 w 578488"/>
                  <a:gd name="connsiteY425" fmla="*/ 55726 h 470547"/>
                  <a:gd name="connsiteX426" fmla="*/ 561228 w 578488"/>
                  <a:gd name="connsiteY426" fmla="*/ 51977 h 470547"/>
                  <a:gd name="connsiteX427" fmla="*/ 562500 w 578488"/>
                  <a:gd name="connsiteY427" fmla="*/ 51147 h 470547"/>
                  <a:gd name="connsiteX428" fmla="*/ 564960 w 578488"/>
                  <a:gd name="connsiteY428" fmla="*/ 52236 h 470547"/>
                  <a:gd name="connsiteX429" fmla="*/ 566031 w 578488"/>
                  <a:gd name="connsiteY429" fmla="*/ 56242 h 470547"/>
                  <a:gd name="connsiteX430" fmla="*/ 566717 w 578488"/>
                  <a:gd name="connsiteY430" fmla="*/ 56657 h 470547"/>
                  <a:gd name="connsiteX431" fmla="*/ 567957 w 578488"/>
                  <a:gd name="connsiteY431" fmla="*/ 53800 h 470547"/>
                  <a:gd name="connsiteX432" fmla="*/ 570393 w 578488"/>
                  <a:gd name="connsiteY432" fmla="*/ 54006 h 470547"/>
                  <a:gd name="connsiteX433" fmla="*/ 573044 w 578488"/>
                  <a:gd name="connsiteY433" fmla="*/ 53768 h 470547"/>
                  <a:gd name="connsiteX434" fmla="*/ 576478 w 578488"/>
                  <a:gd name="connsiteY434" fmla="*/ 54250 h 470547"/>
                  <a:gd name="connsiteX435" fmla="*/ 577681 w 578488"/>
                  <a:gd name="connsiteY435" fmla="*/ 59427 h 470547"/>
                  <a:gd name="connsiteX436" fmla="*/ 577644 w 578488"/>
                  <a:gd name="connsiteY436" fmla="*/ 61230 h 470547"/>
                  <a:gd name="connsiteX437" fmla="*/ 577074 w 578488"/>
                  <a:gd name="connsiteY437" fmla="*/ 62978 h 470547"/>
                  <a:gd name="connsiteX438" fmla="*/ 576279 w 578488"/>
                  <a:gd name="connsiteY438" fmla="*/ 63871 h 470547"/>
                  <a:gd name="connsiteX439" fmla="*/ 574690 w 578488"/>
                  <a:gd name="connsiteY439" fmla="*/ 64260 h 470547"/>
                  <a:gd name="connsiteX440" fmla="*/ 570855 w 578488"/>
                  <a:gd name="connsiteY440" fmla="*/ 64101 h 470547"/>
                  <a:gd name="connsiteX441" fmla="*/ 565642 w 578488"/>
                  <a:gd name="connsiteY441" fmla="*/ 62058 h 470547"/>
                  <a:gd name="connsiteX442" fmla="*/ 562278 w 578488"/>
                  <a:gd name="connsiteY442" fmla="*/ 60133 h 470547"/>
                  <a:gd name="connsiteX443" fmla="*/ 561230 w 578488"/>
                  <a:gd name="connsiteY443" fmla="*/ 60052 h 470547"/>
                  <a:gd name="connsiteX444" fmla="*/ 560779 w 578488"/>
                  <a:gd name="connsiteY444" fmla="*/ 60286 h 470547"/>
                  <a:gd name="connsiteX445" fmla="*/ 561591 w 578488"/>
                  <a:gd name="connsiteY445" fmla="*/ 62220 h 470547"/>
                  <a:gd name="connsiteX446" fmla="*/ 561375 w 578488"/>
                  <a:gd name="connsiteY446" fmla="*/ 63701 h 470547"/>
                  <a:gd name="connsiteX447" fmla="*/ 560868 w 578488"/>
                  <a:gd name="connsiteY447" fmla="*/ 65313 h 470547"/>
                  <a:gd name="connsiteX448" fmla="*/ 560162 w 578488"/>
                  <a:gd name="connsiteY448" fmla="*/ 66774 h 470547"/>
                  <a:gd name="connsiteX449" fmla="*/ 559177 w 578488"/>
                  <a:gd name="connsiteY449" fmla="*/ 68002 h 470547"/>
                  <a:gd name="connsiteX450" fmla="*/ 557115 w 578488"/>
                  <a:gd name="connsiteY450" fmla="*/ 69580 h 470547"/>
                  <a:gd name="connsiteX451" fmla="*/ 553547 w 578488"/>
                  <a:gd name="connsiteY451" fmla="*/ 70830 h 470547"/>
                  <a:gd name="connsiteX452" fmla="*/ 543720 w 578488"/>
                  <a:gd name="connsiteY452" fmla="*/ 73260 h 470547"/>
                  <a:gd name="connsiteX453" fmla="*/ 542940 w 578488"/>
                  <a:gd name="connsiteY453" fmla="*/ 74333 h 470547"/>
                  <a:gd name="connsiteX454" fmla="*/ 539777 w 578488"/>
                  <a:gd name="connsiteY454" fmla="*/ 81084 h 470547"/>
                  <a:gd name="connsiteX455" fmla="*/ 538913 w 578488"/>
                  <a:gd name="connsiteY455" fmla="*/ 82073 h 470547"/>
                  <a:gd name="connsiteX456" fmla="*/ 537756 w 578488"/>
                  <a:gd name="connsiteY456" fmla="*/ 82910 h 470547"/>
                  <a:gd name="connsiteX457" fmla="*/ 534379 w 578488"/>
                  <a:gd name="connsiteY457" fmla="*/ 83995 h 470547"/>
                  <a:gd name="connsiteX458" fmla="*/ 532744 w 578488"/>
                  <a:gd name="connsiteY458" fmla="*/ 82497 h 470547"/>
                  <a:gd name="connsiteX459" fmla="*/ 531433 w 578488"/>
                  <a:gd name="connsiteY459" fmla="*/ 80230 h 470547"/>
                  <a:gd name="connsiteX460" fmla="*/ 531735 w 578488"/>
                  <a:gd name="connsiteY460" fmla="*/ 77980 h 470547"/>
                  <a:gd name="connsiteX461" fmla="*/ 535685 w 578488"/>
                  <a:gd name="connsiteY461" fmla="*/ 73656 h 470547"/>
                  <a:gd name="connsiteX462" fmla="*/ 539375 w 578488"/>
                  <a:gd name="connsiteY462" fmla="*/ 70586 h 470547"/>
                  <a:gd name="connsiteX463" fmla="*/ 540416 w 578488"/>
                  <a:gd name="connsiteY463" fmla="*/ 69522 h 470547"/>
                  <a:gd name="connsiteX464" fmla="*/ 542506 w 578488"/>
                  <a:gd name="connsiteY464" fmla="*/ 66432 h 470547"/>
                  <a:gd name="connsiteX465" fmla="*/ 538265 w 578488"/>
                  <a:gd name="connsiteY465" fmla="*/ 58655 h 470547"/>
                  <a:gd name="connsiteX466" fmla="*/ 530720 w 578488"/>
                  <a:gd name="connsiteY466" fmla="*/ 56294 h 470547"/>
                  <a:gd name="connsiteX467" fmla="*/ 522126 w 578488"/>
                  <a:gd name="connsiteY467" fmla="*/ 52702 h 470547"/>
                  <a:gd name="connsiteX468" fmla="*/ 518973 w 578488"/>
                  <a:gd name="connsiteY468" fmla="*/ 50783 h 470547"/>
                  <a:gd name="connsiteX469" fmla="*/ 514067 w 578488"/>
                  <a:gd name="connsiteY469" fmla="*/ 46826 h 470547"/>
                  <a:gd name="connsiteX470" fmla="*/ 510589 w 578488"/>
                  <a:gd name="connsiteY470" fmla="*/ 43266 h 470547"/>
                  <a:gd name="connsiteX471" fmla="*/ 507447 w 578488"/>
                  <a:gd name="connsiteY471" fmla="*/ 43140 h 470547"/>
                  <a:gd name="connsiteX472" fmla="*/ 503994 w 578488"/>
                  <a:gd name="connsiteY472" fmla="*/ 44035 h 470547"/>
                  <a:gd name="connsiteX473" fmla="*/ 498606 w 578488"/>
                  <a:gd name="connsiteY473" fmla="*/ 47285 h 470547"/>
                  <a:gd name="connsiteX474" fmla="*/ 495458 w 578488"/>
                  <a:gd name="connsiteY474" fmla="*/ 48918 h 470547"/>
                  <a:gd name="connsiteX475" fmla="*/ 493730 w 578488"/>
                  <a:gd name="connsiteY475" fmla="*/ 49400 h 470547"/>
                  <a:gd name="connsiteX476" fmla="*/ 493313 w 578488"/>
                  <a:gd name="connsiteY476" fmla="*/ 49471 h 470547"/>
                  <a:gd name="connsiteX477" fmla="*/ 489457 w 578488"/>
                  <a:gd name="connsiteY477" fmla="*/ 48546 h 470547"/>
                  <a:gd name="connsiteX478" fmla="*/ 485166 w 578488"/>
                  <a:gd name="connsiteY478" fmla="*/ 48351 h 470547"/>
                  <a:gd name="connsiteX479" fmla="*/ 481717 w 578488"/>
                  <a:gd name="connsiteY479" fmla="*/ 48617 h 470547"/>
                  <a:gd name="connsiteX480" fmla="*/ 480415 w 578488"/>
                  <a:gd name="connsiteY480" fmla="*/ 49063 h 470547"/>
                  <a:gd name="connsiteX481" fmla="*/ 475613 w 578488"/>
                  <a:gd name="connsiteY481" fmla="*/ 54309 h 470547"/>
                  <a:gd name="connsiteX482" fmla="*/ 472251 w 578488"/>
                  <a:gd name="connsiteY482" fmla="*/ 56954 h 470547"/>
                  <a:gd name="connsiteX483" fmla="*/ 470400 w 578488"/>
                  <a:gd name="connsiteY483" fmla="*/ 57864 h 470547"/>
                  <a:gd name="connsiteX484" fmla="*/ 469053 w 578488"/>
                  <a:gd name="connsiteY484" fmla="*/ 59393 h 470547"/>
                  <a:gd name="connsiteX485" fmla="*/ 467947 w 578488"/>
                  <a:gd name="connsiteY485" fmla="*/ 61904 h 470547"/>
                  <a:gd name="connsiteX486" fmla="*/ 465486 w 578488"/>
                  <a:gd name="connsiteY486" fmla="*/ 70594 h 470547"/>
                  <a:gd name="connsiteX487" fmla="*/ 463650 w 578488"/>
                  <a:gd name="connsiteY487" fmla="*/ 73863 h 470547"/>
                  <a:gd name="connsiteX488" fmla="*/ 463240 w 578488"/>
                  <a:gd name="connsiteY488" fmla="*/ 75858 h 470547"/>
                  <a:gd name="connsiteX489" fmla="*/ 463672 w 578488"/>
                  <a:gd name="connsiteY489" fmla="*/ 81895 h 470547"/>
                  <a:gd name="connsiteX490" fmla="*/ 463233 w 578488"/>
                  <a:gd name="connsiteY490" fmla="*/ 85229 h 470547"/>
                  <a:gd name="connsiteX491" fmla="*/ 460985 w 578488"/>
                  <a:gd name="connsiteY491" fmla="*/ 87977 h 470547"/>
                  <a:gd name="connsiteX492" fmla="*/ 459407 w 578488"/>
                  <a:gd name="connsiteY492" fmla="*/ 89213 h 470547"/>
                  <a:gd name="connsiteX493" fmla="*/ 457319 w 578488"/>
                  <a:gd name="connsiteY493" fmla="*/ 89467 h 470547"/>
                  <a:gd name="connsiteX494" fmla="*/ 454583 w 578488"/>
                  <a:gd name="connsiteY494" fmla="*/ 90168 h 470547"/>
                  <a:gd name="connsiteX495" fmla="*/ 452194 w 578488"/>
                  <a:gd name="connsiteY495" fmla="*/ 91756 h 470547"/>
                  <a:gd name="connsiteX496" fmla="*/ 450508 w 578488"/>
                  <a:gd name="connsiteY496" fmla="*/ 93919 h 470547"/>
                  <a:gd name="connsiteX497" fmla="*/ 448607 w 578488"/>
                  <a:gd name="connsiteY497" fmla="*/ 98760 h 470547"/>
                  <a:gd name="connsiteX498" fmla="*/ 445390 w 578488"/>
                  <a:gd name="connsiteY498" fmla="*/ 100541 h 470547"/>
                  <a:gd name="connsiteX499" fmla="*/ 442317 w 578488"/>
                  <a:gd name="connsiteY499" fmla="*/ 100033 h 470547"/>
                  <a:gd name="connsiteX500" fmla="*/ 440123 w 578488"/>
                  <a:gd name="connsiteY500" fmla="*/ 98251 h 470547"/>
                  <a:gd name="connsiteX501" fmla="*/ 435420 w 578488"/>
                  <a:gd name="connsiteY501" fmla="*/ 96871 h 470547"/>
                  <a:gd name="connsiteX502" fmla="*/ 431915 w 578488"/>
                  <a:gd name="connsiteY502" fmla="*/ 95991 h 470547"/>
                  <a:gd name="connsiteX503" fmla="*/ 427981 w 578488"/>
                  <a:gd name="connsiteY503" fmla="*/ 94089 h 470547"/>
                  <a:gd name="connsiteX504" fmla="*/ 424516 w 578488"/>
                  <a:gd name="connsiteY504" fmla="*/ 92640 h 470547"/>
                  <a:gd name="connsiteX505" fmla="*/ 421345 w 578488"/>
                  <a:gd name="connsiteY505" fmla="*/ 92352 h 470547"/>
                  <a:gd name="connsiteX506" fmla="*/ 419545 w 578488"/>
                  <a:gd name="connsiteY506" fmla="*/ 94184 h 470547"/>
                  <a:gd name="connsiteX507" fmla="*/ 418095 w 578488"/>
                  <a:gd name="connsiteY507" fmla="*/ 95901 h 470547"/>
                  <a:gd name="connsiteX508" fmla="*/ 412688 w 578488"/>
                  <a:gd name="connsiteY508" fmla="*/ 97296 h 470547"/>
                  <a:gd name="connsiteX509" fmla="*/ 409627 w 578488"/>
                  <a:gd name="connsiteY509" fmla="*/ 98399 h 470547"/>
                  <a:gd name="connsiteX510" fmla="*/ 405653 w 578488"/>
                  <a:gd name="connsiteY510" fmla="*/ 98645 h 470547"/>
                  <a:gd name="connsiteX511" fmla="*/ 404047 w 578488"/>
                  <a:gd name="connsiteY511" fmla="*/ 97422 h 470547"/>
                  <a:gd name="connsiteX512" fmla="*/ 398283 w 578488"/>
                  <a:gd name="connsiteY512" fmla="*/ 96615 h 470547"/>
                  <a:gd name="connsiteX513" fmla="*/ 391421 w 578488"/>
                  <a:gd name="connsiteY513" fmla="*/ 95656 h 470547"/>
                  <a:gd name="connsiteX514" fmla="*/ 389436 w 578488"/>
                  <a:gd name="connsiteY514" fmla="*/ 95670 h 470547"/>
                  <a:gd name="connsiteX515" fmla="*/ 388817 w 578488"/>
                  <a:gd name="connsiteY515" fmla="*/ 93482 h 470547"/>
                  <a:gd name="connsiteX516" fmla="*/ 386992 w 578488"/>
                  <a:gd name="connsiteY516" fmla="*/ 90423 h 470547"/>
                  <a:gd name="connsiteX517" fmla="*/ 382112 w 578488"/>
                  <a:gd name="connsiteY517" fmla="*/ 85126 h 470547"/>
                  <a:gd name="connsiteX518" fmla="*/ 380116 w 578488"/>
                  <a:gd name="connsiteY518" fmla="*/ 83253 h 470547"/>
                  <a:gd name="connsiteX519" fmla="*/ 376363 w 578488"/>
                  <a:gd name="connsiteY519" fmla="*/ 78851 h 470547"/>
                  <a:gd name="connsiteX520" fmla="*/ 371986 w 578488"/>
                  <a:gd name="connsiteY520" fmla="*/ 74329 h 470547"/>
                  <a:gd name="connsiteX521" fmla="*/ 371366 w 578488"/>
                  <a:gd name="connsiteY521" fmla="*/ 74217 h 470547"/>
                  <a:gd name="connsiteX522" fmla="*/ 368436 w 578488"/>
                  <a:gd name="connsiteY522" fmla="*/ 74065 h 470547"/>
                  <a:gd name="connsiteX523" fmla="*/ 364137 w 578488"/>
                  <a:gd name="connsiteY523" fmla="*/ 74214 h 470547"/>
                  <a:gd name="connsiteX524" fmla="*/ 361416 w 578488"/>
                  <a:gd name="connsiteY524" fmla="*/ 75242 h 470547"/>
                  <a:gd name="connsiteX525" fmla="*/ 359699 w 578488"/>
                  <a:gd name="connsiteY525" fmla="*/ 76533 h 470547"/>
                  <a:gd name="connsiteX526" fmla="*/ 359401 w 578488"/>
                  <a:gd name="connsiteY526" fmla="*/ 77604 h 470547"/>
                  <a:gd name="connsiteX527" fmla="*/ 361064 w 578488"/>
                  <a:gd name="connsiteY527" fmla="*/ 81713 h 470547"/>
                  <a:gd name="connsiteX528" fmla="*/ 360548 w 578488"/>
                  <a:gd name="connsiteY528" fmla="*/ 82736 h 470547"/>
                  <a:gd name="connsiteX529" fmla="*/ 359691 w 578488"/>
                  <a:gd name="connsiteY529" fmla="*/ 83228 h 470547"/>
                  <a:gd name="connsiteX530" fmla="*/ 355789 w 578488"/>
                  <a:gd name="connsiteY530" fmla="*/ 82077 h 470547"/>
                  <a:gd name="connsiteX531" fmla="*/ 351070 w 578488"/>
                  <a:gd name="connsiteY531" fmla="*/ 82153 h 470547"/>
                  <a:gd name="connsiteX532" fmla="*/ 349882 w 578488"/>
                  <a:gd name="connsiteY532" fmla="*/ 83418 h 470547"/>
                  <a:gd name="connsiteX533" fmla="*/ 347004 w 578488"/>
                  <a:gd name="connsiteY533" fmla="*/ 83556 h 470547"/>
                  <a:gd name="connsiteX534" fmla="*/ 338706 w 578488"/>
                  <a:gd name="connsiteY534" fmla="*/ 84037 h 470547"/>
                  <a:gd name="connsiteX535" fmla="*/ 342368 w 578488"/>
                  <a:gd name="connsiteY535" fmla="*/ 87389 h 470547"/>
                  <a:gd name="connsiteX536" fmla="*/ 343579 w 578488"/>
                  <a:gd name="connsiteY536" fmla="*/ 88730 h 470547"/>
                  <a:gd name="connsiteX537" fmla="*/ 343821 w 578488"/>
                  <a:gd name="connsiteY537" fmla="*/ 90698 h 470547"/>
                  <a:gd name="connsiteX538" fmla="*/ 343189 w 578488"/>
                  <a:gd name="connsiteY538" fmla="*/ 94352 h 470547"/>
                  <a:gd name="connsiteX539" fmla="*/ 341433 w 578488"/>
                  <a:gd name="connsiteY539" fmla="*/ 97469 h 470547"/>
                  <a:gd name="connsiteX540" fmla="*/ 339386 w 578488"/>
                  <a:gd name="connsiteY540" fmla="*/ 100001 h 470547"/>
                  <a:gd name="connsiteX541" fmla="*/ 335436 w 578488"/>
                  <a:gd name="connsiteY541" fmla="*/ 102509 h 470547"/>
                  <a:gd name="connsiteX542" fmla="*/ 341433 w 578488"/>
                  <a:gd name="connsiteY542" fmla="*/ 104984 h 470547"/>
                  <a:gd name="connsiteX543" fmla="*/ 337363 w 578488"/>
                  <a:gd name="connsiteY543" fmla="*/ 108323 h 470547"/>
                  <a:gd name="connsiteX544" fmla="*/ 335458 w 578488"/>
                  <a:gd name="connsiteY544" fmla="*/ 109623 h 470547"/>
                  <a:gd name="connsiteX545" fmla="*/ 333251 w 578488"/>
                  <a:gd name="connsiteY545" fmla="*/ 109399 h 470547"/>
                  <a:gd name="connsiteX546" fmla="*/ 329297 w 578488"/>
                  <a:gd name="connsiteY546" fmla="*/ 108244 h 470547"/>
                  <a:gd name="connsiteX547" fmla="*/ 319740 w 578488"/>
                  <a:gd name="connsiteY547" fmla="*/ 105452 h 470547"/>
                  <a:gd name="connsiteX548" fmla="*/ 315177 w 578488"/>
                  <a:gd name="connsiteY548" fmla="*/ 104401 h 470547"/>
                  <a:gd name="connsiteX549" fmla="*/ 311100 w 578488"/>
                  <a:gd name="connsiteY549" fmla="*/ 104079 h 470547"/>
                  <a:gd name="connsiteX550" fmla="*/ 308923 w 578488"/>
                  <a:gd name="connsiteY550" fmla="*/ 104120 h 470547"/>
                  <a:gd name="connsiteX551" fmla="*/ 300273 w 578488"/>
                  <a:gd name="connsiteY551" fmla="*/ 101727 h 470547"/>
                  <a:gd name="connsiteX552" fmla="*/ 298602 w 578488"/>
                  <a:gd name="connsiteY552" fmla="*/ 101995 h 470547"/>
                  <a:gd name="connsiteX553" fmla="*/ 295496 w 578488"/>
                  <a:gd name="connsiteY553" fmla="*/ 103032 h 470547"/>
                  <a:gd name="connsiteX554" fmla="*/ 295153 w 578488"/>
                  <a:gd name="connsiteY554" fmla="*/ 105358 h 470547"/>
                  <a:gd name="connsiteX555" fmla="*/ 295349 w 578488"/>
                  <a:gd name="connsiteY555" fmla="*/ 111135 h 470547"/>
                  <a:gd name="connsiteX556" fmla="*/ 295807 w 578488"/>
                  <a:gd name="connsiteY556" fmla="*/ 115572 h 470547"/>
                  <a:gd name="connsiteX557" fmla="*/ 294665 w 578488"/>
                  <a:gd name="connsiteY557" fmla="*/ 118133 h 470547"/>
                  <a:gd name="connsiteX558" fmla="*/ 293520 w 578488"/>
                  <a:gd name="connsiteY558" fmla="*/ 119869 h 470547"/>
                  <a:gd name="connsiteX559" fmla="*/ 290059 w 578488"/>
                  <a:gd name="connsiteY559" fmla="*/ 124542 h 470547"/>
                  <a:gd name="connsiteX560" fmla="*/ 282277 w 578488"/>
                  <a:gd name="connsiteY560" fmla="*/ 121367 h 470547"/>
                  <a:gd name="connsiteX561" fmla="*/ 276967 w 578488"/>
                  <a:gd name="connsiteY561" fmla="*/ 119261 h 470547"/>
                  <a:gd name="connsiteX562" fmla="*/ 273559 w 578488"/>
                  <a:gd name="connsiteY562" fmla="*/ 122064 h 470547"/>
                  <a:gd name="connsiteX563" fmla="*/ 265004 w 578488"/>
                  <a:gd name="connsiteY563" fmla="*/ 127192 h 470547"/>
                  <a:gd name="connsiteX564" fmla="*/ 260624 w 578488"/>
                  <a:gd name="connsiteY564" fmla="*/ 137276 h 470547"/>
                  <a:gd name="connsiteX565" fmla="*/ 260372 w 578488"/>
                  <a:gd name="connsiteY565" fmla="*/ 137605 h 470547"/>
                  <a:gd name="connsiteX566" fmla="*/ 257785 w 578488"/>
                  <a:gd name="connsiteY566" fmla="*/ 140161 h 470547"/>
                  <a:gd name="connsiteX567" fmla="*/ 254468 w 578488"/>
                  <a:gd name="connsiteY567" fmla="*/ 141334 h 470547"/>
                  <a:gd name="connsiteX568" fmla="*/ 251957 w 578488"/>
                  <a:gd name="connsiteY568" fmla="*/ 141914 h 470547"/>
                  <a:gd name="connsiteX569" fmla="*/ 250495 w 578488"/>
                  <a:gd name="connsiteY569" fmla="*/ 144897 h 470547"/>
                  <a:gd name="connsiteX570" fmla="*/ 253902 w 578488"/>
                  <a:gd name="connsiteY570" fmla="*/ 149167 h 470547"/>
                  <a:gd name="connsiteX571" fmla="*/ 255651 w 578488"/>
                  <a:gd name="connsiteY571" fmla="*/ 151417 h 470547"/>
                  <a:gd name="connsiteX572" fmla="*/ 257280 w 578488"/>
                  <a:gd name="connsiteY572" fmla="*/ 155042 h 470547"/>
                  <a:gd name="connsiteX573" fmla="*/ 256979 w 578488"/>
                  <a:gd name="connsiteY573" fmla="*/ 157347 h 470547"/>
                  <a:gd name="connsiteX574" fmla="*/ 256599 w 578488"/>
                  <a:gd name="connsiteY574" fmla="*/ 158780 h 470547"/>
                  <a:gd name="connsiteX575" fmla="*/ 252933 w 578488"/>
                  <a:gd name="connsiteY575" fmla="*/ 161708 h 470547"/>
                  <a:gd name="connsiteX576" fmla="*/ 245116 w 578488"/>
                  <a:gd name="connsiteY576" fmla="*/ 169424 h 470547"/>
                  <a:gd name="connsiteX577" fmla="*/ 237882 w 578488"/>
                  <a:gd name="connsiteY577" fmla="*/ 177449 h 470547"/>
                  <a:gd name="connsiteX578" fmla="*/ 234917 w 578488"/>
                  <a:gd name="connsiteY578" fmla="*/ 179747 h 470547"/>
                  <a:gd name="connsiteX579" fmla="*/ 236262 w 578488"/>
                  <a:gd name="connsiteY579" fmla="*/ 186523 h 470547"/>
                  <a:gd name="connsiteX580" fmla="*/ 233855 w 578488"/>
                  <a:gd name="connsiteY580" fmla="*/ 188504 h 470547"/>
                  <a:gd name="connsiteX581" fmla="*/ 228955 w 578488"/>
                  <a:gd name="connsiteY581" fmla="*/ 190744 h 470547"/>
                  <a:gd name="connsiteX582" fmla="*/ 226450 w 578488"/>
                  <a:gd name="connsiteY582" fmla="*/ 191608 h 470547"/>
                  <a:gd name="connsiteX583" fmla="*/ 223751 w 578488"/>
                  <a:gd name="connsiteY583" fmla="*/ 192114 h 470547"/>
                  <a:gd name="connsiteX584" fmla="*/ 215465 w 578488"/>
                  <a:gd name="connsiteY584" fmla="*/ 193008 h 470547"/>
                  <a:gd name="connsiteX585" fmla="*/ 216940 w 578488"/>
                  <a:gd name="connsiteY585" fmla="*/ 200220 h 470547"/>
                  <a:gd name="connsiteX586" fmla="*/ 217497 w 578488"/>
                  <a:gd name="connsiteY586" fmla="*/ 203404 h 470547"/>
                  <a:gd name="connsiteX587" fmla="*/ 217484 w 578488"/>
                  <a:gd name="connsiteY587" fmla="*/ 205291 h 470547"/>
                  <a:gd name="connsiteX588" fmla="*/ 216627 w 578488"/>
                  <a:gd name="connsiteY588" fmla="*/ 207126 h 470547"/>
                  <a:gd name="connsiteX589" fmla="*/ 215603 w 578488"/>
                  <a:gd name="connsiteY589" fmla="*/ 210635 h 470547"/>
                  <a:gd name="connsiteX590" fmla="*/ 214059 w 578488"/>
                  <a:gd name="connsiteY590" fmla="*/ 223129 h 470547"/>
                  <a:gd name="connsiteX591" fmla="*/ 212878 w 578488"/>
                  <a:gd name="connsiteY591" fmla="*/ 224469 h 470547"/>
                  <a:gd name="connsiteX592" fmla="*/ 211246 w 578488"/>
                  <a:gd name="connsiteY592" fmla="*/ 227840 h 470547"/>
                  <a:gd name="connsiteX593" fmla="*/ 205999 w 578488"/>
                  <a:gd name="connsiteY593" fmla="*/ 235919 h 470547"/>
                  <a:gd name="connsiteX594" fmla="*/ 201790 w 578488"/>
                  <a:gd name="connsiteY594" fmla="*/ 241272 h 470547"/>
                  <a:gd name="connsiteX595" fmla="*/ 195720 w 578488"/>
                  <a:gd name="connsiteY595" fmla="*/ 248960 h 470547"/>
                  <a:gd name="connsiteX596" fmla="*/ 200656 w 578488"/>
                  <a:gd name="connsiteY596" fmla="*/ 251381 h 470547"/>
                  <a:gd name="connsiteX597" fmla="*/ 205169 w 578488"/>
                  <a:gd name="connsiteY597" fmla="*/ 253145 h 470547"/>
                  <a:gd name="connsiteX598" fmla="*/ 206104 w 578488"/>
                  <a:gd name="connsiteY598" fmla="*/ 255857 h 470547"/>
                  <a:gd name="connsiteX599" fmla="*/ 206726 w 578488"/>
                  <a:gd name="connsiteY599" fmla="*/ 260380 h 470547"/>
                  <a:gd name="connsiteX600" fmla="*/ 206575 w 578488"/>
                  <a:gd name="connsiteY600" fmla="*/ 263453 h 470547"/>
                  <a:gd name="connsiteX601" fmla="*/ 204852 w 578488"/>
                  <a:gd name="connsiteY601" fmla="*/ 266213 h 470547"/>
                  <a:gd name="connsiteX602" fmla="*/ 203513 w 578488"/>
                  <a:gd name="connsiteY602" fmla="*/ 268148 h 470547"/>
                  <a:gd name="connsiteX603" fmla="*/ 202580 w 578488"/>
                  <a:gd name="connsiteY603" fmla="*/ 269091 h 470547"/>
                  <a:gd name="connsiteX604" fmla="*/ 196171 w 578488"/>
                  <a:gd name="connsiteY604" fmla="*/ 268152 h 470547"/>
                  <a:gd name="connsiteX605" fmla="*/ 187966 w 578488"/>
                  <a:gd name="connsiteY605" fmla="*/ 266945 h 470547"/>
                  <a:gd name="connsiteX606" fmla="*/ 185841 w 578488"/>
                  <a:gd name="connsiteY606" fmla="*/ 266934 h 470547"/>
                  <a:gd name="connsiteX607" fmla="*/ 181066 w 578488"/>
                  <a:gd name="connsiteY607" fmla="*/ 267803 h 470547"/>
                  <a:gd name="connsiteX608" fmla="*/ 176758 w 578488"/>
                  <a:gd name="connsiteY608" fmla="*/ 269586 h 470547"/>
                  <a:gd name="connsiteX609" fmla="*/ 174487 w 578488"/>
                  <a:gd name="connsiteY609" fmla="*/ 271088 h 470547"/>
                  <a:gd name="connsiteX610" fmla="*/ 173878 w 578488"/>
                  <a:gd name="connsiteY610" fmla="*/ 271685 h 470547"/>
                  <a:gd name="connsiteX611" fmla="*/ 171008 w 578488"/>
                  <a:gd name="connsiteY611" fmla="*/ 275099 h 470547"/>
                  <a:gd name="connsiteX612" fmla="*/ 165905 w 578488"/>
                  <a:gd name="connsiteY612" fmla="*/ 281156 h 470547"/>
                  <a:gd name="connsiteX613" fmla="*/ 163102 w 578488"/>
                  <a:gd name="connsiteY613" fmla="*/ 283795 h 470547"/>
                  <a:gd name="connsiteX614" fmla="*/ 163919 w 578488"/>
                  <a:gd name="connsiteY614" fmla="*/ 287426 h 470547"/>
                  <a:gd name="connsiteX615" fmla="*/ 159226 w 578488"/>
                  <a:gd name="connsiteY615" fmla="*/ 294429 h 470547"/>
                  <a:gd name="connsiteX616" fmla="*/ 162295 w 578488"/>
                  <a:gd name="connsiteY616" fmla="*/ 301478 h 470547"/>
                  <a:gd name="connsiteX617" fmla="*/ 162426 w 578488"/>
                  <a:gd name="connsiteY617" fmla="*/ 301709 h 470547"/>
                  <a:gd name="connsiteX618" fmla="*/ 164052 w 578488"/>
                  <a:gd name="connsiteY618" fmla="*/ 304551 h 470547"/>
                  <a:gd name="connsiteX619" fmla="*/ 162347 w 578488"/>
                  <a:gd name="connsiteY619" fmla="*/ 306381 h 470547"/>
                  <a:gd name="connsiteX620" fmla="*/ 161630 w 578488"/>
                  <a:gd name="connsiteY620" fmla="*/ 307364 h 470547"/>
                  <a:gd name="connsiteX621" fmla="*/ 161873 w 578488"/>
                  <a:gd name="connsiteY621" fmla="*/ 310603 h 470547"/>
                  <a:gd name="connsiteX622" fmla="*/ 162321 w 578488"/>
                  <a:gd name="connsiteY622" fmla="*/ 314217 h 470547"/>
                  <a:gd name="connsiteX623" fmla="*/ 161923 w 578488"/>
                  <a:gd name="connsiteY623" fmla="*/ 316334 h 470547"/>
                  <a:gd name="connsiteX624" fmla="*/ 161761 w 578488"/>
                  <a:gd name="connsiteY624" fmla="*/ 318682 h 470547"/>
                  <a:gd name="connsiteX625" fmla="*/ 165940 w 578488"/>
                  <a:gd name="connsiteY625" fmla="*/ 329208 h 470547"/>
                  <a:gd name="connsiteX626" fmla="*/ 165892 w 578488"/>
                  <a:gd name="connsiteY626" fmla="*/ 331669 h 470547"/>
                  <a:gd name="connsiteX627" fmla="*/ 165685 w 578488"/>
                  <a:gd name="connsiteY627" fmla="*/ 333254 h 470547"/>
                  <a:gd name="connsiteX628" fmla="*/ 164396 w 578488"/>
                  <a:gd name="connsiteY628" fmla="*/ 339764 h 470547"/>
                  <a:gd name="connsiteX629" fmla="*/ 162664 w 578488"/>
                  <a:gd name="connsiteY629" fmla="*/ 348480 h 470547"/>
                  <a:gd name="connsiteX630" fmla="*/ 165687 w 578488"/>
                  <a:gd name="connsiteY630" fmla="*/ 350764 h 470547"/>
                  <a:gd name="connsiteX631" fmla="*/ 169993 w 578488"/>
                  <a:gd name="connsiteY631" fmla="*/ 353492 h 470547"/>
                  <a:gd name="connsiteX632" fmla="*/ 172409 w 578488"/>
                  <a:gd name="connsiteY632" fmla="*/ 354565 h 470547"/>
                  <a:gd name="connsiteX633" fmla="*/ 175979 w 578488"/>
                  <a:gd name="connsiteY633" fmla="*/ 357800 h 470547"/>
                  <a:gd name="connsiteX634" fmla="*/ 178704 w 578488"/>
                  <a:gd name="connsiteY634" fmla="*/ 360956 h 470547"/>
                  <a:gd name="connsiteX635" fmla="*/ 178326 w 578488"/>
                  <a:gd name="connsiteY635" fmla="*/ 363049 h 470547"/>
                  <a:gd name="connsiteX636" fmla="*/ 177542 w 578488"/>
                  <a:gd name="connsiteY636" fmla="*/ 365356 h 470547"/>
                  <a:gd name="connsiteX637" fmla="*/ 176395 w 578488"/>
                  <a:gd name="connsiteY637" fmla="*/ 366968 h 470547"/>
                  <a:gd name="connsiteX638" fmla="*/ 175322 w 578488"/>
                  <a:gd name="connsiteY638" fmla="*/ 369179 h 470547"/>
                  <a:gd name="connsiteX639" fmla="*/ 174841 w 578488"/>
                  <a:gd name="connsiteY639" fmla="*/ 370806 h 470547"/>
                  <a:gd name="connsiteX640" fmla="*/ 174331 w 578488"/>
                  <a:gd name="connsiteY640" fmla="*/ 371244 h 470547"/>
                  <a:gd name="connsiteX641" fmla="*/ 169568 w 578488"/>
                  <a:gd name="connsiteY641" fmla="*/ 371422 h 470547"/>
                  <a:gd name="connsiteX642" fmla="*/ 167049 w 578488"/>
                  <a:gd name="connsiteY642" fmla="*/ 372037 h 470547"/>
                  <a:gd name="connsiteX643" fmla="*/ 165732 w 578488"/>
                  <a:gd name="connsiteY643" fmla="*/ 372726 h 470547"/>
                  <a:gd name="connsiteX644" fmla="*/ 166186 w 578488"/>
                  <a:gd name="connsiteY644" fmla="*/ 376434 h 470547"/>
                  <a:gd name="connsiteX645" fmla="*/ 169075 w 578488"/>
                  <a:gd name="connsiteY645" fmla="*/ 383209 h 470547"/>
                  <a:gd name="connsiteX646" fmla="*/ 171474 w 578488"/>
                  <a:gd name="connsiteY646" fmla="*/ 388013 h 470547"/>
                  <a:gd name="connsiteX647" fmla="*/ 172245 w 578488"/>
                  <a:gd name="connsiteY647" fmla="*/ 391175 h 470547"/>
                  <a:gd name="connsiteX648" fmla="*/ 171453 w 578488"/>
                  <a:gd name="connsiteY648" fmla="*/ 394375 h 470547"/>
                  <a:gd name="connsiteX649" fmla="*/ 170634 w 578488"/>
                  <a:gd name="connsiteY649" fmla="*/ 396012 h 470547"/>
                  <a:gd name="connsiteX650" fmla="*/ 170608 w 578488"/>
                  <a:gd name="connsiteY650" fmla="*/ 398214 h 470547"/>
                  <a:gd name="connsiteX651" fmla="*/ 169978 w 578488"/>
                  <a:gd name="connsiteY651" fmla="*/ 402590 h 470547"/>
                  <a:gd name="connsiteX652" fmla="*/ 168118 w 578488"/>
                  <a:gd name="connsiteY652" fmla="*/ 404799 h 470547"/>
                  <a:gd name="connsiteX653" fmla="*/ 165685 w 578488"/>
                  <a:gd name="connsiteY653" fmla="*/ 407204 h 470547"/>
                  <a:gd name="connsiteX654" fmla="*/ 162971 w 578488"/>
                  <a:gd name="connsiteY654" fmla="*/ 408999 h 470547"/>
                  <a:gd name="connsiteX655" fmla="*/ 160818 w 578488"/>
                  <a:gd name="connsiteY655" fmla="*/ 409503 h 470547"/>
                  <a:gd name="connsiteX656" fmla="*/ 158969 w 578488"/>
                  <a:gd name="connsiteY656" fmla="*/ 409711 h 470547"/>
                  <a:gd name="connsiteX657" fmla="*/ 157728 w 578488"/>
                  <a:gd name="connsiteY657" fmla="*/ 410622 h 470547"/>
                  <a:gd name="connsiteX658" fmla="*/ 156602 w 578488"/>
                  <a:gd name="connsiteY658" fmla="*/ 413299 h 470547"/>
                  <a:gd name="connsiteX659" fmla="*/ 155564 w 578488"/>
                  <a:gd name="connsiteY659" fmla="*/ 416106 h 470547"/>
                  <a:gd name="connsiteX660" fmla="*/ 152169 w 578488"/>
                  <a:gd name="connsiteY660" fmla="*/ 419553 h 470547"/>
                  <a:gd name="connsiteX661" fmla="*/ 152260 w 578488"/>
                  <a:gd name="connsiteY661" fmla="*/ 420752 h 470547"/>
                  <a:gd name="connsiteX662" fmla="*/ 153553 w 578488"/>
                  <a:gd name="connsiteY662" fmla="*/ 424829 h 470547"/>
                  <a:gd name="connsiteX663" fmla="*/ 154765 w 578488"/>
                  <a:gd name="connsiteY663" fmla="*/ 429460 h 470547"/>
                  <a:gd name="connsiteX664" fmla="*/ 153741 w 578488"/>
                  <a:gd name="connsiteY664" fmla="*/ 433781 h 470547"/>
                  <a:gd name="connsiteX665" fmla="*/ 152865 w 578488"/>
                  <a:gd name="connsiteY665" fmla="*/ 438308 h 470547"/>
                  <a:gd name="connsiteX666" fmla="*/ 151329 w 578488"/>
                  <a:gd name="connsiteY666" fmla="*/ 441320 h 470547"/>
                  <a:gd name="connsiteX667" fmla="*/ 149135 w 578488"/>
                  <a:gd name="connsiteY667" fmla="*/ 442395 h 470547"/>
                  <a:gd name="connsiteX668" fmla="*/ 147524 w 578488"/>
                  <a:gd name="connsiteY668" fmla="*/ 441858 h 470547"/>
                  <a:gd name="connsiteX669" fmla="*/ 145702 w 578488"/>
                  <a:gd name="connsiteY669" fmla="*/ 437727 h 470547"/>
                  <a:gd name="connsiteX670" fmla="*/ 145661 w 578488"/>
                  <a:gd name="connsiteY670" fmla="*/ 436776 h 470547"/>
                  <a:gd name="connsiteX671" fmla="*/ 145207 w 578488"/>
                  <a:gd name="connsiteY671" fmla="*/ 435511 h 470547"/>
                  <a:gd name="connsiteX672" fmla="*/ 140038 w 578488"/>
                  <a:gd name="connsiteY672" fmla="*/ 434250 h 470547"/>
                  <a:gd name="connsiteX673" fmla="*/ 139124 w 578488"/>
                  <a:gd name="connsiteY673" fmla="*/ 434296 h 470547"/>
                  <a:gd name="connsiteX674" fmla="*/ 137092 w 578488"/>
                  <a:gd name="connsiteY674" fmla="*/ 433557 h 470547"/>
                  <a:gd name="connsiteX675" fmla="*/ 135901 w 578488"/>
                  <a:gd name="connsiteY675" fmla="*/ 433348 h 470547"/>
                  <a:gd name="connsiteX676" fmla="*/ 133456 w 578488"/>
                  <a:gd name="connsiteY676" fmla="*/ 432921 h 470547"/>
                  <a:gd name="connsiteX677" fmla="*/ 131424 w 578488"/>
                  <a:gd name="connsiteY677" fmla="*/ 429261 h 470547"/>
                  <a:gd name="connsiteX678" fmla="*/ 129265 w 578488"/>
                  <a:gd name="connsiteY678" fmla="*/ 426212 h 470547"/>
                  <a:gd name="connsiteX679" fmla="*/ 128958 w 578488"/>
                  <a:gd name="connsiteY679" fmla="*/ 424936 h 470547"/>
                  <a:gd name="connsiteX680" fmla="*/ 129032 w 578488"/>
                  <a:gd name="connsiteY680" fmla="*/ 419218 h 470547"/>
                  <a:gd name="connsiteX681" fmla="*/ 128371 w 578488"/>
                  <a:gd name="connsiteY681" fmla="*/ 416670 h 470547"/>
                  <a:gd name="connsiteX682" fmla="*/ 128168 w 578488"/>
                  <a:gd name="connsiteY682" fmla="*/ 413889 h 470547"/>
                  <a:gd name="connsiteX683" fmla="*/ 126809 w 578488"/>
                  <a:gd name="connsiteY683" fmla="*/ 416151 h 470547"/>
                  <a:gd name="connsiteX684" fmla="*/ 127598 w 578488"/>
                  <a:gd name="connsiteY684" fmla="*/ 419723 h 470547"/>
                  <a:gd name="connsiteX685" fmla="*/ 125922 w 578488"/>
                  <a:gd name="connsiteY685" fmla="*/ 421220 h 470547"/>
                  <a:gd name="connsiteX686" fmla="*/ 123808 w 578488"/>
                  <a:gd name="connsiteY686" fmla="*/ 421947 h 470547"/>
                  <a:gd name="connsiteX687" fmla="*/ 124007 w 578488"/>
                  <a:gd name="connsiteY687" fmla="*/ 424035 h 470547"/>
                  <a:gd name="connsiteX688" fmla="*/ 124875 w 578488"/>
                  <a:gd name="connsiteY688" fmla="*/ 424430 h 470547"/>
                  <a:gd name="connsiteX689" fmla="*/ 125056 w 578488"/>
                  <a:gd name="connsiteY689" fmla="*/ 426595 h 470547"/>
                  <a:gd name="connsiteX690" fmla="*/ 124542 w 578488"/>
                  <a:gd name="connsiteY690" fmla="*/ 429796 h 470547"/>
                  <a:gd name="connsiteX691" fmla="*/ 120381 w 578488"/>
                  <a:gd name="connsiteY691" fmla="*/ 436895 h 470547"/>
                  <a:gd name="connsiteX692" fmla="*/ 119541 w 578488"/>
                  <a:gd name="connsiteY692" fmla="*/ 437657 h 470547"/>
                  <a:gd name="connsiteX693" fmla="*/ 118971 w 578488"/>
                  <a:gd name="connsiteY693" fmla="*/ 438614 h 470547"/>
                  <a:gd name="connsiteX694" fmla="*/ 116842 w 578488"/>
                  <a:gd name="connsiteY694" fmla="*/ 437978 h 470547"/>
                  <a:gd name="connsiteX695" fmla="*/ 114110 w 578488"/>
                  <a:gd name="connsiteY695" fmla="*/ 439950 h 470547"/>
                  <a:gd name="connsiteX696" fmla="*/ 111523 w 578488"/>
                  <a:gd name="connsiteY696" fmla="*/ 440266 h 470547"/>
                  <a:gd name="connsiteX697" fmla="*/ 110586 w 578488"/>
                  <a:gd name="connsiteY697" fmla="*/ 438035 h 470547"/>
                  <a:gd name="connsiteX698" fmla="*/ 106936 w 578488"/>
                  <a:gd name="connsiteY698" fmla="*/ 435079 h 470547"/>
                  <a:gd name="connsiteX699" fmla="*/ 105213 w 578488"/>
                  <a:gd name="connsiteY699" fmla="*/ 435245 h 470547"/>
                  <a:gd name="connsiteX700" fmla="*/ 106760 w 578488"/>
                  <a:gd name="connsiteY700" fmla="*/ 436704 h 470547"/>
                  <a:gd name="connsiteX701" fmla="*/ 108284 w 578488"/>
                  <a:gd name="connsiteY701" fmla="*/ 438599 h 470547"/>
                  <a:gd name="connsiteX702" fmla="*/ 107418 w 578488"/>
                  <a:gd name="connsiteY702" fmla="*/ 439853 h 470547"/>
                  <a:gd name="connsiteX703" fmla="*/ 106567 w 578488"/>
                  <a:gd name="connsiteY703" fmla="*/ 440671 h 470547"/>
                  <a:gd name="connsiteX704" fmla="*/ 105077 w 578488"/>
                  <a:gd name="connsiteY704" fmla="*/ 441095 h 470547"/>
                  <a:gd name="connsiteX705" fmla="*/ 99746 w 578488"/>
                  <a:gd name="connsiteY705" fmla="*/ 443570 h 470547"/>
                  <a:gd name="connsiteX706" fmla="*/ 101644 w 578488"/>
                  <a:gd name="connsiteY706" fmla="*/ 445231 h 470547"/>
                  <a:gd name="connsiteX707" fmla="*/ 100033 w 578488"/>
                  <a:gd name="connsiteY707" fmla="*/ 447116 h 470547"/>
                  <a:gd name="connsiteX708" fmla="*/ 98170 w 578488"/>
                  <a:gd name="connsiteY708" fmla="*/ 447393 h 470547"/>
                  <a:gd name="connsiteX709" fmla="*/ 97176 w 578488"/>
                  <a:gd name="connsiteY709" fmla="*/ 448273 h 470547"/>
                  <a:gd name="connsiteX710" fmla="*/ 96831 w 578488"/>
                  <a:gd name="connsiteY710" fmla="*/ 449467 h 470547"/>
                  <a:gd name="connsiteX711" fmla="*/ 91309 w 578488"/>
                  <a:gd name="connsiteY711" fmla="*/ 452866 h 470547"/>
                  <a:gd name="connsiteX712" fmla="*/ 82309 w 578488"/>
                  <a:gd name="connsiteY712" fmla="*/ 461559 h 470547"/>
                  <a:gd name="connsiteX713" fmla="*/ 77684 w 578488"/>
                  <a:gd name="connsiteY713" fmla="*/ 464009 h 470547"/>
                  <a:gd name="connsiteX714" fmla="*/ 74453 w 578488"/>
                  <a:gd name="connsiteY714" fmla="*/ 466554 h 470547"/>
                  <a:gd name="connsiteX715" fmla="*/ 71607 w 578488"/>
                  <a:gd name="connsiteY715" fmla="*/ 466491 h 470547"/>
                  <a:gd name="connsiteX716" fmla="*/ 68029 w 578488"/>
                  <a:gd name="connsiteY716" fmla="*/ 468652 h 470547"/>
                  <a:gd name="connsiteX717" fmla="*/ 58970 w 578488"/>
                  <a:gd name="connsiteY717" fmla="*/ 470547 h 470547"/>
                  <a:gd name="connsiteX718" fmla="*/ 52961 w 578488"/>
                  <a:gd name="connsiteY718" fmla="*/ 469690 h 470547"/>
                  <a:gd name="connsiteX719" fmla="*/ 48776 w 578488"/>
                  <a:gd name="connsiteY719" fmla="*/ 470442 h 470547"/>
                  <a:gd name="connsiteX720" fmla="*/ 46532 w 578488"/>
                  <a:gd name="connsiteY720" fmla="*/ 468957 h 470547"/>
                  <a:gd name="connsiteX721" fmla="*/ 46241 w 578488"/>
                  <a:gd name="connsiteY721" fmla="*/ 467936 h 470547"/>
                  <a:gd name="connsiteX722" fmla="*/ 46353 w 578488"/>
                  <a:gd name="connsiteY722" fmla="*/ 467343 h 470547"/>
                  <a:gd name="connsiteX723" fmla="*/ 46729 w 578488"/>
                  <a:gd name="connsiteY723" fmla="*/ 466632 h 470547"/>
                  <a:gd name="connsiteX724" fmla="*/ 45949 w 578488"/>
                  <a:gd name="connsiteY724" fmla="*/ 466380 h 470547"/>
                  <a:gd name="connsiteX725" fmla="*/ 44308 w 578488"/>
                  <a:gd name="connsiteY725" fmla="*/ 466257 h 470547"/>
                  <a:gd name="connsiteX726" fmla="*/ 43606 w 578488"/>
                  <a:gd name="connsiteY726" fmla="*/ 466974 h 470547"/>
                  <a:gd name="connsiteX727" fmla="*/ 43511 w 578488"/>
                  <a:gd name="connsiteY727" fmla="*/ 468602 h 470547"/>
                  <a:gd name="connsiteX728" fmla="*/ 42730 w 578488"/>
                  <a:gd name="connsiteY728" fmla="*/ 469027 h 470547"/>
                  <a:gd name="connsiteX729" fmla="*/ 39613 w 578488"/>
                  <a:gd name="connsiteY729" fmla="*/ 468096 h 470547"/>
                  <a:gd name="connsiteX730" fmla="*/ 38830 w 578488"/>
                  <a:gd name="connsiteY730" fmla="*/ 467257 h 470547"/>
                  <a:gd name="connsiteX731" fmla="*/ 39950 w 578488"/>
                  <a:gd name="connsiteY731" fmla="*/ 465556 h 470547"/>
                  <a:gd name="connsiteX732" fmla="*/ 41868 w 578488"/>
                  <a:gd name="connsiteY732" fmla="*/ 464023 h 470547"/>
                  <a:gd name="connsiteX733" fmla="*/ 41520 w 578488"/>
                  <a:gd name="connsiteY733" fmla="*/ 463709 h 470547"/>
                  <a:gd name="connsiteX734" fmla="*/ 41147 w 578488"/>
                  <a:gd name="connsiteY734" fmla="*/ 462777 h 470547"/>
                  <a:gd name="connsiteX735" fmla="*/ 40211 w 578488"/>
                  <a:gd name="connsiteY735" fmla="*/ 462659 h 470547"/>
                  <a:gd name="connsiteX736" fmla="*/ 37424 w 578488"/>
                  <a:gd name="connsiteY736" fmla="*/ 462884 h 470547"/>
                  <a:gd name="connsiteX737" fmla="*/ 35159 w 578488"/>
                  <a:gd name="connsiteY737" fmla="*/ 462609 h 470547"/>
                  <a:gd name="connsiteX738" fmla="*/ 27765 w 578488"/>
                  <a:gd name="connsiteY738" fmla="*/ 459156 h 470547"/>
                  <a:gd name="connsiteX739" fmla="*/ 26038 w 578488"/>
                  <a:gd name="connsiteY739" fmla="*/ 457312 h 470547"/>
                  <a:gd name="connsiteX740" fmla="*/ 20073 w 578488"/>
                  <a:gd name="connsiteY740" fmla="*/ 454363 h 470547"/>
                  <a:gd name="connsiteX741" fmla="*/ 17400 w 578488"/>
                  <a:gd name="connsiteY741" fmla="*/ 451234 h 470547"/>
                  <a:gd name="connsiteX742" fmla="*/ 15882 w 578488"/>
                  <a:gd name="connsiteY742" fmla="*/ 447798 h 470547"/>
                  <a:gd name="connsiteX743" fmla="*/ 15996 w 578488"/>
                  <a:gd name="connsiteY743" fmla="*/ 444680 h 470547"/>
                  <a:gd name="connsiteX744" fmla="*/ 16728 w 578488"/>
                  <a:gd name="connsiteY744" fmla="*/ 439723 h 470547"/>
                  <a:gd name="connsiteX745" fmla="*/ 17981 w 578488"/>
                  <a:gd name="connsiteY745" fmla="*/ 438496 h 470547"/>
                  <a:gd name="connsiteX746" fmla="*/ 23334 w 578488"/>
                  <a:gd name="connsiteY746" fmla="*/ 440234 h 470547"/>
                  <a:gd name="connsiteX747" fmla="*/ 28745 w 578488"/>
                  <a:gd name="connsiteY747" fmla="*/ 443134 h 470547"/>
                  <a:gd name="connsiteX748" fmla="*/ 29592 w 578488"/>
                  <a:gd name="connsiteY748" fmla="*/ 442991 h 470547"/>
                  <a:gd name="connsiteX749" fmla="*/ 31291 w 578488"/>
                  <a:gd name="connsiteY749" fmla="*/ 440715 h 470547"/>
                  <a:gd name="connsiteX750" fmla="*/ 34589 w 578488"/>
                  <a:gd name="connsiteY750" fmla="*/ 438885 h 470547"/>
                  <a:gd name="connsiteX751" fmla="*/ 33656 w 578488"/>
                  <a:gd name="connsiteY751" fmla="*/ 438380 h 470547"/>
                  <a:gd name="connsiteX752" fmla="*/ 28754 w 578488"/>
                  <a:gd name="connsiteY752" fmla="*/ 440479 h 470547"/>
                  <a:gd name="connsiteX753" fmla="*/ 26931 w 578488"/>
                  <a:gd name="connsiteY753" fmla="*/ 439316 h 470547"/>
                  <a:gd name="connsiteX754" fmla="*/ 24105 w 578488"/>
                  <a:gd name="connsiteY754" fmla="*/ 436946 h 470547"/>
                  <a:gd name="connsiteX755" fmla="*/ 24105 w 578488"/>
                  <a:gd name="connsiteY755" fmla="*/ 435725 h 470547"/>
                  <a:gd name="connsiteX756" fmla="*/ 25422 w 578488"/>
                  <a:gd name="connsiteY756" fmla="*/ 434503 h 470547"/>
                  <a:gd name="connsiteX757" fmla="*/ 25860 w 578488"/>
                  <a:gd name="connsiteY757" fmla="*/ 432849 h 470547"/>
                  <a:gd name="connsiteX758" fmla="*/ 25169 w 578488"/>
                  <a:gd name="connsiteY758" fmla="*/ 431287 h 470547"/>
                  <a:gd name="connsiteX759" fmla="*/ 25491 w 578488"/>
                  <a:gd name="connsiteY759" fmla="*/ 429160 h 470547"/>
                  <a:gd name="connsiteX760" fmla="*/ 27677 w 578488"/>
                  <a:gd name="connsiteY760" fmla="*/ 426901 h 470547"/>
                  <a:gd name="connsiteX761" fmla="*/ 30954 w 578488"/>
                  <a:gd name="connsiteY761" fmla="*/ 424611 h 470547"/>
                  <a:gd name="connsiteX762" fmla="*/ 33315 w 578488"/>
                  <a:gd name="connsiteY762" fmla="*/ 422399 h 470547"/>
                  <a:gd name="connsiteX763" fmla="*/ 35740 w 578488"/>
                  <a:gd name="connsiteY763" fmla="*/ 421036 h 470547"/>
                  <a:gd name="connsiteX764" fmla="*/ 35487 w 578488"/>
                  <a:gd name="connsiteY764" fmla="*/ 420581 h 470547"/>
                  <a:gd name="connsiteX765" fmla="*/ 32714 w 578488"/>
                  <a:gd name="connsiteY765" fmla="*/ 421449 h 470547"/>
                  <a:gd name="connsiteX766" fmla="*/ 30062 w 578488"/>
                  <a:gd name="connsiteY766" fmla="*/ 422921 h 470547"/>
                  <a:gd name="connsiteX767" fmla="*/ 26940 w 578488"/>
                  <a:gd name="connsiteY767" fmla="*/ 425385 h 470547"/>
                  <a:gd name="connsiteX768" fmla="*/ 23133 w 578488"/>
                  <a:gd name="connsiteY768" fmla="*/ 427381 h 470547"/>
                  <a:gd name="connsiteX769" fmla="*/ 20319 w 578488"/>
                  <a:gd name="connsiteY769" fmla="*/ 428155 h 470547"/>
                  <a:gd name="connsiteX770" fmla="*/ 18978 w 578488"/>
                  <a:gd name="connsiteY770" fmla="*/ 428795 h 470547"/>
                  <a:gd name="connsiteX771" fmla="*/ 16916 w 578488"/>
                  <a:gd name="connsiteY771" fmla="*/ 429417 h 470547"/>
                  <a:gd name="connsiteX772" fmla="*/ 14783 w 578488"/>
                  <a:gd name="connsiteY772" fmla="*/ 432273 h 470547"/>
                  <a:gd name="connsiteX773" fmla="*/ 12455 w 578488"/>
                  <a:gd name="connsiteY773" fmla="*/ 433495 h 470547"/>
                  <a:gd name="connsiteX774" fmla="*/ 8274 w 578488"/>
                  <a:gd name="connsiteY774" fmla="*/ 433619 h 470547"/>
                  <a:gd name="connsiteX775" fmla="*/ 7355 w 578488"/>
                  <a:gd name="connsiteY775" fmla="*/ 431533 h 470547"/>
                  <a:gd name="connsiteX776" fmla="*/ 8535 w 578488"/>
                  <a:gd name="connsiteY776" fmla="*/ 424101 h 470547"/>
                  <a:gd name="connsiteX777" fmla="*/ 9799 w 578488"/>
                  <a:gd name="connsiteY777" fmla="*/ 420472 h 470547"/>
                  <a:gd name="connsiteX778" fmla="*/ 11185 w 578488"/>
                  <a:gd name="connsiteY778" fmla="*/ 417901 h 470547"/>
                  <a:gd name="connsiteX779" fmla="*/ 13366 w 578488"/>
                  <a:gd name="connsiteY779" fmla="*/ 417468 h 470547"/>
                  <a:gd name="connsiteX780" fmla="*/ 14891 w 578488"/>
                  <a:gd name="connsiteY780" fmla="*/ 415582 h 470547"/>
                  <a:gd name="connsiteX781" fmla="*/ 16156 w 578488"/>
                  <a:gd name="connsiteY781" fmla="*/ 415582 h 470547"/>
                  <a:gd name="connsiteX782" fmla="*/ 17257 w 578488"/>
                  <a:gd name="connsiteY782" fmla="*/ 416453 h 470547"/>
                  <a:gd name="connsiteX783" fmla="*/ 21518 w 578488"/>
                  <a:gd name="connsiteY783" fmla="*/ 417297 h 470547"/>
                  <a:gd name="connsiteX784" fmla="*/ 23621 w 578488"/>
                  <a:gd name="connsiteY784" fmla="*/ 414895 h 470547"/>
                  <a:gd name="connsiteX785" fmla="*/ 26357 w 578488"/>
                  <a:gd name="connsiteY785" fmla="*/ 414543 h 470547"/>
                  <a:gd name="connsiteX786" fmla="*/ 31345 w 578488"/>
                  <a:gd name="connsiteY786" fmla="*/ 412116 h 470547"/>
                  <a:gd name="connsiteX787" fmla="*/ 31241 w 578488"/>
                  <a:gd name="connsiteY787" fmla="*/ 411674 h 470547"/>
                  <a:gd name="connsiteX788" fmla="*/ 27866 w 578488"/>
                  <a:gd name="connsiteY788" fmla="*/ 412208 h 470547"/>
                  <a:gd name="connsiteX789" fmla="*/ 25819 w 578488"/>
                  <a:gd name="connsiteY789" fmla="*/ 412287 h 470547"/>
                  <a:gd name="connsiteX790" fmla="*/ 22885 w 578488"/>
                  <a:gd name="connsiteY790" fmla="*/ 412896 h 470547"/>
                  <a:gd name="connsiteX791" fmla="*/ 21326 w 578488"/>
                  <a:gd name="connsiteY791" fmla="*/ 412461 h 470547"/>
                  <a:gd name="connsiteX792" fmla="*/ 20596 w 578488"/>
                  <a:gd name="connsiteY792" fmla="*/ 410642 h 470547"/>
                  <a:gd name="connsiteX793" fmla="*/ 21770 w 578488"/>
                  <a:gd name="connsiteY793" fmla="*/ 409002 h 470547"/>
                  <a:gd name="connsiteX794" fmla="*/ 26478 w 578488"/>
                  <a:gd name="connsiteY794" fmla="*/ 405081 h 470547"/>
                  <a:gd name="connsiteX795" fmla="*/ 28102 w 578488"/>
                  <a:gd name="connsiteY795" fmla="*/ 403361 h 470547"/>
                  <a:gd name="connsiteX796" fmla="*/ 29028 w 578488"/>
                  <a:gd name="connsiteY796" fmla="*/ 401753 h 470547"/>
                  <a:gd name="connsiteX797" fmla="*/ 28881 w 578488"/>
                  <a:gd name="connsiteY797" fmla="*/ 400658 h 470547"/>
                  <a:gd name="connsiteX798" fmla="*/ 29663 w 578488"/>
                  <a:gd name="connsiteY798" fmla="*/ 398392 h 470547"/>
                  <a:gd name="connsiteX799" fmla="*/ 34267 w 578488"/>
                  <a:gd name="connsiteY799" fmla="*/ 394426 h 470547"/>
                  <a:gd name="connsiteX800" fmla="*/ 38011 w 578488"/>
                  <a:gd name="connsiteY800" fmla="*/ 392611 h 470547"/>
                  <a:gd name="connsiteX801" fmla="*/ 39240 w 578488"/>
                  <a:gd name="connsiteY801" fmla="*/ 394173 h 470547"/>
                  <a:gd name="connsiteX802" fmla="*/ 38195 w 578488"/>
                  <a:gd name="connsiteY802" fmla="*/ 399051 h 470547"/>
                  <a:gd name="connsiteX803" fmla="*/ 38205 w 578488"/>
                  <a:gd name="connsiteY803" fmla="*/ 401062 h 470547"/>
                  <a:gd name="connsiteX804" fmla="*/ 41170 w 578488"/>
                  <a:gd name="connsiteY804" fmla="*/ 393952 h 470547"/>
                  <a:gd name="connsiteX805" fmla="*/ 42475 w 578488"/>
                  <a:gd name="connsiteY805" fmla="*/ 392258 h 470547"/>
                  <a:gd name="connsiteX806" fmla="*/ 43960 w 578488"/>
                  <a:gd name="connsiteY806" fmla="*/ 391063 h 470547"/>
                  <a:gd name="connsiteX807" fmla="*/ 47556 w 578488"/>
                  <a:gd name="connsiteY807" fmla="*/ 390260 h 470547"/>
                  <a:gd name="connsiteX808" fmla="*/ 48573 w 578488"/>
                  <a:gd name="connsiteY808" fmla="*/ 389136 h 470547"/>
                  <a:gd name="connsiteX809" fmla="*/ 44386 w 578488"/>
                  <a:gd name="connsiteY809" fmla="*/ 389508 h 470547"/>
                  <a:gd name="connsiteX810" fmla="*/ 34228 w 578488"/>
                  <a:gd name="connsiteY810" fmla="*/ 392228 h 470547"/>
                  <a:gd name="connsiteX811" fmla="*/ 29946 w 578488"/>
                  <a:gd name="connsiteY811" fmla="*/ 394649 h 470547"/>
                  <a:gd name="connsiteX812" fmla="*/ 28806 w 578488"/>
                  <a:gd name="connsiteY812" fmla="*/ 396513 h 470547"/>
                  <a:gd name="connsiteX813" fmla="*/ 25834 w 578488"/>
                  <a:gd name="connsiteY813" fmla="*/ 399318 h 470547"/>
                  <a:gd name="connsiteX814" fmla="*/ 24441 w 578488"/>
                  <a:gd name="connsiteY814" fmla="*/ 401138 h 470547"/>
                  <a:gd name="connsiteX815" fmla="*/ 23826 w 578488"/>
                  <a:gd name="connsiteY815" fmla="*/ 403807 h 470547"/>
                  <a:gd name="connsiteX816" fmla="*/ 22152 w 578488"/>
                  <a:gd name="connsiteY816" fmla="*/ 405256 h 470547"/>
                  <a:gd name="connsiteX817" fmla="*/ 19896 w 578488"/>
                  <a:gd name="connsiteY817" fmla="*/ 405791 h 470547"/>
                  <a:gd name="connsiteX818" fmla="*/ 16761 w 578488"/>
                  <a:gd name="connsiteY818" fmla="*/ 409168 h 470547"/>
                  <a:gd name="connsiteX819" fmla="*/ 15379 w 578488"/>
                  <a:gd name="connsiteY819" fmla="*/ 411878 h 470547"/>
                  <a:gd name="connsiteX820" fmla="*/ 12259 w 578488"/>
                  <a:gd name="connsiteY820" fmla="*/ 414035 h 470547"/>
                  <a:gd name="connsiteX821" fmla="*/ 10278 w 578488"/>
                  <a:gd name="connsiteY821" fmla="*/ 415692 h 470547"/>
                  <a:gd name="connsiteX822" fmla="*/ 9628 w 578488"/>
                  <a:gd name="connsiteY822" fmla="*/ 416283 h 470547"/>
                  <a:gd name="connsiteX823" fmla="*/ 8557 w 578488"/>
                  <a:gd name="connsiteY823" fmla="*/ 417911 h 470547"/>
                  <a:gd name="connsiteX824" fmla="*/ 7667 w 578488"/>
                  <a:gd name="connsiteY824" fmla="*/ 418025 h 470547"/>
                  <a:gd name="connsiteX825" fmla="*/ 6892 w 578488"/>
                  <a:gd name="connsiteY825" fmla="*/ 417071 h 470547"/>
                  <a:gd name="connsiteX826" fmla="*/ 6763 w 578488"/>
                  <a:gd name="connsiteY826" fmla="*/ 414970 h 470547"/>
                  <a:gd name="connsiteX827" fmla="*/ 7080 w 578488"/>
                  <a:gd name="connsiteY827" fmla="*/ 411611 h 470547"/>
                  <a:gd name="connsiteX828" fmla="*/ 8581 w 578488"/>
                  <a:gd name="connsiteY828" fmla="*/ 409191 h 470547"/>
                  <a:gd name="connsiteX829" fmla="*/ 9298 w 578488"/>
                  <a:gd name="connsiteY829" fmla="*/ 406824 h 470547"/>
                  <a:gd name="connsiteX830" fmla="*/ 8300 w 578488"/>
                  <a:gd name="connsiteY830" fmla="*/ 404611 h 470547"/>
                  <a:gd name="connsiteX831" fmla="*/ 8991 w 578488"/>
                  <a:gd name="connsiteY831" fmla="*/ 403214 h 470547"/>
                  <a:gd name="connsiteX832" fmla="*/ 10313 w 578488"/>
                  <a:gd name="connsiteY832" fmla="*/ 403262 h 470547"/>
                  <a:gd name="connsiteX833" fmla="*/ 12768 w 578488"/>
                  <a:gd name="connsiteY833" fmla="*/ 403899 h 470547"/>
                  <a:gd name="connsiteX834" fmla="*/ 15379 w 578488"/>
                  <a:gd name="connsiteY834" fmla="*/ 403797 h 470547"/>
                  <a:gd name="connsiteX835" fmla="*/ 19669 w 578488"/>
                  <a:gd name="connsiteY835" fmla="*/ 402047 h 470547"/>
                  <a:gd name="connsiteX836" fmla="*/ 18985 w 578488"/>
                  <a:gd name="connsiteY836" fmla="*/ 401024 h 470547"/>
                  <a:gd name="connsiteX837" fmla="*/ 17132 w 578488"/>
                  <a:gd name="connsiteY837" fmla="*/ 400878 h 470547"/>
                  <a:gd name="connsiteX838" fmla="*/ 13673 w 578488"/>
                  <a:gd name="connsiteY838" fmla="*/ 401024 h 470547"/>
                  <a:gd name="connsiteX839" fmla="*/ 10764 w 578488"/>
                  <a:gd name="connsiteY839" fmla="*/ 399313 h 470547"/>
                  <a:gd name="connsiteX840" fmla="*/ 8503 w 578488"/>
                  <a:gd name="connsiteY840" fmla="*/ 395906 h 470547"/>
                  <a:gd name="connsiteX841" fmla="*/ 7475 w 578488"/>
                  <a:gd name="connsiteY841" fmla="*/ 391346 h 470547"/>
                  <a:gd name="connsiteX842" fmla="*/ 8162 w 578488"/>
                  <a:gd name="connsiteY842" fmla="*/ 390040 h 470547"/>
                  <a:gd name="connsiteX843" fmla="*/ 16528 w 578488"/>
                  <a:gd name="connsiteY843" fmla="*/ 385382 h 470547"/>
                  <a:gd name="connsiteX844" fmla="*/ 18780 w 578488"/>
                  <a:gd name="connsiteY844" fmla="*/ 383264 h 470547"/>
                  <a:gd name="connsiteX845" fmla="*/ 17475 w 578488"/>
                  <a:gd name="connsiteY845" fmla="*/ 383054 h 470547"/>
                  <a:gd name="connsiteX846" fmla="*/ 14336 w 578488"/>
                  <a:gd name="connsiteY846" fmla="*/ 385623 h 470547"/>
                  <a:gd name="connsiteX847" fmla="*/ 9840 w 578488"/>
                  <a:gd name="connsiteY847" fmla="*/ 387216 h 470547"/>
                  <a:gd name="connsiteX848" fmla="*/ 7005 w 578488"/>
                  <a:gd name="connsiteY848" fmla="*/ 385001 h 470547"/>
                  <a:gd name="connsiteX849" fmla="*/ 5530 w 578488"/>
                  <a:gd name="connsiteY849" fmla="*/ 382612 h 470547"/>
                  <a:gd name="connsiteX850" fmla="*/ 4681 w 578488"/>
                  <a:gd name="connsiteY850" fmla="*/ 377560 h 470547"/>
                  <a:gd name="connsiteX851" fmla="*/ 4988 w 578488"/>
                  <a:gd name="connsiteY851" fmla="*/ 374959 h 470547"/>
                  <a:gd name="connsiteX852" fmla="*/ 4633 w 578488"/>
                  <a:gd name="connsiteY852" fmla="*/ 371534 h 470547"/>
                  <a:gd name="connsiteX853" fmla="*/ 6553 w 578488"/>
                  <a:gd name="connsiteY853" fmla="*/ 370420 h 470547"/>
                  <a:gd name="connsiteX854" fmla="*/ 8700 w 578488"/>
                  <a:gd name="connsiteY854" fmla="*/ 371012 h 470547"/>
                  <a:gd name="connsiteX855" fmla="*/ 10816 w 578488"/>
                  <a:gd name="connsiteY855" fmla="*/ 371232 h 470547"/>
                  <a:gd name="connsiteX856" fmla="*/ 15616 w 578488"/>
                  <a:gd name="connsiteY856" fmla="*/ 370932 h 470547"/>
                  <a:gd name="connsiteX857" fmla="*/ 26201 w 578488"/>
                  <a:gd name="connsiteY857" fmla="*/ 368874 h 470547"/>
                  <a:gd name="connsiteX858" fmla="*/ 33025 w 578488"/>
                  <a:gd name="connsiteY858" fmla="*/ 370097 h 470547"/>
                  <a:gd name="connsiteX859" fmla="*/ 35798 w 578488"/>
                  <a:gd name="connsiteY859" fmla="*/ 369985 h 470547"/>
                  <a:gd name="connsiteX860" fmla="*/ 40041 w 578488"/>
                  <a:gd name="connsiteY860" fmla="*/ 368212 h 470547"/>
                  <a:gd name="connsiteX861" fmla="*/ 43755 w 578488"/>
                  <a:gd name="connsiteY861" fmla="*/ 368029 h 470547"/>
                  <a:gd name="connsiteX862" fmla="*/ 46532 w 578488"/>
                  <a:gd name="connsiteY862" fmla="*/ 369384 h 470547"/>
                  <a:gd name="connsiteX863" fmla="*/ 48050 w 578488"/>
                  <a:gd name="connsiteY863" fmla="*/ 370937 h 470547"/>
                  <a:gd name="connsiteX864" fmla="*/ 48238 w 578488"/>
                  <a:gd name="connsiteY864" fmla="*/ 373013 h 470547"/>
                  <a:gd name="connsiteX865" fmla="*/ 49523 w 578488"/>
                  <a:gd name="connsiteY865" fmla="*/ 374396 h 470547"/>
                  <a:gd name="connsiteX866" fmla="*/ 50391 w 578488"/>
                  <a:gd name="connsiteY866" fmla="*/ 373947 h 470547"/>
                  <a:gd name="connsiteX867" fmla="*/ 49700 w 578488"/>
                  <a:gd name="connsiteY867" fmla="*/ 372303 h 470547"/>
                  <a:gd name="connsiteX868" fmla="*/ 49555 w 578488"/>
                  <a:gd name="connsiteY868" fmla="*/ 369753 h 470547"/>
                  <a:gd name="connsiteX869" fmla="*/ 60719 w 578488"/>
                  <a:gd name="connsiteY869" fmla="*/ 366861 h 470547"/>
                  <a:gd name="connsiteX870" fmla="*/ 62035 w 578488"/>
                  <a:gd name="connsiteY870" fmla="*/ 365736 h 470547"/>
                  <a:gd name="connsiteX871" fmla="*/ 57599 w 578488"/>
                  <a:gd name="connsiteY871" fmla="*/ 365345 h 470547"/>
                  <a:gd name="connsiteX872" fmla="*/ 56331 w 578488"/>
                  <a:gd name="connsiteY872" fmla="*/ 362701 h 470547"/>
                  <a:gd name="connsiteX873" fmla="*/ 58674 w 578488"/>
                  <a:gd name="connsiteY873" fmla="*/ 358695 h 470547"/>
                  <a:gd name="connsiteX874" fmla="*/ 58454 w 578488"/>
                  <a:gd name="connsiteY874" fmla="*/ 358175 h 470547"/>
                  <a:gd name="connsiteX875" fmla="*/ 55990 w 578488"/>
                  <a:gd name="connsiteY875" fmla="*/ 360290 h 470547"/>
                  <a:gd name="connsiteX876" fmla="*/ 54777 w 578488"/>
                  <a:gd name="connsiteY876" fmla="*/ 363263 h 470547"/>
                  <a:gd name="connsiteX877" fmla="*/ 55258 w 578488"/>
                  <a:gd name="connsiteY877" fmla="*/ 365633 h 470547"/>
                  <a:gd name="connsiteX878" fmla="*/ 54770 w 578488"/>
                  <a:gd name="connsiteY878" fmla="*/ 366733 h 470547"/>
                  <a:gd name="connsiteX879" fmla="*/ 52505 w 578488"/>
                  <a:gd name="connsiteY879" fmla="*/ 367237 h 470547"/>
                  <a:gd name="connsiteX880" fmla="*/ 47398 w 578488"/>
                  <a:gd name="connsiteY880" fmla="*/ 367420 h 470547"/>
                  <a:gd name="connsiteX881" fmla="*/ 44120 w 578488"/>
                  <a:gd name="connsiteY881" fmla="*/ 366415 h 470547"/>
                  <a:gd name="connsiteX882" fmla="*/ 41084 w 578488"/>
                  <a:gd name="connsiteY882" fmla="*/ 365869 h 470547"/>
                  <a:gd name="connsiteX883" fmla="*/ 40050 w 578488"/>
                  <a:gd name="connsiteY883" fmla="*/ 365111 h 470547"/>
                  <a:gd name="connsiteX884" fmla="*/ 40395 w 578488"/>
                  <a:gd name="connsiteY884" fmla="*/ 363419 h 470547"/>
                  <a:gd name="connsiteX885" fmla="*/ 39821 w 578488"/>
                  <a:gd name="connsiteY885" fmla="*/ 363070 h 470547"/>
                  <a:gd name="connsiteX886" fmla="*/ 38564 w 578488"/>
                  <a:gd name="connsiteY886" fmla="*/ 364591 h 470547"/>
                  <a:gd name="connsiteX887" fmla="*/ 37448 w 578488"/>
                  <a:gd name="connsiteY887" fmla="*/ 367620 h 470547"/>
                  <a:gd name="connsiteX888" fmla="*/ 35035 w 578488"/>
                  <a:gd name="connsiteY888" fmla="*/ 368317 h 470547"/>
                  <a:gd name="connsiteX889" fmla="*/ 28380 w 578488"/>
                  <a:gd name="connsiteY889" fmla="*/ 367193 h 470547"/>
                  <a:gd name="connsiteX890" fmla="*/ 18745 w 578488"/>
                  <a:gd name="connsiteY890" fmla="*/ 367855 h 470547"/>
                  <a:gd name="connsiteX891" fmla="*/ 14422 w 578488"/>
                  <a:gd name="connsiteY891" fmla="*/ 369378 h 470547"/>
                  <a:gd name="connsiteX892" fmla="*/ 11621 w 578488"/>
                  <a:gd name="connsiteY892" fmla="*/ 369179 h 470547"/>
                  <a:gd name="connsiteX893" fmla="*/ 6804 w 578488"/>
                  <a:gd name="connsiteY893" fmla="*/ 366511 h 470547"/>
                  <a:gd name="connsiteX894" fmla="*/ 4923 w 578488"/>
                  <a:gd name="connsiteY894" fmla="*/ 364387 h 470547"/>
                  <a:gd name="connsiteX895" fmla="*/ 4221 w 578488"/>
                  <a:gd name="connsiteY895" fmla="*/ 360099 h 470547"/>
                  <a:gd name="connsiteX896" fmla="*/ 4504 w 578488"/>
                  <a:gd name="connsiteY896" fmla="*/ 358210 h 470547"/>
                  <a:gd name="connsiteX897" fmla="*/ 8257 w 578488"/>
                  <a:gd name="connsiteY897" fmla="*/ 357414 h 470547"/>
                  <a:gd name="connsiteX898" fmla="*/ 10155 w 578488"/>
                  <a:gd name="connsiteY898" fmla="*/ 357470 h 470547"/>
                  <a:gd name="connsiteX899" fmla="*/ 11932 w 578488"/>
                  <a:gd name="connsiteY899" fmla="*/ 356454 h 470547"/>
                  <a:gd name="connsiteX900" fmla="*/ 10360 w 578488"/>
                  <a:gd name="connsiteY900" fmla="*/ 355794 h 470547"/>
                  <a:gd name="connsiteX901" fmla="*/ 8149 w 578488"/>
                  <a:gd name="connsiteY901" fmla="*/ 354496 h 470547"/>
                  <a:gd name="connsiteX902" fmla="*/ 6642 w 578488"/>
                  <a:gd name="connsiteY902" fmla="*/ 351893 h 470547"/>
                  <a:gd name="connsiteX903" fmla="*/ 4370 w 578488"/>
                  <a:gd name="connsiteY903" fmla="*/ 351044 h 470547"/>
                  <a:gd name="connsiteX904" fmla="*/ 2848 w 578488"/>
                  <a:gd name="connsiteY904" fmla="*/ 348822 h 470547"/>
                  <a:gd name="connsiteX905" fmla="*/ 2461 w 578488"/>
                  <a:gd name="connsiteY905" fmla="*/ 345461 h 470547"/>
                  <a:gd name="connsiteX906" fmla="*/ 2897 w 578488"/>
                  <a:gd name="connsiteY906" fmla="*/ 343122 h 470547"/>
                  <a:gd name="connsiteX907" fmla="*/ 4113 w 578488"/>
                  <a:gd name="connsiteY907" fmla="*/ 342369 h 470547"/>
                  <a:gd name="connsiteX908" fmla="*/ 7031 w 578488"/>
                  <a:gd name="connsiteY908" fmla="*/ 342881 h 470547"/>
                  <a:gd name="connsiteX909" fmla="*/ 14733 w 578488"/>
                  <a:gd name="connsiteY909" fmla="*/ 342488 h 470547"/>
                  <a:gd name="connsiteX910" fmla="*/ 21984 w 578488"/>
                  <a:gd name="connsiteY910" fmla="*/ 344865 h 470547"/>
                  <a:gd name="connsiteX911" fmla="*/ 26905 w 578488"/>
                  <a:gd name="connsiteY911" fmla="*/ 346212 h 470547"/>
                  <a:gd name="connsiteX912" fmla="*/ 36875 w 578488"/>
                  <a:gd name="connsiteY912" fmla="*/ 345535 h 470547"/>
                  <a:gd name="connsiteX913" fmla="*/ 42714 w 578488"/>
                  <a:gd name="connsiteY913" fmla="*/ 343413 h 470547"/>
                  <a:gd name="connsiteX914" fmla="*/ 41643 w 578488"/>
                  <a:gd name="connsiteY914" fmla="*/ 342826 h 470547"/>
                  <a:gd name="connsiteX915" fmla="*/ 35310 w 578488"/>
                  <a:gd name="connsiteY915" fmla="*/ 344053 h 470547"/>
                  <a:gd name="connsiteX916" fmla="*/ 29456 w 578488"/>
                  <a:gd name="connsiteY916" fmla="*/ 344003 h 470547"/>
                  <a:gd name="connsiteX917" fmla="*/ 19136 w 578488"/>
                  <a:gd name="connsiteY917" fmla="*/ 341603 h 470547"/>
                  <a:gd name="connsiteX918" fmla="*/ 14904 w 578488"/>
                  <a:gd name="connsiteY918" fmla="*/ 340829 h 470547"/>
                  <a:gd name="connsiteX919" fmla="*/ 10345 w 578488"/>
                  <a:gd name="connsiteY919" fmla="*/ 341171 h 470547"/>
                  <a:gd name="connsiteX920" fmla="*/ 7972 w 578488"/>
                  <a:gd name="connsiteY920" fmla="*/ 340442 h 470547"/>
                  <a:gd name="connsiteX921" fmla="*/ 6577 w 578488"/>
                  <a:gd name="connsiteY921" fmla="*/ 338065 h 470547"/>
                  <a:gd name="connsiteX922" fmla="*/ 7609 w 578488"/>
                  <a:gd name="connsiteY922" fmla="*/ 333512 h 470547"/>
                  <a:gd name="connsiteX923" fmla="*/ 9771 w 578488"/>
                  <a:gd name="connsiteY923" fmla="*/ 332528 h 470547"/>
                  <a:gd name="connsiteX924" fmla="*/ 10941 w 578488"/>
                  <a:gd name="connsiteY924" fmla="*/ 333717 h 470547"/>
                  <a:gd name="connsiteX925" fmla="*/ 12353 w 578488"/>
                  <a:gd name="connsiteY925" fmla="*/ 333792 h 470547"/>
                  <a:gd name="connsiteX926" fmla="*/ 13783 w 578488"/>
                  <a:gd name="connsiteY926" fmla="*/ 331887 h 470547"/>
                  <a:gd name="connsiteX927" fmla="*/ 15152 w 578488"/>
                  <a:gd name="connsiteY927" fmla="*/ 330801 h 470547"/>
                  <a:gd name="connsiteX928" fmla="*/ 16236 w 578488"/>
                  <a:gd name="connsiteY928" fmla="*/ 328341 h 470547"/>
                  <a:gd name="connsiteX929" fmla="*/ 20324 w 578488"/>
                  <a:gd name="connsiteY929" fmla="*/ 326007 h 470547"/>
                  <a:gd name="connsiteX930" fmla="*/ 22051 w 578488"/>
                  <a:gd name="connsiteY930" fmla="*/ 325809 h 470547"/>
                  <a:gd name="connsiteX931" fmla="*/ 24528 w 578488"/>
                  <a:gd name="connsiteY931" fmla="*/ 324733 h 470547"/>
                  <a:gd name="connsiteX932" fmla="*/ 26109 w 578488"/>
                  <a:gd name="connsiteY932" fmla="*/ 325038 h 470547"/>
                  <a:gd name="connsiteX933" fmla="*/ 27122 w 578488"/>
                  <a:gd name="connsiteY933" fmla="*/ 326118 h 470547"/>
                  <a:gd name="connsiteX934" fmla="*/ 28402 w 578488"/>
                  <a:gd name="connsiteY934" fmla="*/ 327012 h 470547"/>
                  <a:gd name="connsiteX935" fmla="*/ 31177 w 578488"/>
                  <a:gd name="connsiteY935" fmla="*/ 326903 h 470547"/>
                  <a:gd name="connsiteX936" fmla="*/ 39382 w 578488"/>
                  <a:gd name="connsiteY936" fmla="*/ 325033 h 470547"/>
                  <a:gd name="connsiteX937" fmla="*/ 40266 w 578488"/>
                  <a:gd name="connsiteY937" fmla="*/ 324483 h 470547"/>
                  <a:gd name="connsiteX938" fmla="*/ 41866 w 578488"/>
                  <a:gd name="connsiteY938" fmla="*/ 322944 h 470547"/>
                  <a:gd name="connsiteX939" fmla="*/ 36664 w 578488"/>
                  <a:gd name="connsiteY939" fmla="*/ 323630 h 470547"/>
                  <a:gd name="connsiteX940" fmla="*/ 32343 w 578488"/>
                  <a:gd name="connsiteY940" fmla="*/ 324723 h 470547"/>
                  <a:gd name="connsiteX941" fmla="*/ 29566 w 578488"/>
                  <a:gd name="connsiteY941" fmla="*/ 325026 h 470547"/>
                  <a:gd name="connsiteX942" fmla="*/ 29175 w 578488"/>
                  <a:gd name="connsiteY942" fmla="*/ 323662 h 470547"/>
                  <a:gd name="connsiteX943" fmla="*/ 30199 w 578488"/>
                  <a:gd name="connsiteY943" fmla="*/ 322450 h 470547"/>
                  <a:gd name="connsiteX944" fmla="*/ 31807 w 578488"/>
                  <a:gd name="connsiteY944" fmla="*/ 321160 h 470547"/>
                  <a:gd name="connsiteX945" fmla="*/ 32589 w 578488"/>
                  <a:gd name="connsiteY945" fmla="*/ 318959 h 470547"/>
                  <a:gd name="connsiteX946" fmla="*/ 34359 w 578488"/>
                  <a:gd name="connsiteY946" fmla="*/ 318019 h 470547"/>
                  <a:gd name="connsiteX947" fmla="*/ 36273 w 578488"/>
                  <a:gd name="connsiteY947" fmla="*/ 318069 h 470547"/>
                  <a:gd name="connsiteX948" fmla="*/ 40229 w 578488"/>
                  <a:gd name="connsiteY948" fmla="*/ 317669 h 470547"/>
                  <a:gd name="connsiteX949" fmla="*/ 43021 w 578488"/>
                  <a:gd name="connsiteY949" fmla="*/ 317096 h 470547"/>
                  <a:gd name="connsiteX950" fmla="*/ 47808 w 578488"/>
                  <a:gd name="connsiteY950" fmla="*/ 317480 h 470547"/>
                  <a:gd name="connsiteX951" fmla="*/ 54943 w 578488"/>
                  <a:gd name="connsiteY951" fmla="*/ 318323 h 470547"/>
                  <a:gd name="connsiteX952" fmla="*/ 59542 w 578488"/>
                  <a:gd name="connsiteY952" fmla="*/ 320372 h 470547"/>
                  <a:gd name="connsiteX953" fmla="*/ 61274 w 578488"/>
                  <a:gd name="connsiteY953" fmla="*/ 320187 h 470547"/>
                  <a:gd name="connsiteX954" fmla="*/ 63110 w 578488"/>
                  <a:gd name="connsiteY954" fmla="*/ 319642 h 470547"/>
                  <a:gd name="connsiteX955" fmla="*/ 63941 w 578488"/>
                  <a:gd name="connsiteY955" fmla="*/ 318899 h 470547"/>
                  <a:gd name="connsiteX956" fmla="*/ 60331 w 578488"/>
                  <a:gd name="connsiteY956" fmla="*/ 318048 h 470547"/>
                  <a:gd name="connsiteX957" fmla="*/ 60125 w 578488"/>
                  <a:gd name="connsiteY957" fmla="*/ 316834 h 470547"/>
                  <a:gd name="connsiteX958" fmla="*/ 60573 w 578488"/>
                  <a:gd name="connsiteY958" fmla="*/ 315918 h 470547"/>
                  <a:gd name="connsiteX959" fmla="*/ 66461 w 578488"/>
                  <a:gd name="connsiteY959" fmla="*/ 314229 h 470547"/>
                  <a:gd name="connsiteX960" fmla="*/ 72892 w 578488"/>
                  <a:gd name="connsiteY960" fmla="*/ 313855 h 470547"/>
                  <a:gd name="connsiteX961" fmla="*/ 71786 w 578488"/>
                  <a:gd name="connsiteY961" fmla="*/ 312494 h 470547"/>
                  <a:gd name="connsiteX962" fmla="*/ 57698 w 578488"/>
                  <a:gd name="connsiteY962" fmla="*/ 314548 h 470547"/>
                  <a:gd name="connsiteX963" fmla="*/ 54021 w 578488"/>
                  <a:gd name="connsiteY963" fmla="*/ 313146 h 470547"/>
                  <a:gd name="connsiteX964" fmla="*/ 51119 w 578488"/>
                  <a:gd name="connsiteY964" fmla="*/ 313158 h 470547"/>
                  <a:gd name="connsiteX965" fmla="*/ 49218 w 578488"/>
                  <a:gd name="connsiteY965" fmla="*/ 313959 h 470547"/>
                  <a:gd name="connsiteX966" fmla="*/ 43803 w 578488"/>
                  <a:gd name="connsiteY966" fmla="*/ 314929 h 470547"/>
                  <a:gd name="connsiteX967" fmla="*/ 42807 w 578488"/>
                  <a:gd name="connsiteY967" fmla="*/ 314239 h 470547"/>
                  <a:gd name="connsiteX968" fmla="*/ 43837 w 578488"/>
                  <a:gd name="connsiteY968" fmla="*/ 311857 h 470547"/>
                  <a:gd name="connsiteX969" fmla="*/ 47081 w 578488"/>
                  <a:gd name="connsiteY969" fmla="*/ 307944 h 470547"/>
                  <a:gd name="connsiteX970" fmla="*/ 47351 w 578488"/>
                  <a:gd name="connsiteY970" fmla="*/ 306984 h 470547"/>
                  <a:gd name="connsiteX971" fmla="*/ 48856 w 578488"/>
                  <a:gd name="connsiteY971" fmla="*/ 306041 h 470547"/>
                  <a:gd name="connsiteX972" fmla="*/ 57271 w 578488"/>
                  <a:gd name="connsiteY972" fmla="*/ 303765 h 470547"/>
                  <a:gd name="connsiteX973" fmla="*/ 61313 w 578488"/>
                  <a:gd name="connsiteY973" fmla="*/ 301118 h 470547"/>
                  <a:gd name="connsiteX974" fmla="*/ 63136 w 578488"/>
                  <a:gd name="connsiteY974" fmla="*/ 300782 h 470547"/>
                  <a:gd name="connsiteX975" fmla="*/ 64943 w 578488"/>
                  <a:gd name="connsiteY975" fmla="*/ 300967 h 470547"/>
                  <a:gd name="connsiteX976" fmla="*/ 67692 w 578488"/>
                  <a:gd name="connsiteY976" fmla="*/ 300657 h 470547"/>
                  <a:gd name="connsiteX977" fmla="*/ 73004 w 578488"/>
                  <a:gd name="connsiteY977" fmla="*/ 301415 h 470547"/>
                  <a:gd name="connsiteX978" fmla="*/ 75448 w 578488"/>
                  <a:gd name="connsiteY978" fmla="*/ 304729 h 470547"/>
                  <a:gd name="connsiteX979" fmla="*/ 77647 w 578488"/>
                  <a:gd name="connsiteY979" fmla="*/ 305769 h 470547"/>
                  <a:gd name="connsiteX980" fmla="*/ 84559 w 578488"/>
                  <a:gd name="connsiteY980" fmla="*/ 309900 h 470547"/>
                  <a:gd name="connsiteX981" fmla="*/ 84250 w 578488"/>
                  <a:gd name="connsiteY981" fmla="*/ 308712 h 470547"/>
                  <a:gd name="connsiteX982" fmla="*/ 78267 w 578488"/>
                  <a:gd name="connsiteY982" fmla="*/ 303109 h 470547"/>
                  <a:gd name="connsiteX983" fmla="*/ 75980 w 578488"/>
                  <a:gd name="connsiteY983" fmla="*/ 301720 h 470547"/>
                  <a:gd name="connsiteX984" fmla="*/ 74274 w 578488"/>
                  <a:gd name="connsiteY984" fmla="*/ 298962 h 470547"/>
                  <a:gd name="connsiteX985" fmla="*/ 74859 w 578488"/>
                  <a:gd name="connsiteY985" fmla="*/ 296352 h 470547"/>
                  <a:gd name="connsiteX986" fmla="*/ 76783 w 578488"/>
                  <a:gd name="connsiteY986" fmla="*/ 294608 h 470547"/>
                  <a:gd name="connsiteX987" fmla="*/ 83609 w 578488"/>
                  <a:gd name="connsiteY987" fmla="*/ 293673 h 470547"/>
                  <a:gd name="connsiteX988" fmla="*/ 84833 w 578488"/>
                  <a:gd name="connsiteY988" fmla="*/ 292663 h 470547"/>
                  <a:gd name="connsiteX989" fmla="*/ 84954 w 578488"/>
                  <a:gd name="connsiteY989" fmla="*/ 290926 h 470547"/>
                  <a:gd name="connsiteX990" fmla="*/ 83909 w 578488"/>
                  <a:gd name="connsiteY990" fmla="*/ 289737 h 470547"/>
                  <a:gd name="connsiteX991" fmla="*/ 81398 w 578488"/>
                  <a:gd name="connsiteY991" fmla="*/ 289806 h 470547"/>
                  <a:gd name="connsiteX992" fmla="*/ 79327 w 578488"/>
                  <a:gd name="connsiteY992" fmla="*/ 289069 h 470547"/>
                  <a:gd name="connsiteX993" fmla="*/ 78757 w 578488"/>
                  <a:gd name="connsiteY993" fmla="*/ 287194 h 470547"/>
                  <a:gd name="connsiteX994" fmla="*/ 79584 w 578488"/>
                  <a:gd name="connsiteY994" fmla="*/ 285926 h 470547"/>
                  <a:gd name="connsiteX995" fmla="*/ 83520 w 578488"/>
                  <a:gd name="connsiteY995" fmla="*/ 283612 h 470547"/>
                  <a:gd name="connsiteX996" fmla="*/ 85675 w 578488"/>
                  <a:gd name="connsiteY996" fmla="*/ 282860 h 470547"/>
                  <a:gd name="connsiteX997" fmla="*/ 89407 w 578488"/>
                  <a:gd name="connsiteY997" fmla="*/ 282044 h 470547"/>
                  <a:gd name="connsiteX998" fmla="*/ 95896 w 578488"/>
                  <a:gd name="connsiteY998" fmla="*/ 283876 h 470547"/>
                  <a:gd name="connsiteX999" fmla="*/ 96388 w 578488"/>
                  <a:gd name="connsiteY999" fmla="*/ 284835 h 470547"/>
                  <a:gd name="connsiteX1000" fmla="*/ 94570 w 578488"/>
                  <a:gd name="connsiteY1000" fmla="*/ 287141 h 470547"/>
                  <a:gd name="connsiteX1001" fmla="*/ 94753 w 578488"/>
                  <a:gd name="connsiteY1001" fmla="*/ 288434 h 470547"/>
                  <a:gd name="connsiteX1002" fmla="*/ 96343 w 578488"/>
                  <a:gd name="connsiteY1002" fmla="*/ 288577 h 470547"/>
                  <a:gd name="connsiteX1003" fmla="*/ 100048 w 578488"/>
                  <a:gd name="connsiteY1003" fmla="*/ 284691 h 470547"/>
                  <a:gd name="connsiteX1004" fmla="*/ 104406 w 578488"/>
                  <a:gd name="connsiteY1004" fmla="*/ 284154 h 470547"/>
                  <a:gd name="connsiteX1005" fmla="*/ 106209 w 578488"/>
                  <a:gd name="connsiteY1005" fmla="*/ 283318 h 470547"/>
                  <a:gd name="connsiteX1006" fmla="*/ 108301 w 578488"/>
                  <a:gd name="connsiteY1006" fmla="*/ 282792 h 470547"/>
                  <a:gd name="connsiteX1007" fmla="*/ 111294 w 578488"/>
                  <a:gd name="connsiteY1007" fmla="*/ 286309 h 470547"/>
                  <a:gd name="connsiteX1008" fmla="*/ 112605 w 578488"/>
                  <a:gd name="connsiteY1008" fmla="*/ 287433 h 470547"/>
                  <a:gd name="connsiteX1009" fmla="*/ 113590 w 578488"/>
                  <a:gd name="connsiteY1009" fmla="*/ 287894 h 470547"/>
                  <a:gd name="connsiteX1010" fmla="*/ 114544 w 578488"/>
                  <a:gd name="connsiteY1010" fmla="*/ 290815 h 470547"/>
                  <a:gd name="connsiteX1011" fmla="*/ 115468 w 578488"/>
                  <a:gd name="connsiteY1011" fmla="*/ 290971 h 470547"/>
                  <a:gd name="connsiteX1012" fmla="*/ 116785 w 578488"/>
                  <a:gd name="connsiteY1012" fmla="*/ 289507 h 470547"/>
                  <a:gd name="connsiteX1013" fmla="*/ 119174 w 578488"/>
                  <a:gd name="connsiteY1013" fmla="*/ 288736 h 470547"/>
                  <a:gd name="connsiteX1014" fmla="*/ 122523 w 578488"/>
                  <a:gd name="connsiteY1014" fmla="*/ 288227 h 470547"/>
                  <a:gd name="connsiteX1015" fmla="*/ 128070 w 578488"/>
                  <a:gd name="connsiteY1015" fmla="*/ 289000 h 470547"/>
                  <a:gd name="connsiteX1016" fmla="*/ 130582 w 578488"/>
                  <a:gd name="connsiteY1016" fmla="*/ 288429 h 470547"/>
                  <a:gd name="connsiteX1017" fmla="*/ 131813 w 578488"/>
                  <a:gd name="connsiteY1017" fmla="*/ 288509 h 470547"/>
                  <a:gd name="connsiteX1018" fmla="*/ 130632 w 578488"/>
                  <a:gd name="connsiteY1018" fmla="*/ 285883 h 470547"/>
                  <a:gd name="connsiteX1019" fmla="*/ 129899 w 578488"/>
                  <a:gd name="connsiteY1019" fmla="*/ 285124 h 470547"/>
                  <a:gd name="connsiteX1020" fmla="*/ 131042 w 578488"/>
                  <a:gd name="connsiteY1020" fmla="*/ 282777 h 470547"/>
                  <a:gd name="connsiteX1021" fmla="*/ 132234 w 578488"/>
                  <a:gd name="connsiteY1021" fmla="*/ 281859 h 470547"/>
                  <a:gd name="connsiteX1022" fmla="*/ 136067 w 578488"/>
                  <a:gd name="connsiteY1022" fmla="*/ 280209 h 470547"/>
                  <a:gd name="connsiteX1023" fmla="*/ 139722 w 578488"/>
                  <a:gd name="connsiteY1023" fmla="*/ 279472 h 470547"/>
                  <a:gd name="connsiteX1024" fmla="*/ 142109 w 578488"/>
                  <a:gd name="connsiteY1024" fmla="*/ 277904 h 470547"/>
                  <a:gd name="connsiteX1025" fmla="*/ 145313 w 578488"/>
                  <a:gd name="connsiteY1025" fmla="*/ 276462 h 470547"/>
                  <a:gd name="connsiteX1026" fmla="*/ 144810 w 578488"/>
                  <a:gd name="connsiteY1026" fmla="*/ 275306 h 470547"/>
                  <a:gd name="connsiteX1027" fmla="*/ 143918 w 578488"/>
                  <a:gd name="connsiteY1027" fmla="*/ 273967 h 470547"/>
                  <a:gd name="connsiteX1028" fmla="*/ 141845 w 578488"/>
                  <a:gd name="connsiteY1028" fmla="*/ 273882 h 470547"/>
                  <a:gd name="connsiteX1029" fmla="*/ 140999 w 578488"/>
                  <a:gd name="connsiteY1029" fmla="*/ 273151 h 470547"/>
                  <a:gd name="connsiteX1030" fmla="*/ 143631 w 578488"/>
                  <a:gd name="connsiteY1030" fmla="*/ 271414 h 470547"/>
                  <a:gd name="connsiteX1031" fmla="*/ 147235 w 578488"/>
                  <a:gd name="connsiteY1031" fmla="*/ 269481 h 470547"/>
                  <a:gd name="connsiteX1032" fmla="*/ 146607 w 578488"/>
                  <a:gd name="connsiteY1032" fmla="*/ 268721 h 470547"/>
                  <a:gd name="connsiteX1033" fmla="*/ 143897 w 578488"/>
                  <a:gd name="connsiteY1033" fmla="*/ 267861 h 470547"/>
                  <a:gd name="connsiteX1034" fmla="*/ 141839 w 578488"/>
                  <a:gd name="connsiteY1034" fmla="*/ 268509 h 470547"/>
                  <a:gd name="connsiteX1035" fmla="*/ 138779 w 578488"/>
                  <a:gd name="connsiteY1035" fmla="*/ 270005 h 470547"/>
                  <a:gd name="connsiteX1036" fmla="*/ 135220 w 578488"/>
                  <a:gd name="connsiteY1036" fmla="*/ 272369 h 470547"/>
                  <a:gd name="connsiteX1037" fmla="*/ 136380 w 578488"/>
                  <a:gd name="connsiteY1037" fmla="*/ 273057 h 470547"/>
                  <a:gd name="connsiteX1038" fmla="*/ 138161 w 578488"/>
                  <a:gd name="connsiteY1038" fmla="*/ 275041 h 470547"/>
                  <a:gd name="connsiteX1039" fmla="*/ 135676 w 578488"/>
                  <a:gd name="connsiteY1039" fmla="*/ 277679 h 470547"/>
                  <a:gd name="connsiteX1040" fmla="*/ 122504 w 578488"/>
                  <a:gd name="connsiteY1040" fmla="*/ 284668 h 470547"/>
                  <a:gd name="connsiteX1041" fmla="*/ 116222 w 578488"/>
                  <a:gd name="connsiteY1041" fmla="*/ 286710 h 470547"/>
                  <a:gd name="connsiteX1042" fmla="*/ 113324 w 578488"/>
                  <a:gd name="connsiteY1042" fmla="*/ 286392 h 470547"/>
                  <a:gd name="connsiteX1043" fmla="*/ 112633 w 578488"/>
                  <a:gd name="connsiteY1043" fmla="*/ 284486 h 470547"/>
                  <a:gd name="connsiteX1044" fmla="*/ 111296 w 578488"/>
                  <a:gd name="connsiteY1044" fmla="*/ 283074 h 470547"/>
                  <a:gd name="connsiteX1045" fmla="*/ 109863 w 578488"/>
                  <a:gd name="connsiteY1045" fmla="*/ 280162 h 470547"/>
                  <a:gd name="connsiteX1046" fmla="*/ 107425 w 578488"/>
                  <a:gd name="connsiteY1046" fmla="*/ 280240 h 470547"/>
                  <a:gd name="connsiteX1047" fmla="*/ 106040 w 578488"/>
                  <a:gd name="connsiteY1047" fmla="*/ 280884 h 470547"/>
                  <a:gd name="connsiteX1048" fmla="*/ 105436 w 578488"/>
                  <a:gd name="connsiteY1048" fmla="*/ 279929 h 470547"/>
                  <a:gd name="connsiteX1049" fmla="*/ 106485 w 578488"/>
                  <a:gd name="connsiteY1049" fmla="*/ 276814 h 470547"/>
                  <a:gd name="connsiteX1050" fmla="*/ 108548 w 578488"/>
                  <a:gd name="connsiteY1050" fmla="*/ 274348 h 470547"/>
                  <a:gd name="connsiteX1051" fmla="*/ 112007 w 578488"/>
                  <a:gd name="connsiteY1051" fmla="*/ 272484 h 470547"/>
                  <a:gd name="connsiteX1052" fmla="*/ 113665 w 578488"/>
                  <a:gd name="connsiteY1052" fmla="*/ 270230 h 470547"/>
                  <a:gd name="connsiteX1053" fmla="*/ 115224 w 578488"/>
                  <a:gd name="connsiteY1053" fmla="*/ 266650 h 470547"/>
                  <a:gd name="connsiteX1054" fmla="*/ 120228 w 578488"/>
                  <a:gd name="connsiteY1054" fmla="*/ 263237 h 470547"/>
                  <a:gd name="connsiteX1055" fmla="*/ 127511 w 578488"/>
                  <a:gd name="connsiteY1055" fmla="*/ 254770 h 470547"/>
                  <a:gd name="connsiteX1056" fmla="*/ 133445 w 578488"/>
                  <a:gd name="connsiteY1056" fmla="*/ 252061 h 470547"/>
                  <a:gd name="connsiteX1057" fmla="*/ 135620 w 578488"/>
                  <a:gd name="connsiteY1057" fmla="*/ 249095 h 470547"/>
                  <a:gd name="connsiteX1058" fmla="*/ 139116 w 578488"/>
                  <a:gd name="connsiteY1058" fmla="*/ 247783 h 470547"/>
                  <a:gd name="connsiteX1059" fmla="*/ 142100 w 578488"/>
                  <a:gd name="connsiteY1059" fmla="*/ 245465 h 470547"/>
                  <a:gd name="connsiteX1060" fmla="*/ 144443 w 578488"/>
                  <a:gd name="connsiteY1060" fmla="*/ 245235 h 470547"/>
                  <a:gd name="connsiteX1061" fmla="*/ 148699 w 578488"/>
                  <a:gd name="connsiteY1061" fmla="*/ 243146 h 470547"/>
                  <a:gd name="connsiteX1062" fmla="*/ 151111 w 578488"/>
                  <a:gd name="connsiteY1062" fmla="*/ 240658 h 470547"/>
                  <a:gd name="connsiteX1063" fmla="*/ 149537 w 578488"/>
                  <a:gd name="connsiteY1063" fmla="*/ 240503 h 470547"/>
                  <a:gd name="connsiteX1064" fmla="*/ 145795 w 578488"/>
                  <a:gd name="connsiteY1064" fmla="*/ 242123 h 470547"/>
                  <a:gd name="connsiteX1065" fmla="*/ 143678 w 578488"/>
                  <a:gd name="connsiteY1065" fmla="*/ 242774 h 470547"/>
                  <a:gd name="connsiteX1066" fmla="*/ 143828 w 578488"/>
                  <a:gd name="connsiteY1066" fmla="*/ 240104 h 470547"/>
                  <a:gd name="connsiteX1067" fmla="*/ 144853 w 578488"/>
                  <a:gd name="connsiteY1067" fmla="*/ 237363 h 470547"/>
                  <a:gd name="connsiteX1068" fmla="*/ 147937 w 578488"/>
                  <a:gd name="connsiteY1068" fmla="*/ 234854 h 470547"/>
                  <a:gd name="connsiteX1069" fmla="*/ 162759 w 578488"/>
                  <a:gd name="connsiteY1069" fmla="*/ 227548 h 470547"/>
                  <a:gd name="connsiteX1070" fmla="*/ 164238 w 578488"/>
                  <a:gd name="connsiteY1070" fmla="*/ 228758 h 470547"/>
                  <a:gd name="connsiteX1071" fmla="*/ 166006 w 578488"/>
                  <a:gd name="connsiteY1071" fmla="*/ 230895 h 470547"/>
                  <a:gd name="connsiteX1072" fmla="*/ 170470 w 578488"/>
                  <a:gd name="connsiteY1072" fmla="*/ 230412 h 470547"/>
                  <a:gd name="connsiteX1073" fmla="*/ 175556 w 578488"/>
                  <a:gd name="connsiteY1073" fmla="*/ 226271 h 470547"/>
                  <a:gd name="connsiteX1074" fmla="*/ 179473 w 578488"/>
                  <a:gd name="connsiteY1074" fmla="*/ 221764 h 470547"/>
                  <a:gd name="connsiteX1075" fmla="*/ 177356 w 578488"/>
                  <a:gd name="connsiteY1075" fmla="*/ 222551 h 470547"/>
                  <a:gd name="connsiteX1076" fmla="*/ 175046 w 578488"/>
                  <a:gd name="connsiteY1076" fmla="*/ 224397 h 470547"/>
                  <a:gd name="connsiteX1077" fmla="*/ 170543 w 578488"/>
                  <a:gd name="connsiteY1077" fmla="*/ 226959 h 470547"/>
                  <a:gd name="connsiteX1078" fmla="*/ 168462 w 578488"/>
                  <a:gd name="connsiteY1078" fmla="*/ 227364 h 470547"/>
                  <a:gd name="connsiteX1079" fmla="*/ 167274 w 578488"/>
                  <a:gd name="connsiteY1079" fmla="*/ 227031 h 470547"/>
                  <a:gd name="connsiteX1080" fmla="*/ 166613 w 578488"/>
                  <a:gd name="connsiteY1080" fmla="*/ 225322 h 470547"/>
                  <a:gd name="connsiteX1081" fmla="*/ 165052 w 578488"/>
                  <a:gd name="connsiteY1081" fmla="*/ 224767 h 470547"/>
                  <a:gd name="connsiteX1082" fmla="*/ 163642 w 578488"/>
                  <a:gd name="connsiteY1082" fmla="*/ 225151 h 470547"/>
                  <a:gd name="connsiteX1083" fmla="*/ 162189 w 578488"/>
                  <a:gd name="connsiteY1083" fmla="*/ 223935 h 470547"/>
                  <a:gd name="connsiteX1084" fmla="*/ 161930 w 578488"/>
                  <a:gd name="connsiteY1084" fmla="*/ 220930 h 470547"/>
                  <a:gd name="connsiteX1085" fmla="*/ 163789 w 578488"/>
                  <a:gd name="connsiteY1085" fmla="*/ 216446 h 470547"/>
                  <a:gd name="connsiteX1086" fmla="*/ 165262 w 578488"/>
                  <a:gd name="connsiteY1086" fmla="*/ 213475 h 470547"/>
                  <a:gd name="connsiteX1087" fmla="*/ 166853 w 578488"/>
                  <a:gd name="connsiteY1087" fmla="*/ 211224 h 470547"/>
                  <a:gd name="connsiteX1088" fmla="*/ 173109 w 578488"/>
                  <a:gd name="connsiteY1088" fmla="*/ 204821 h 470547"/>
                  <a:gd name="connsiteX1089" fmla="*/ 174461 w 578488"/>
                  <a:gd name="connsiteY1089" fmla="*/ 201318 h 470547"/>
                  <a:gd name="connsiteX1090" fmla="*/ 177290 w 578488"/>
                  <a:gd name="connsiteY1090" fmla="*/ 199467 h 470547"/>
                  <a:gd name="connsiteX1091" fmla="*/ 180964 w 578488"/>
                  <a:gd name="connsiteY1091" fmla="*/ 199879 h 470547"/>
                  <a:gd name="connsiteX1092" fmla="*/ 182073 w 578488"/>
                  <a:gd name="connsiteY1092" fmla="*/ 199344 h 470547"/>
                  <a:gd name="connsiteX1093" fmla="*/ 180811 w 578488"/>
                  <a:gd name="connsiteY1093" fmla="*/ 197042 h 470547"/>
                  <a:gd name="connsiteX1094" fmla="*/ 176806 w 578488"/>
                  <a:gd name="connsiteY1094" fmla="*/ 195215 h 470547"/>
                  <a:gd name="connsiteX1095" fmla="*/ 176560 w 578488"/>
                  <a:gd name="connsiteY1095" fmla="*/ 194067 h 470547"/>
                  <a:gd name="connsiteX1096" fmla="*/ 189900 w 578488"/>
                  <a:gd name="connsiteY1096" fmla="*/ 191049 h 470547"/>
                  <a:gd name="connsiteX1097" fmla="*/ 196253 w 578488"/>
                  <a:gd name="connsiteY1097" fmla="*/ 191151 h 470547"/>
                  <a:gd name="connsiteX1098" fmla="*/ 198138 w 578488"/>
                  <a:gd name="connsiteY1098" fmla="*/ 189643 h 470547"/>
                  <a:gd name="connsiteX1099" fmla="*/ 201591 w 578488"/>
                  <a:gd name="connsiteY1099" fmla="*/ 188677 h 470547"/>
                  <a:gd name="connsiteX1100" fmla="*/ 204208 w 578488"/>
                  <a:gd name="connsiteY1100" fmla="*/ 186831 h 470547"/>
                  <a:gd name="connsiteX1101" fmla="*/ 202859 w 578488"/>
                  <a:gd name="connsiteY1101" fmla="*/ 186016 h 470547"/>
                  <a:gd name="connsiteX1102" fmla="*/ 196407 w 578488"/>
                  <a:gd name="connsiteY1102" fmla="*/ 187713 h 470547"/>
                  <a:gd name="connsiteX1103" fmla="*/ 192373 w 578488"/>
                  <a:gd name="connsiteY1103" fmla="*/ 188510 h 470547"/>
                  <a:gd name="connsiteX1104" fmla="*/ 190548 w 578488"/>
                  <a:gd name="connsiteY1104" fmla="*/ 188485 h 470547"/>
                  <a:gd name="connsiteX1105" fmla="*/ 189125 w 578488"/>
                  <a:gd name="connsiteY1105" fmla="*/ 189068 h 470547"/>
                  <a:gd name="connsiteX1106" fmla="*/ 183969 w 578488"/>
                  <a:gd name="connsiteY1106" fmla="*/ 189290 h 470547"/>
                  <a:gd name="connsiteX1107" fmla="*/ 182848 w 578488"/>
                  <a:gd name="connsiteY1107" fmla="*/ 181925 h 470547"/>
                  <a:gd name="connsiteX1108" fmla="*/ 183655 w 578488"/>
                  <a:gd name="connsiteY1108" fmla="*/ 177918 h 470547"/>
                  <a:gd name="connsiteX1109" fmla="*/ 185577 w 578488"/>
                  <a:gd name="connsiteY1109" fmla="*/ 178001 h 470547"/>
                  <a:gd name="connsiteX1110" fmla="*/ 186015 w 578488"/>
                  <a:gd name="connsiteY1110" fmla="*/ 174168 h 470547"/>
                  <a:gd name="connsiteX1111" fmla="*/ 188235 w 578488"/>
                  <a:gd name="connsiteY1111" fmla="*/ 171907 h 470547"/>
                  <a:gd name="connsiteX1112" fmla="*/ 191300 w 578488"/>
                  <a:gd name="connsiteY1112" fmla="*/ 171401 h 470547"/>
                  <a:gd name="connsiteX1113" fmla="*/ 192844 w 578488"/>
                  <a:gd name="connsiteY1113" fmla="*/ 170432 h 470547"/>
                  <a:gd name="connsiteX1114" fmla="*/ 195074 w 578488"/>
                  <a:gd name="connsiteY1114" fmla="*/ 168460 h 470547"/>
                  <a:gd name="connsiteX1115" fmla="*/ 198765 w 578488"/>
                  <a:gd name="connsiteY1115" fmla="*/ 168918 h 470547"/>
                  <a:gd name="connsiteX1116" fmla="*/ 202556 w 578488"/>
                  <a:gd name="connsiteY1116" fmla="*/ 168478 h 470547"/>
                  <a:gd name="connsiteX1117" fmla="*/ 201617 w 578488"/>
                  <a:gd name="connsiteY1117" fmla="*/ 167548 h 470547"/>
                  <a:gd name="connsiteX1118" fmla="*/ 196910 w 578488"/>
                  <a:gd name="connsiteY1118" fmla="*/ 166349 h 470547"/>
                  <a:gd name="connsiteX1119" fmla="*/ 195748 w 578488"/>
                  <a:gd name="connsiteY1119" fmla="*/ 164288 h 470547"/>
                  <a:gd name="connsiteX1120" fmla="*/ 197408 w 578488"/>
                  <a:gd name="connsiteY1120" fmla="*/ 163137 h 470547"/>
                  <a:gd name="connsiteX1121" fmla="*/ 199216 w 578488"/>
                  <a:gd name="connsiteY1121" fmla="*/ 162289 h 470547"/>
                  <a:gd name="connsiteX1122" fmla="*/ 200803 w 578488"/>
                  <a:gd name="connsiteY1122" fmla="*/ 162137 h 470547"/>
                  <a:gd name="connsiteX1123" fmla="*/ 203947 w 578488"/>
                  <a:gd name="connsiteY1123" fmla="*/ 158104 h 470547"/>
                  <a:gd name="connsiteX1124" fmla="*/ 205858 w 578488"/>
                  <a:gd name="connsiteY1124" fmla="*/ 156381 h 470547"/>
                  <a:gd name="connsiteX1125" fmla="*/ 207998 w 578488"/>
                  <a:gd name="connsiteY1125" fmla="*/ 156680 h 470547"/>
                  <a:gd name="connsiteX1126" fmla="*/ 210978 w 578488"/>
                  <a:gd name="connsiteY1126" fmla="*/ 154898 h 470547"/>
                  <a:gd name="connsiteX1127" fmla="*/ 213904 w 578488"/>
                  <a:gd name="connsiteY1127" fmla="*/ 155506 h 470547"/>
                  <a:gd name="connsiteX1128" fmla="*/ 216735 w 578488"/>
                  <a:gd name="connsiteY1128" fmla="*/ 154339 h 470547"/>
                  <a:gd name="connsiteX1129" fmla="*/ 220602 w 578488"/>
                  <a:gd name="connsiteY1129" fmla="*/ 153569 h 470547"/>
                  <a:gd name="connsiteX1130" fmla="*/ 234757 w 578488"/>
                  <a:gd name="connsiteY1130" fmla="*/ 153271 h 470547"/>
                  <a:gd name="connsiteX1131" fmla="*/ 235178 w 578488"/>
                  <a:gd name="connsiteY1131" fmla="*/ 151616 h 470547"/>
                  <a:gd name="connsiteX1132" fmla="*/ 232201 w 578488"/>
                  <a:gd name="connsiteY1132" fmla="*/ 151232 h 470547"/>
                  <a:gd name="connsiteX1133" fmla="*/ 221682 w 578488"/>
                  <a:gd name="connsiteY1133" fmla="*/ 150806 h 470547"/>
                  <a:gd name="connsiteX1134" fmla="*/ 216312 w 578488"/>
                  <a:gd name="connsiteY1134" fmla="*/ 150839 h 470547"/>
                  <a:gd name="connsiteX1135" fmla="*/ 214051 w 578488"/>
                  <a:gd name="connsiteY1135" fmla="*/ 151268 h 470547"/>
                  <a:gd name="connsiteX1136" fmla="*/ 213220 w 578488"/>
                  <a:gd name="connsiteY1136" fmla="*/ 150691 h 470547"/>
                  <a:gd name="connsiteX1137" fmla="*/ 213366 w 578488"/>
                  <a:gd name="connsiteY1137" fmla="*/ 149699 h 470547"/>
                  <a:gd name="connsiteX1138" fmla="*/ 215318 w 578488"/>
                  <a:gd name="connsiteY1138" fmla="*/ 148129 h 470547"/>
                  <a:gd name="connsiteX1139" fmla="*/ 216245 w 578488"/>
                  <a:gd name="connsiteY1139" fmla="*/ 146392 h 470547"/>
                  <a:gd name="connsiteX1140" fmla="*/ 220147 w 578488"/>
                  <a:gd name="connsiteY1140" fmla="*/ 142146 h 470547"/>
                  <a:gd name="connsiteX1141" fmla="*/ 224722 w 578488"/>
                  <a:gd name="connsiteY1141" fmla="*/ 139313 h 470547"/>
                  <a:gd name="connsiteX1142" fmla="*/ 228229 w 578488"/>
                  <a:gd name="connsiteY1142" fmla="*/ 140038 h 470547"/>
                  <a:gd name="connsiteX1143" fmla="*/ 231959 w 578488"/>
                  <a:gd name="connsiteY1143" fmla="*/ 142743 h 470547"/>
                  <a:gd name="connsiteX1144" fmla="*/ 234617 w 578488"/>
                  <a:gd name="connsiteY1144" fmla="*/ 143081 h 470547"/>
                  <a:gd name="connsiteX1145" fmla="*/ 235854 w 578488"/>
                  <a:gd name="connsiteY1145" fmla="*/ 143954 h 470547"/>
                  <a:gd name="connsiteX1146" fmla="*/ 237791 w 578488"/>
                  <a:gd name="connsiteY1146" fmla="*/ 147678 h 470547"/>
                  <a:gd name="connsiteX1147" fmla="*/ 238709 w 578488"/>
                  <a:gd name="connsiteY1147" fmla="*/ 147799 h 470547"/>
                  <a:gd name="connsiteX1148" fmla="*/ 238294 w 578488"/>
                  <a:gd name="connsiteY1148" fmla="*/ 144220 h 470547"/>
                  <a:gd name="connsiteX1149" fmla="*/ 240855 w 578488"/>
                  <a:gd name="connsiteY1149" fmla="*/ 141304 h 470547"/>
                  <a:gd name="connsiteX1150" fmla="*/ 240188 w 578488"/>
                  <a:gd name="connsiteY1150" fmla="*/ 140497 h 470547"/>
                  <a:gd name="connsiteX1151" fmla="*/ 236340 w 578488"/>
                  <a:gd name="connsiteY1151" fmla="*/ 141552 h 470547"/>
                  <a:gd name="connsiteX1152" fmla="*/ 233392 w 578488"/>
                  <a:gd name="connsiteY1152" fmla="*/ 140455 h 470547"/>
                  <a:gd name="connsiteX1153" fmla="*/ 231065 w 578488"/>
                  <a:gd name="connsiteY1153" fmla="*/ 138262 h 470547"/>
                  <a:gd name="connsiteX1154" fmla="*/ 230399 w 578488"/>
                  <a:gd name="connsiteY1154" fmla="*/ 136255 h 470547"/>
                  <a:gd name="connsiteX1155" fmla="*/ 231846 w 578488"/>
                  <a:gd name="connsiteY1155" fmla="*/ 134270 h 470547"/>
                  <a:gd name="connsiteX1156" fmla="*/ 233211 w 578488"/>
                  <a:gd name="connsiteY1156" fmla="*/ 133270 h 470547"/>
                  <a:gd name="connsiteX1157" fmla="*/ 232285 w 578488"/>
                  <a:gd name="connsiteY1157" fmla="*/ 132104 h 470547"/>
                  <a:gd name="connsiteX1158" fmla="*/ 226467 w 578488"/>
                  <a:gd name="connsiteY1158" fmla="*/ 135229 h 470547"/>
                  <a:gd name="connsiteX1159" fmla="*/ 222352 w 578488"/>
                  <a:gd name="connsiteY1159" fmla="*/ 135955 h 470547"/>
                  <a:gd name="connsiteX1160" fmla="*/ 220730 w 578488"/>
                  <a:gd name="connsiteY1160" fmla="*/ 135518 h 470547"/>
                  <a:gd name="connsiteX1161" fmla="*/ 221609 w 578488"/>
                  <a:gd name="connsiteY1161" fmla="*/ 132687 h 470547"/>
                  <a:gd name="connsiteX1162" fmla="*/ 221119 w 578488"/>
                  <a:gd name="connsiteY1162" fmla="*/ 130438 h 470547"/>
                  <a:gd name="connsiteX1163" fmla="*/ 226636 w 578488"/>
                  <a:gd name="connsiteY1163" fmla="*/ 124888 h 470547"/>
                  <a:gd name="connsiteX1164" fmla="*/ 228534 w 578488"/>
                  <a:gd name="connsiteY1164" fmla="*/ 124245 h 470547"/>
                  <a:gd name="connsiteX1165" fmla="*/ 231632 w 578488"/>
                  <a:gd name="connsiteY1165" fmla="*/ 124691 h 470547"/>
                  <a:gd name="connsiteX1166" fmla="*/ 234429 w 578488"/>
                  <a:gd name="connsiteY1166" fmla="*/ 126259 h 470547"/>
                  <a:gd name="connsiteX1167" fmla="*/ 236768 w 578488"/>
                  <a:gd name="connsiteY1167" fmla="*/ 126009 h 470547"/>
                  <a:gd name="connsiteX1168" fmla="*/ 239305 w 578488"/>
                  <a:gd name="connsiteY1168" fmla="*/ 125172 h 470547"/>
                  <a:gd name="connsiteX1169" fmla="*/ 238959 w 578488"/>
                  <a:gd name="connsiteY1169" fmla="*/ 123668 h 470547"/>
                  <a:gd name="connsiteX1170" fmla="*/ 233457 w 578488"/>
                  <a:gd name="connsiteY1170" fmla="*/ 123071 h 470547"/>
                  <a:gd name="connsiteX1171" fmla="*/ 232041 w 578488"/>
                  <a:gd name="connsiteY1171" fmla="*/ 121822 h 470547"/>
                  <a:gd name="connsiteX1172" fmla="*/ 232552 w 578488"/>
                  <a:gd name="connsiteY1172" fmla="*/ 120595 h 470547"/>
                  <a:gd name="connsiteX1173" fmla="*/ 236329 w 578488"/>
                  <a:gd name="connsiteY1173" fmla="*/ 119298 h 470547"/>
                  <a:gd name="connsiteX1174" fmla="*/ 240085 w 578488"/>
                  <a:gd name="connsiteY1174" fmla="*/ 116955 h 470547"/>
                  <a:gd name="connsiteX1175" fmla="*/ 244388 w 578488"/>
                  <a:gd name="connsiteY1175" fmla="*/ 116276 h 470547"/>
                  <a:gd name="connsiteX1176" fmla="*/ 247852 w 578488"/>
                  <a:gd name="connsiteY1176" fmla="*/ 114501 h 470547"/>
                  <a:gd name="connsiteX1177" fmla="*/ 248519 w 578488"/>
                  <a:gd name="connsiteY1177" fmla="*/ 114904 h 470547"/>
                  <a:gd name="connsiteX1178" fmla="*/ 249104 w 578488"/>
                  <a:gd name="connsiteY1178" fmla="*/ 115600 h 470547"/>
                  <a:gd name="connsiteX1179" fmla="*/ 250348 w 578488"/>
                  <a:gd name="connsiteY1179" fmla="*/ 122169 h 470547"/>
                  <a:gd name="connsiteX1180" fmla="*/ 253442 w 578488"/>
                  <a:gd name="connsiteY1180" fmla="*/ 127512 h 470547"/>
                  <a:gd name="connsiteX1181" fmla="*/ 254582 w 578488"/>
                  <a:gd name="connsiteY1181" fmla="*/ 127706 h 470547"/>
                  <a:gd name="connsiteX1182" fmla="*/ 253395 w 578488"/>
                  <a:gd name="connsiteY1182" fmla="*/ 123162 h 470547"/>
                  <a:gd name="connsiteX1183" fmla="*/ 254503 w 578488"/>
                  <a:gd name="connsiteY1183" fmla="*/ 121854 h 470547"/>
                  <a:gd name="connsiteX1184" fmla="*/ 255906 w 578488"/>
                  <a:gd name="connsiteY1184" fmla="*/ 120859 h 470547"/>
                  <a:gd name="connsiteX1185" fmla="*/ 256344 w 578488"/>
                  <a:gd name="connsiteY1185" fmla="*/ 119726 h 470547"/>
                  <a:gd name="connsiteX1186" fmla="*/ 254736 w 578488"/>
                  <a:gd name="connsiteY1186" fmla="*/ 119339 h 470547"/>
                  <a:gd name="connsiteX1187" fmla="*/ 253421 w 578488"/>
                  <a:gd name="connsiteY1187" fmla="*/ 117711 h 470547"/>
                  <a:gd name="connsiteX1188" fmla="*/ 251542 w 578488"/>
                  <a:gd name="connsiteY1188" fmla="*/ 112496 h 470547"/>
                  <a:gd name="connsiteX1189" fmla="*/ 252183 w 578488"/>
                  <a:gd name="connsiteY1189" fmla="*/ 111139 h 470547"/>
                  <a:gd name="connsiteX1190" fmla="*/ 256254 w 578488"/>
                  <a:gd name="connsiteY1190" fmla="*/ 108355 h 470547"/>
                  <a:gd name="connsiteX1191" fmla="*/ 261361 w 578488"/>
                  <a:gd name="connsiteY1191" fmla="*/ 107713 h 470547"/>
                  <a:gd name="connsiteX1192" fmla="*/ 266802 w 578488"/>
                  <a:gd name="connsiteY1192" fmla="*/ 109666 h 470547"/>
                  <a:gd name="connsiteX1193" fmla="*/ 268713 w 578488"/>
                  <a:gd name="connsiteY1193" fmla="*/ 109688 h 470547"/>
                  <a:gd name="connsiteX1194" fmla="*/ 271868 w 578488"/>
                  <a:gd name="connsiteY1194" fmla="*/ 109164 h 470547"/>
                  <a:gd name="connsiteX1195" fmla="*/ 277221 w 578488"/>
                  <a:gd name="connsiteY1195" fmla="*/ 107558 h 470547"/>
                  <a:gd name="connsiteX1196" fmla="*/ 280370 w 578488"/>
                  <a:gd name="connsiteY1196" fmla="*/ 106947 h 470547"/>
                  <a:gd name="connsiteX1197" fmla="*/ 282013 w 578488"/>
                  <a:gd name="connsiteY1197" fmla="*/ 106949 h 470547"/>
                  <a:gd name="connsiteX1198" fmla="*/ 282419 w 578488"/>
                  <a:gd name="connsiteY1198" fmla="*/ 106137 h 470547"/>
                  <a:gd name="connsiteX1199" fmla="*/ 280897 w 578488"/>
                  <a:gd name="connsiteY1199" fmla="*/ 105615 h 470547"/>
                  <a:gd name="connsiteX1200" fmla="*/ 280406 w 578488"/>
                  <a:gd name="connsiteY1200" fmla="*/ 105107 h 470547"/>
                  <a:gd name="connsiteX1201" fmla="*/ 279212 w 578488"/>
                  <a:gd name="connsiteY1201" fmla="*/ 104815 h 470547"/>
                  <a:gd name="connsiteX1202" fmla="*/ 274263 w 578488"/>
                  <a:gd name="connsiteY1202" fmla="*/ 105684 h 470547"/>
                  <a:gd name="connsiteX1203" fmla="*/ 260609 w 578488"/>
                  <a:gd name="connsiteY1203" fmla="*/ 105409 h 470547"/>
                  <a:gd name="connsiteX1204" fmla="*/ 259292 w 578488"/>
                  <a:gd name="connsiteY1204" fmla="*/ 104480 h 470547"/>
                  <a:gd name="connsiteX1205" fmla="*/ 259050 w 578488"/>
                  <a:gd name="connsiteY1205" fmla="*/ 102872 h 470547"/>
                  <a:gd name="connsiteX1206" fmla="*/ 260499 w 578488"/>
                  <a:gd name="connsiteY1206" fmla="*/ 100564 h 470547"/>
                  <a:gd name="connsiteX1207" fmla="*/ 262091 w 578488"/>
                  <a:gd name="connsiteY1207" fmla="*/ 99291 h 470547"/>
                  <a:gd name="connsiteX1208" fmla="*/ 267239 w 578488"/>
                  <a:gd name="connsiteY1208" fmla="*/ 96997 h 470547"/>
                  <a:gd name="connsiteX1209" fmla="*/ 272689 w 578488"/>
                  <a:gd name="connsiteY1209" fmla="*/ 96687 h 470547"/>
                  <a:gd name="connsiteX1210" fmla="*/ 278431 w 578488"/>
                  <a:gd name="connsiteY1210" fmla="*/ 92605 h 470547"/>
                  <a:gd name="connsiteX1211" fmla="*/ 280625 w 578488"/>
                  <a:gd name="connsiteY1211" fmla="*/ 89538 h 470547"/>
                  <a:gd name="connsiteX1212" fmla="*/ 281868 w 578488"/>
                  <a:gd name="connsiteY1212" fmla="*/ 84803 h 470547"/>
                  <a:gd name="connsiteX1213" fmla="*/ 285369 w 578488"/>
                  <a:gd name="connsiteY1213" fmla="*/ 80966 h 470547"/>
                  <a:gd name="connsiteX1214" fmla="*/ 294144 w 578488"/>
                  <a:gd name="connsiteY1214" fmla="*/ 78781 h 470547"/>
                  <a:gd name="connsiteX1215" fmla="*/ 294499 w 578488"/>
                  <a:gd name="connsiteY1215" fmla="*/ 77813 h 470547"/>
                  <a:gd name="connsiteX1216" fmla="*/ 293568 w 578488"/>
                  <a:gd name="connsiteY1216" fmla="*/ 75813 h 470547"/>
                  <a:gd name="connsiteX1217" fmla="*/ 293641 w 578488"/>
                  <a:gd name="connsiteY1217" fmla="*/ 72204 h 470547"/>
                  <a:gd name="connsiteX1218" fmla="*/ 296047 w 578488"/>
                  <a:gd name="connsiteY1218" fmla="*/ 67992 h 470547"/>
                  <a:gd name="connsiteX1219" fmla="*/ 297645 w 578488"/>
                  <a:gd name="connsiteY1219" fmla="*/ 66526 h 470547"/>
                  <a:gd name="connsiteX1220" fmla="*/ 298383 w 578488"/>
                  <a:gd name="connsiteY1220" fmla="*/ 66350 h 470547"/>
                  <a:gd name="connsiteX1221" fmla="*/ 300275 w 578488"/>
                  <a:gd name="connsiteY1221" fmla="*/ 67729 h 470547"/>
                  <a:gd name="connsiteX1222" fmla="*/ 302573 w 578488"/>
                  <a:gd name="connsiteY1222" fmla="*/ 70659 h 470547"/>
                  <a:gd name="connsiteX1223" fmla="*/ 306175 w 578488"/>
                  <a:gd name="connsiteY1223" fmla="*/ 72335 h 470547"/>
                  <a:gd name="connsiteX1224" fmla="*/ 310895 w 578488"/>
                  <a:gd name="connsiteY1224" fmla="*/ 72624 h 470547"/>
                  <a:gd name="connsiteX1225" fmla="*/ 312154 w 578488"/>
                  <a:gd name="connsiteY1225" fmla="*/ 71800 h 470547"/>
                  <a:gd name="connsiteX1226" fmla="*/ 308485 w 578488"/>
                  <a:gd name="connsiteY1226" fmla="*/ 70129 h 470547"/>
                  <a:gd name="connsiteX1227" fmla="*/ 305708 w 578488"/>
                  <a:gd name="connsiteY1227" fmla="*/ 67943 h 470547"/>
                  <a:gd name="connsiteX1228" fmla="*/ 305488 w 578488"/>
                  <a:gd name="connsiteY1228" fmla="*/ 65745 h 470547"/>
                  <a:gd name="connsiteX1229" fmla="*/ 306805 w 578488"/>
                  <a:gd name="connsiteY1229" fmla="*/ 64579 h 470547"/>
                  <a:gd name="connsiteX1230" fmla="*/ 308852 w 578488"/>
                  <a:gd name="connsiteY1230" fmla="*/ 64709 h 470547"/>
                  <a:gd name="connsiteX1231" fmla="*/ 311422 w 578488"/>
                  <a:gd name="connsiteY1231" fmla="*/ 64462 h 470547"/>
                  <a:gd name="connsiteX1232" fmla="*/ 313816 w 578488"/>
                  <a:gd name="connsiteY1232" fmla="*/ 62982 h 470547"/>
                  <a:gd name="connsiteX1233" fmla="*/ 314164 w 578488"/>
                  <a:gd name="connsiteY1233" fmla="*/ 61941 h 470547"/>
                  <a:gd name="connsiteX1234" fmla="*/ 314264 w 578488"/>
                  <a:gd name="connsiteY1234" fmla="*/ 60527 h 470547"/>
                  <a:gd name="connsiteX1235" fmla="*/ 314862 w 578488"/>
                  <a:gd name="connsiteY1235" fmla="*/ 59088 h 470547"/>
                  <a:gd name="connsiteX1236" fmla="*/ 318375 w 578488"/>
                  <a:gd name="connsiteY1236" fmla="*/ 55651 h 470547"/>
                  <a:gd name="connsiteX1237" fmla="*/ 329204 w 578488"/>
                  <a:gd name="connsiteY1237" fmla="*/ 53412 h 470547"/>
                  <a:gd name="connsiteX1238" fmla="*/ 329988 w 578488"/>
                  <a:gd name="connsiteY1238" fmla="*/ 54321 h 470547"/>
                  <a:gd name="connsiteX1239" fmla="*/ 329403 w 578488"/>
                  <a:gd name="connsiteY1239" fmla="*/ 60951 h 470547"/>
                  <a:gd name="connsiteX1240" fmla="*/ 328159 w 578488"/>
                  <a:gd name="connsiteY1240" fmla="*/ 65227 h 470547"/>
                  <a:gd name="connsiteX1241" fmla="*/ 328198 w 578488"/>
                  <a:gd name="connsiteY1241" fmla="*/ 68347 h 470547"/>
                  <a:gd name="connsiteX1242" fmla="*/ 330306 w 578488"/>
                  <a:gd name="connsiteY1242" fmla="*/ 65227 h 470547"/>
                  <a:gd name="connsiteX1243" fmla="*/ 333132 w 578488"/>
                  <a:gd name="connsiteY1243" fmla="*/ 56663 h 470547"/>
                  <a:gd name="connsiteX1244" fmla="*/ 335253 w 578488"/>
                  <a:gd name="connsiteY1244" fmla="*/ 52629 h 470547"/>
                  <a:gd name="connsiteX1245" fmla="*/ 337650 w 578488"/>
                  <a:gd name="connsiteY1245" fmla="*/ 50309 h 470547"/>
                  <a:gd name="connsiteX1246" fmla="*/ 339362 w 578488"/>
                  <a:gd name="connsiteY1246" fmla="*/ 49785 h 470547"/>
                  <a:gd name="connsiteX1247" fmla="*/ 341057 w 578488"/>
                  <a:gd name="connsiteY1247" fmla="*/ 48583 h 470547"/>
                  <a:gd name="connsiteX1248" fmla="*/ 343295 w 578488"/>
                  <a:gd name="connsiteY1248" fmla="*/ 47867 h 470547"/>
                  <a:gd name="connsiteX1249" fmla="*/ 343979 w 578488"/>
                  <a:gd name="connsiteY1249" fmla="*/ 48791 h 470547"/>
                  <a:gd name="connsiteX1250" fmla="*/ 344687 w 578488"/>
                  <a:gd name="connsiteY1250" fmla="*/ 50933 h 470547"/>
                  <a:gd name="connsiteX1251" fmla="*/ 343482 w 578488"/>
                  <a:gd name="connsiteY1251" fmla="*/ 58438 h 470547"/>
                  <a:gd name="connsiteX1252" fmla="*/ 343603 w 578488"/>
                  <a:gd name="connsiteY1252" fmla="*/ 60805 h 470547"/>
                  <a:gd name="connsiteX1253" fmla="*/ 342253 w 578488"/>
                  <a:gd name="connsiteY1253" fmla="*/ 63973 h 470547"/>
                  <a:gd name="connsiteX1254" fmla="*/ 337093 w 578488"/>
                  <a:gd name="connsiteY1254" fmla="*/ 71017 h 470547"/>
                  <a:gd name="connsiteX1255" fmla="*/ 337330 w 578488"/>
                  <a:gd name="connsiteY1255" fmla="*/ 71914 h 470547"/>
                  <a:gd name="connsiteX1256" fmla="*/ 338496 w 578488"/>
                  <a:gd name="connsiteY1256" fmla="*/ 71581 h 470547"/>
                  <a:gd name="connsiteX1257" fmla="*/ 340496 w 578488"/>
                  <a:gd name="connsiteY1257" fmla="*/ 70420 h 470547"/>
                  <a:gd name="connsiteX1258" fmla="*/ 346888 w 578488"/>
                  <a:gd name="connsiteY1258" fmla="*/ 63728 h 470547"/>
                  <a:gd name="connsiteX1259" fmla="*/ 352476 w 578488"/>
                  <a:gd name="connsiteY1259" fmla="*/ 64573 h 470547"/>
                  <a:gd name="connsiteX1260" fmla="*/ 352545 w 578488"/>
                  <a:gd name="connsiteY1260" fmla="*/ 64024 h 470547"/>
                  <a:gd name="connsiteX1261" fmla="*/ 350753 w 578488"/>
                  <a:gd name="connsiteY1261" fmla="*/ 62058 h 470547"/>
                  <a:gd name="connsiteX1262" fmla="*/ 348563 w 578488"/>
                  <a:gd name="connsiteY1262" fmla="*/ 60171 h 470547"/>
                  <a:gd name="connsiteX1263" fmla="*/ 347905 w 578488"/>
                  <a:gd name="connsiteY1263" fmla="*/ 57833 h 470547"/>
                  <a:gd name="connsiteX1264" fmla="*/ 348198 w 578488"/>
                  <a:gd name="connsiteY1264" fmla="*/ 51586 h 470547"/>
                  <a:gd name="connsiteX1265" fmla="*/ 349881 w 578488"/>
                  <a:gd name="connsiteY1265" fmla="*/ 49107 h 470547"/>
                  <a:gd name="connsiteX1266" fmla="*/ 354707 w 578488"/>
                  <a:gd name="connsiteY1266" fmla="*/ 49367 h 470547"/>
                  <a:gd name="connsiteX1267" fmla="*/ 357598 w 578488"/>
                  <a:gd name="connsiteY1267" fmla="*/ 49024 h 470547"/>
                  <a:gd name="connsiteX1268" fmla="*/ 358948 w 578488"/>
                  <a:gd name="connsiteY1268" fmla="*/ 50151 h 470547"/>
                  <a:gd name="connsiteX1269" fmla="*/ 361843 w 578488"/>
                  <a:gd name="connsiteY1269" fmla="*/ 50070 h 470547"/>
                  <a:gd name="connsiteX1270" fmla="*/ 363848 w 578488"/>
                  <a:gd name="connsiteY1270" fmla="*/ 45579 h 470547"/>
                  <a:gd name="connsiteX1271" fmla="*/ 367810 w 578488"/>
                  <a:gd name="connsiteY1271" fmla="*/ 45185 h 470547"/>
                  <a:gd name="connsiteX1272" fmla="*/ 371289 w 578488"/>
                  <a:gd name="connsiteY1272" fmla="*/ 48155 h 470547"/>
                  <a:gd name="connsiteX1273" fmla="*/ 375476 w 578488"/>
                  <a:gd name="connsiteY1273" fmla="*/ 50151 h 470547"/>
                  <a:gd name="connsiteX1274" fmla="*/ 378840 w 578488"/>
                  <a:gd name="connsiteY1274" fmla="*/ 53019 h 470547"/>
                  <a:gd name="connsiteX1275" fmla="*/ 379790 w 578488"/>
                  <a:gd name="connsiteY1275" fmla="*/ 52236 h 470547"/>
                  <a:gd name="connsiteX1276" fmla="*/ 377974 w 578488"/>
                  <a:gd name="connsiteY1276" fmla="*/ 45538 h 470547"/>
                  <a:gd name="connsiteX1277" fmla="*/ 375987 w 578488"/>
                  <a:gd name="connsiteY1277" fmla="*/ 43092 h 470547"/>
                  <a:gd name="connsiteX1278" fmla="*/ 371677 w 578488"/>
                  <a:gd name="connsiteY1278" fmla="*/ 41819 h 470547"/>
                  <a:gd name="connsiteX1279" fmla="*/ 367091 w 578488"/>
                  <a:gd name="connsiteY1279" fmla="*/ 38795 h 470547"/>
                  <a:gd name="connsiteX1280" fmla="*/ 365895 w 578488"/>
                  <a:gd name="connsiteY1280" fmla="*/ 37453 h 470547"/>
                  <a:gd name="connsiteX1281" fmla="*/ 366104 w 578488"/>
                  <a:gd name="connsiteY1281" fmla="*/ 36454 h 470547"/>
                  <a:gd name="connsiteX1282" fmla="*/ 370151 w 578488"/>
                  <a:gd name="connsiteY1282" fmla="*/ 35490 h 470547"/>
                  <a:gd name="connsiteX1283" fmla="*/ 375491 w 578488"/>
                  <a:gd name="connsiteY1283" fmla="*/ 36594 h 470547"/>
                  <a:gd name="connsiteX1284" fmla="*/ 380250 w 578488"/>
                  <a:gd name="connsiteY1284" fmla="*/ 34070 h 470547"/>
                  <a:gd name="connsiteX1285" fmla="*/ 381552 w 578488"/>
                  <a:gd name="connsiteY1285" fmla="*/ 34762 h 470547"/>
                  <a:gd name="connsiteX1286" fmla="*/ 385202 w 578488"/>
                  <a:gd name="connsiteY1286" fmla="*/ 33441 h 470547"/>
                  <a:gd name="connsiteX1287" fmla="*/ 387469 w 578488"/>
                  <a:gd name="connsiteY1287" fmla="*/ 35218 h 470547"/>
                  <a:gd name="connsiteX1288" fmla="*/ 388857 w 578488"/>
                  <a:gd name="connsiteY1288" fmla="*/ 34692 h 470547"/>
                  <a:gd name="connsiteX1289" fmla="*/ 389663 w 578488"/>
                  <a:gd name="connsiteY1289" fmla="*/ 32309 h 470547"/>
                  <a:gd name="connsiteX1290" fmla="*/ 395487 w 578488"/>
                  <a:gd name="connsiteY1290" fmla="*/ 30829 h 470547"/>
                  <a:gd name="connsiteX1291" fmla="*/ 399181 w 578488"/>
                  <a:gd name="connsiteY1291" fmla="*/ 32195 h 470547"/>
                  <a:gd name="connsiteX1292" fmla="*/ 401162 w 578488"/>
                  <a:gd name="connsiteY1292" fmla="*/ 33608 h 470547"/>
                  <a:gd name="connsiteX1293" fmla="*/ 402082 w 578488"/>
                  <a:gd name="connsiteY1293" fmla="*/ 36320 h 470547"/>
                  <a:gd name="connsiteX1294" fmla="*/ 403489 w 578488"/>
                  <a:gd name="connsiteY1294" fmla="*/ 41674 h 470547"/>
                  <a:gd name="connsiteX1295" fmla="*/ 406374 w 578488"/>
                  <a:gd name="connsiteY1295" fmla="*/ 44557 h 470547"/>
                  <a:gd name="connsiteX1296" fmla="*/ 408165 w 578488"/>
                  <a:gd name="connsiteY1296" fmla="*/ 45971 h 470547"/>
                  <a:gd name="connsiteX1297" fmla="*/ 410287 w 578488"/>
                  <a:gd name="connsiteY1297" fmla="*/ 46362 h 470547"/>
                  <a:gd name="connsiteX1298" fmla="*/ 411311 w 578488"/>
                  <a:gd name="connsiteY1298" fmla="*/ 44924 h 470547"/>
                  <a:gd name="connsiteX1299" fmla="*/ 409322 w 578488"/>
                  <a:gd name="connsiteY1299" fmla="*/ 43190 h 470547"/>
                  <a:gd name="connsiteX1300" fmla="*/ 408786 w 578488"/>
                  <a:gd name="connsiteY1300" fmla="*/ 41556 h 470547"/>
                  <a:gd name="connsiteX1301" fmla="*/ 409739 w 578488"/>
                  <a:gd name="connsiteY1301" fmla="*/ 37494 h 470547"/>
                  <a:gd name="connsiteX1302" fmla="*/ 410851 w 578488"/>
                  <a:gd name="connsiteY1302" fmla="*/ 35896 h 470547"/>
                  <a:gd name="connsiteX1303" fmla="*/ 417083 w 578488"/>
                  <a:gd name="connsiteY1303" fmla="*/ 29833 h 470547"/>
                  <a:gd name="connsiteX1304" fmla="*/ 422300 w 578488"/>
                  <a:gd name="connsiteY1304" fmla="*/ 26680 h 470547"/>
                  <a:gd name="connsiteX1305" fmla="*/ 425424 w 578488"/>
                  <a:gd name="connsiteY1305" fmla="*/ 26417 h 470547"/>
                  <a:gd name="connsiteX1306" fmla="*/ 430888 w 578488"/>
                  <a:gd name="connsiteY1306" fmla="*/ 19331 h 470547"/>
                  <a:gd name="connsiteX1307" fmla="*/ 432436 w 578488"/>
                  <a:gd name="connsiteY1307" fmla="*/ 18040 h 470547"/>
                  <a:gd name="connsiteX1308" fmla="*/ 433861 w 578488"/>
                  <a:gd name="connsiteY1308" fmla="*/ 17743 h 470547"/>
                  <a:gd name="connsiteX1309" fmla="*/ 433496 w 578488"/>
                  <a:gd name="connsiteY1309" fmla="*/ 16004 h 470547"/>
                  <a:gd name="connsiteX1310" fmla="*/ 430503 w 578488"/>
                  <a:gd name="connsiteY1310" fmla="*/ 14903 h 470547"/>
                  <a:gd name="connsiteX1311" fmla="*/ 430400 w 578488"/>
                  <a:gd name="connsiteY1311" fmla="*/ 12748 h 470547"/>
                  <a:gd name="connsiteX1312" fmla="*/ 434343 w 578488"/>
                  <a:gd name="connsiteY1312" fmla="*/ 10121 h 470547"/>
                  <a:gd name="connsiteX1313" fmla="*/ 439124 w 578488"/>
                  <a:gd name="connsiteY1313" fmla="*/ 5706 h 470547"/>
                  <a:gd name="connsiteX1314" fmla="*/ 441484 w 578488"/>
                  <a:gd name="connsiteY1314" fmla="*/ 5406 h 470547"/>
                  <a:gd name="connsiteX1315" fmla="*/ 442963 w 578488"/>
                  <a:gd name="connsiteY1315" fmla="*/ 6634 h 470547"/>
                  <a:gd name="connsiteX1316" fmla="*/ 447619 w 578488"/>
                  <a:gd name="connsiteY1316" fmla="*/ 8627 h 470547"/>
                  <a:gd name="connsiteX1317" fmla="*/ 450471 w 578488"/>
                  <a:gd name="connsiteY1317" fmla="*/ 10908 h 470547"/>
                  <a:gd name="connsiteX1318" fmla="*/ 452538 w 578488"/>
                  <a:gd name="connsiteY1318" fmla="*/ 12056 h 470547"/>
                  <a:gd name="connsiteX1319" fmla="*/ 453881 w 578488"/>
                  <a:gd name="connsiteY1319" fmla="*/ 11818 h 470547"/>
                  <a:gd name="connsiteX1320" fmla="*/ 454991 w 578488"/>
                  <a:gd name="connsiteY1320" fmla="*/ 10105 h 470547"/>
                  <a:gd name="connsiteX1321" fmla="*/ 456325 w 578488"/>
                  <a:gd name="connsiteY1321" fmla="*/ 9303 h 470547"/>
                  <a:gd name="connsiteX1322" fmla="*/ 459286 w 578488"/>
                  <a:gd name="connsiteY1322" fmla="*/ 9753 h 470547"/>
                  <a:gd name="connsiteX1323" fmla="*/ 461052 w 578488"/>
                  <a:gd name="connsiteY1323" fmla="*/ 10855 h 470547"/>
                  <a:gd name="connsiteX1324" fmla="*/ 462428 w 578488"/>
                  <a:gd name="connsiteY1324" fmla="*/ 11000 h 470547"/>
                  <a:gd name="connsiteX1325" fmla="*/ 463672 w 578488"/>
                  <a:gd name="connsiteY1325" fmla="*/ 11667 h 470547"/>
                  <a:gd name="connsiteX1326" fmla="*/ 463965 w 578488"/>
                  <a:gd name="connsiteY1326" fmla="*/ 13131 h 470547"/>
                  <a:gd name="connsiteX1327" fmla="*/ 461404 w 578488"/>
                  <a:gd name="connsiteY1327" fmla="*/ 14725 h 470547"/>
                  <a:gd name="connsiteX1328" fmla="*/ 457040 w 578488"/>
                  <a:gd name="connsiteY1328" fmla="*/ 18947 h 470547"/>
                  <a:gd name="connsiteX1329" fmla="*/ 452734 w 578488"/>
                  <a:gd name="connsiteY1329" fmla="*/ 23737 h 470547"/>
                  <a:gd name="connsiteX1330" fmla="*/ 451314 w 578488"/>
                  <a:gd name="connsiteY1330" fmla="*/ 26255 h 470547"/>
                  <a:gd name="connsiteX1331" fmla="*/ 449923 w 578488"/>
                  <a:gd name="connsiteY1331" fmla="*/ 32850 h 470547"/>
                  <a:gd name="connsiteX1332" fmla="*/ 446558 w 578488"/>
                  <a:gd name="connsiteY1332" fmla="*/ 37058 h 470547"/>
                  <a:gd name="connsiteX1333" fmla="*/ 446304 w 578488"/>
                  <a:gd name="connsiteY1333" fmla="*/ 40003 h 470547"/>
                  <a:gd name="connsiteX1334" fmla="*/ 447655 w 578488"/>
                  <a:gd name="connsiteY1334" fmla="*/ 41390 h 470547"/>
                  <a:gd name="connsiteX1335" fmla="*/ 451369 w 578488"/>
                  <a:gd name="connsiteY1335" fmla="*/ 40302 h 470547"/>
                  <a:gd name="connsiteX1336" fmla="*/ 455947 w 578488"/>
                  <a:gd name="connsiteY1336" fmla="*/ 36371 h 470547"/>
                  <a:gd name="connsiteX1337" fmla="*/ 457090 w 578488"/>
                  <a:gd name="connsiteY1337" fmla="*/ 32191 h 470547"/>
                  <a:gd name="connsiteX1338" fmla="*/ 468535 w 578488"/>
                  <a:gd name="connsiteY1338" fmla="*/ 20815 h 470547"/>
                  <a:gd name="connsiteX1339" fmla="*/ 473903 w 578488"/>
                  <a:gd name="connsiteY1339" fmla="*/ 14505 h 470547"/>
                  <a:gd name="connsiteX1340" fmla="*/ 480007 w 578488"/>
                  <a:gd name="connsiteY1340" fmla="*/ 9265 h 470547"/>
                  <a:gd name="connsiteX1341" fmla="*/ 483421 w 578488"/>
                  <a:gd name="connsiteY1341" fmla="*/ 8179 h 470547"/>
                  <a:gd name="connsiteX1342" fmla="*/ 485028 w 578488"/>
                  <a:gd name="connsiteY1342" fmla="*/ 11651 h 470547"/>
                  <a:gd name="connsiteX1343" fmla="*/ 483734 w 578488"/>
                  <a:gd name="connsiteY1343" fmla="*/ 16179 h 470547"/>
                  <a:gd name="connsiteX1344" fmla="*/ 481141 w 578488"/>
                  <a:gd name="connsiteY1344" fmla="*/ 19061 h 470547"/>
                  <a:gd name="connsiteX1345" fmla="*/ 483052 w 578488"/>
                  <a:gd name="connsiteY1345" fmla="*/ 20380 h 470547"/>
                  <a:gd name="connsiteX1346" fmla="*/ 482687 w 578488"/>
                  <a:gd name="connsiteY1346" fmla="*/ 23797 h 470547"/>
                  <a:gd name="connsiteX1347" fmla="*/ 482091 w 578488"/>
                  <a:gd name="connsiteY1347" fmla="*/ 25693 h 470547"/>
                  <a:gd name="connsiteX1348" fmla="*/ 481711 w 578488"/>
                  <a:gd name="connsiteY1348" fmla="*/ 27676 h 470547"/>
                  <a:gd name="connsiteX1349" fmla="*/ 481735 w 578488"/>
                  <a:gd name="connsiteY1349" fmla="*/ 29424 h 470547"/>
                  <a:gd name="connsiteX1350" fmla="*/ 483527 w 578488"/>
                  <a:gd name="connsiteY1350" fmla="*/ 28958 h 470547"/>
                  <a:gd name="connsiteX1351" fmla="*/ 490675 w 578488"/>
                  <a:gd name="connsiteY1351" fmla="*/ 25377 h 470547"/>
                  <a:gd name="connsiteX1352" fmla="*/ 492486 w 578488"/>
                  <a:gd name="connsiteY1352" fmla="*/ 21493 h 470547"/>
                  <a:gd name="connsiteX1353" fmla="*/ 494166 w 578488"/>
                  <a:gd name="connsiteY1353" fmla="*/ 18577 h 470547"/>
                  <a:gd name="connsiteX1354" fmla="*/ 494972 w 578488"/>
                  <a:gd name="connsiteY1354" fmla="*/ 16055 h 470547"/>
                  <a:gd name="connsiteX1355" fmla="*/ 497751 w 578488"/>
                  <a:gd name="connsiteY1355" fmla="*/ 13663 h 470547"/>
                  <a:gd name="connsiteX1356" fmla="*/ 502994 w 578488"/>
                  <a:gd name="connsiteY1356" fmla="*/ 13645 h 470547"/>
                  <a:gd name="connsiteX1357" fmla="*/ 503197 w 578488"/>
                  <a:gd name="connsiteY1357" fmla="*/ 12704 h 470547"/>
                  <a:gd name="connsiteX1358" fmla="*/ 496859 w 578488"/>
                  <a:gd name="connsiteY1358" fmla="*/ 9377 h 470547"/>
                  <a:gd name="connsiteX1359" fmla="*/ 496112 w 578488"/>
                  <a:gd name="connsiteY1359" fmla="*/ 7877 h 470547"/>
                  <a:gd name="connsiteX1360" fmla="*/ 498243 w 578488"/>
                  <a:gd name="connsiteY1360" fmla="*/ 5879 h 470547"/>
                  <a:gd name="connsiteX1361" fmla="*/ 459651 w 578488"/>
                  <a:gd name="connsiteY1361" fmla="*/ 0 h 470547"/>
                  <a:gd name="connsiteX1362" fmla="*/ 465559 w 578488"/>
                  <a:gd name="connsiteY1362" fmla="*/ 1548 h 470547"/>
                  <a:gd name="connsiteX1363" fmla="*/ 467582 w 578488"/>
                  <a:gd name="connsiteY1363" fmla="*/ 1516 h 470547"/>
                  <a:gd name="connsiteX1364" fmla="*/ 470515 w 578488"/>
                  <a:gd name="connsiteY1364" fmla="*/ 4407 h 470547"/>
                  <a:gd name="connsiteX1365" fmla="*/ 472046 w 578488"/>
                  <a:gd name="connsiteY1365" fmla="*/ 4151 h 470547"/>
                  <a:gd name="connsiteX1366" fmla="*/ 471756 w 578488"/>
                  <a:gd name="connsiteY1366" fmla="*/ 5916 h 470547"/>
                  <a:gd name="connsiteX1367" fmla="*/ 468792 w 578488"/>
                  <a:gd name="connsiteY1367" fmla="*/ 6752 h 470547"/>
                  <a:gd name="connsiteX1368" fmla="*/ 464183 w 578488"/>
                  <a:gd name="connsiteY1368" fmla="*/ 7260 h 470547"/>
                  <a:gd name="connsiteX1369" fmla="*/ 463495 w 578488"/>
                  <a:gd name="connsiteY1369" fmla="*/ 7611 h 470547"/>
                  <a:gd name="connsiteX1370" fmla="*/ 459556 w 578488"/>
                  <a:gd name="connsiteY1370" fmla="*/ 7329 h 470547"/>
                  <a:gd name="connsiteX1371" fmla="*/ 457345 w 578488"/>
                  <a:gd name="connsiteY1371" fmla="*/ 4956 h 470547"/>
                  <a:gd name="connsiteX1372" fmla="*/ 453650 w 578488"/>
                  <a:gd name="connsiteY1372" fmla="*/ 4368 h 470547"/>
                  <a:gd name="connsiteX1373" fmla="*/ 453656 w 578488"/>
                  <a:gd name="connsiteY1373" fmla="*/ 3606 h 470547"/>
                  <a:gd name="connsiteX1374" fmla="*/ 456049 w 578488"/>
                  <a:gd name="connsiteY1374" fmla="*/ 1809 h 4705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</a:cxnLst>
                <a:rect l="l" t="t" r="r" b="b"/>
                <a:pathLst>
                  <a:path w="578488" h="470547">
                    <a:moveTo>
                      <a:pt x="4236" y="391131"/>
                    </a:moveTo>
                    <a:lnTo>
                      <a:pt x="5553" y="393229"/>
                    </a:lnTo>
                    <a:lnTo>
                      <a:pt x="6342" y="395934"/>
                    </a:lnTo>
                    <a:lnTo>
                      <a:pt x="6413" y="399875"/>
                    </a:lnTo>
                    <a:lnTo>
                      <a:pt x="4376" y="399577"/>
                    </a:lnTo>
                    <a:lnTo>
                      <a:pt x="3461" y="398066"/>
                    </a:lnTo>
                    <a:lnTo>
                      <a:pt x="3196" y="397101"/>
                    </a:lnTo>
                    <a:lnTo>
                      <a:pt x="3355" y="394818"/>
                    </a:lnTo>
                    <a:lnTo>
                      <a:pt x="2897" y="392461"/>
                    </a:lnTo>
                    <a:lnTo>
                      <a:pt x="3498" y="391290"/>
                    </a:lnTo>
                    <a:close/>
                    <a:moveTo>
                      <a:pt x="2573" y="366113"/>
                    </a:moveTo>
                    <a:lnTo>
                      <a:pt x="3852" y="367834"/>
                    </a:lnTo>
                    <a:lnTo>
                      <a:pt x="3530" y="369975"/>
                    </a:lnTo>
                    <a:lnTo>
                      <a:pt x="1572" y="370400"/>
                    </a:lnTo>
                    <a:lnTo>
                      <a:pt x="0" y="370038"/>
                    </a:lnTo>
                    <a:lnTo>
                      <a:pt x="561" y="366825"/>
                    </a:lnTo>
                    <a:lnTo>
                      <a:pt x="1384" y="366299"/>
                    </a:lnTo>
                    <a:close/>
                    <a:moveTo>
                      <a:pt x="72406" y="288176"/>
                    </a:moveTo>
                    <a:lnTo>
                      <a:pt x="73790" y="289555"/>
                    </a:lnTo>
                    <a:lnTo>
                      <a:pt x="73896" y="291823"/>
                    </a:lnTo>
                    <a:lnTo>
                      <a:pt x="73052" y="292828"/>
                    </a:lnTo>
                    <a:lnTo>
                      <a:pt x="70884" y="292852"/>
                    </a:lnTo>
                    <a:lnTo>
                      <a:pt x="68309" y="292314"/>
                    </a:lnTo>
                    <a:lnTo>
                      <a:pt x="66697" y="291172"/>
                    </a:lnTo>
                    <a:lnTo>
                      <a:pt x="66446" y="290164"/>
                    </a:lnTo>
                    <a:lnTo>
                      <a:pt x="69417" y="288910"/>
                    </a:lnTo>
                    <a:close/>
                    <a:moveTo>
                      <a:pt x="87688" y="276468"/>
                    </a:moveTo>
                    <a:lnTo>
                      <a:pt x="88672" y="277636"/>
                    </a:lnTo>
                    <a:lnTo>
                      <a:pt x="88798" y="279233"/>
                    </a:lnTo>
                    <a:lnTo>
                      <a:pt x="88172" y="280023"/>
                    </a:lnTo>
                    <a:lnTo>
                      <a:pt x="81190" y="281299"/>
                    </a:lnTo>
                    <a:lnTo>
                      <a:pt x="78655" y="281381"/>
                    </a:lnTo>
                    <a:lnTo>
                      <a:pt x="77129" y="280596"/>
                    </a:lnTo>
                    <a:lnTo>
                      <a:pt x="80758" y="279027"/>
                    </a:lnTo>
                    <a:lnTo>
                      <a:pt x="86455" y="277535"/>
                    </a:lnTo>
                    <a:lnTo>
                      <a:pt x="86997" y="276585"/>
                    </a:lnTo>
                    <a:close/>
                    <a:moveTo>
                      <a:pt x="137580" y="234750"/>
                    </a:moveTo>
                    <a:lnTo>
                      <a:pt x="140049" y="234842"/>
                    </a:lnTo>
                    <a:lnTo>
                      <a:pt x="142560" y="237291"/>
                    </a:lnTo>
                    <a:lnTo>
                      <a:pt x="142234" y="238798"/>
                    </a:lnTo>
                    <a:lnTo>
                      <a:pt x="141074" y="239795"/>
                    </a:lnTo>
                    <a:lnTo>
                      <a:pt x="138498" y="238994"/>
                    </a:lnTo>
                    <a:lnTo>
                      <a:pt x="133413" y="239613"/>
                    </a:lnTo>
                    <a:lnTo>
                      <a:pt x="131364" y="238638"/>
                    </a:lnTo>
                    <a:lnTo>
                      <a:pt x="132992" y="236741"/>
                    </a:lnTo>
                    <a:close/>
                    <a:moveTo>
                      <a:pt x="156473" y="208471"/>
                    </a:moveTo>
                    <a:lnTo>
                      <a:pt x="158617" y="208629"/>
                    </a:lnTo>
                    <a:lnTo>
                      <a:pt x="159300" y="209433"/>
                    </a:lnTo>
                    <a:lnTo>
                      <a:pt x="158520" y="211357"/>
                    </a:lnTo>
                    <a:lnTo>
                      <a:pt x="157058" y="212476"/>
                    </a:lnTo>
                    <a:lnTo>
                      <a:pt x="154327" y="212155"/>
                    </a:lnTo>
                    <a:lnTo>
                      <a:pt x="154035" y="211196"/>
                    </a:lnTo>
                    <a:lnTo>
                      <a:pt x="154815" y="209272"/>
                    </a:lnTo>
                    <a:close/>
                    <a:moveTo>
                      <a:pt x="175748" y="197328"/>
                    </a:moveTo>
                    <a:lnTo>
                      <a:pt x="176449" y="198048"/>
                    </a:lnTo>
                    <a:lnTo>
                      <a:pt x="175119" y="199065"/>
                    </a:lnTo>
                    <a:lnTo>
                      <a:pt x="170496" y="201327"/>
                    </a:lnTo>
                    <a:lnTo>
                      <a:pt x="168725" y="201432"/>
                    </a:lnTo>
                    <a:lnTo>
                      <a:pt x="168740" y="199939"/>
                    </a:lnTo>
                    <a:lnTo>
                      <a:pt x="169755" y="198582"/>
                    </a:lnTo>
                    <a:lnTo>
                      <a:pt x="171364" y="197674"/>
                    </a:lnTo>
                    <a:lnTo>
                      <a:pt x="173433" y="197432"/>
                    </a:lnTo>
                    <a:close/>
                    <a:moveTo>
                      <a:pt x="170891" y="190029"/>
                    </a:moveTo>
                    <a:lnTo>
                      <a:pt x="172956" y="191226"/>
                    </a:lnTo>
                    <a:lnTo>
                      <a:pt x="172996" y="193260"/>
                    </a:lnTo>
                    <a:lnTo>
                      <a:pt x="171973" y="195112"/>
                    </a:lnTo>
                    <a:lnTo>
                      <a:pt x="168514" y="196161"/>
                    </a:lnTo>
                    <a:lnTo>
                      <a:pt x="166467" y="196404"/>
                    </a:lnTo>
                    <a:lnTo>
                      <a:pt x="166808" y="194788"/>
                    </a:lnTo>
                    <a:lnTo>
                      <a:pt x="168464" y="193253"/>
                    </a:lnTo>
                    <a:lnTo>
                      <a:pt x="169099" y="192202"/>
                    </a:lnTo>
                    <a:lnTo>
                      <a:pt x="169429" y="190966"/>
                    </a:lnTo>
                    <a:close/>
                    <a:moveTo>
                      <a:pt x="182845" y="120497"/>
                    </a:moveTo>
                    <a:lnTo>
                      <a:pt x="184057" y="121330"/>
                    </a:lnTo>
                    <a:lnTo>
                      <a:pt x="183502" y="123106"/>
                    </a:lnTo>
                    <a:lnTo>
                      <a:pt x="183513" y="124862"/>
                    </a:lnTo>
                    <a:lnTo>
                      <a:pt x="182990" y="125692"/>
                    </a:lnTo>
                    <a:lnTo>
                      <a:pt x="180716" y="127984"/>
                    </a:lnTo>
                    <a:lnTo>
                      <a:pt x="177449" y="129987"/>
                    </a:lnTo>
                    <a:lnTo>
                      <a:pt x="178641" y="126329"/>
                    </a:lnTo>
                    <a:lnTo>
                      <a:pt x="180405" y="122620"/>
                    </a:lnTo>
                    <a:close/>
                    <a:moveTo>
                      <a:pt x="198678" y="112691"/>
                    </a:moveTo>
                    <a:lnTo>
                      <a:pt x="200641" y="113103"/>
                    </a:lnTo>
                    <a:lnTo>
                      <a:pt x="201956" y="113756"/>
                    </a:lnTo>
                    <a:lnTo>
                      <a:pt x="205392" y="113566"/>
                    </a:lnTo>
                    <a:lnTo>
                      <a:pt x="206080" y="113810"/>
                    </a:lnTo>
                    <a:lnTo>
                      <a:pt x="205592" y="114887"/>
                    </a:lnTo>
                    <a:lnTo>
                      <a:pt x="204100" y="116071"/>
                    </a:lnTo>
                    <a:lnTo>
                      <a:pt x="200969" y="116797"/>
                    </a:lnTo>
                    <a:lnTo>
                      <a:pt x="199561" y="118603"/>
                    </a:lnTo>
                    <a:lnTo>
                      <a:pt x="198553" y="119216"/>
                    </a:lnTo>
                    <a:lnTo>
                      <a:pt x="195849" y="119224"/>
                    </a:lnTo>
                    <a:lnTo>
                      <a:pt x="194254" y="119640"/>
                    </a:lnTo>
                    <a:lnTo>
                      <a:pt x="192291" y="121245"/>
                    </a:lnTo>
                    <a:lnTo>
                      <a:pt x="190721" y="120062"/>
                    </a:lnTo>
                    <a:lnTo>
                      <a:pt x="190283" y="120902"/>
                    </a:lnTo>
                    <a:lnTo>
                      <a:pt x="189997" y="122401"/>
                    </a:lnTo>
                    <a:lnTo>
                      <a:pt x="189125" y="122841"/>
                    </a:lnTo>
                    <a:lnTo>
                      <a:pt x="186413" y="123384"/>
                    </a:lnTo>
                    <a:lnTo>
                      <a:pt x="185752" y="119891"/>
                    </a:lnTo>
                    <a:lnTo>
                      <a:pt x="187000" y="118622"/>
                    </a:lnTo>
                    <a:lnTo>
                      <a:pt x="187978" y="117104"/>
                    </a:lnTo>
                    <a:lnTo>
                      <a:pt x="189477" y="116872"/>
                    </a:lnTo>
                    <a:lnTo>
                      <a:pt x="190820" y="116998"/>
                    </a:lnTo>
                    <a:lnTo>
                      <a:pt x="193237" y="113726"/>
                    </a:lnTo>
                    <a:lnTo>
                      <a:pt x="196547" y="112796"/>
                    </a:lnTo>
                    <a:close/>
                    <a:moveTo>
                      <a:pt x="227817" y="84536"/>
                    </a:moveTo>
                    <a:lnTo>
                      <a:pt x="228398" y="84693"/>
                    </a:lnTo>
                    <a:lnTo>
                      <a:pt x="229447" y="85561"/>
                    </a:lnTo>
                    <a:lnTo>
                      <a:pt x="230145" y="87049"/>
                    </a:lnTo>
                    <a:lnTo>
                      <a:pt x="233021" y="90942"/>
                    </a:lnTo>
                    <a:lnTo>
                      <a:pt x="234334" y="93213"/>
                    </a:lnTo>
                    <a:lnTo>
                      <a:pt x="233269" y="97497"/>
                    </a:lnTo>
                    <a:lnTo>
                      <a:pt x="230475" y="99655"/>
                    </a:lnTo>
                    <a:lnTo>
                      <a:pt x="226163" y="100039"/>
                    </a:lnTo>
                    <a:lnTo>
                      <a:pt x="223138" y="99860"/>
                    </a:lnTo>
                    <a:lnTo>
                      <a:pt x="221231" y="98822"/>
                    </a:lnTo>
                    <a:lnTo>
                      <a:pt x="220993" y="97657"/>
                    </a:lnTo>
                    <a:lnTo>
                      <a:pt x="219892" y="97313"/>
                    </a:lnTo>
                    <a:lnTo>
                      <a:pt x="216987" y="98809"/>
                    </a:lnTo>
                    <a:lnTo>
                      <a:pt x="214969" y="99011"/>
                    </a:lnTo>
                    <a:lnTo>
                      <a:pt x="212401" y="97851"/>
                    </a:lnTo>
                    <a:lnTo>
                      <a:pt x="211710" y="95995"/>
                    </a:lnTo>
                    <a:lnTo>
                      <a:pt x="214435" y="93665"/>
                    </a:lnTo>
                    <a:lnTo>
                      <a:pt x="215696" y="91852"/>
                    </a:lnTo>
                    <a:lnTo>
                      <a:pt x="218720" y="92012"/>
                    </a:lnTo>
                    <a:lnTo>
                      <a:pt x="219475" y="92576"/>
                    </a:lnTo>
                    <a:lnTo>
                      <a:pt x="221183" y="92928"/>
                    </a:lnTo>
                    <a:lnTo>
                      <a:pt x="222222" y="90744"/>
                    </a:lnTo>
                    <a:lnTo>
                      <a:pt x="221982" y="89232"/>
                    </a:lnTo>
                    <a:lnTo>
                      <a:pt x="222742" y="88181"/>
                    </a:lnTo>
                    <a:lnTo>
                      <a:pt x="226394" y="88938"/>
                    </a:lnTo>
                    <a:lnTo>
                      <a:pt x="226400" y="84826"/>
                    </a:lnTo>
                    <a:close/>
                    <a:moveTo>
                      <a:pt x="246910" y="73108"/>
                    </a:moveTo>
                    <a:lnTo>
                      <a:pt x="248739" y="73108"/>
                    </a:lnTo>
                    <a:lnTo>
                      <a:pt x="250540" y="74204"/>
                    </a:lnTo>
                    <a:lnTo>
                      <a:pt x="250216" y="76443"/>
                    </a:lnTo>
                    <a:lnTo>
                      <a:pt x="247515" y="80477"/>
                    </a:lnTo>
                    <a:lnTo>
                      <a:pt x="243513" y="83908"/>
                    </a:lnTo>
                    <a:lnTo>
                      <a:pt x="244001" y="86367"/>
                    </a:lnTo>
                    <a:lnTo>
                      <a:pt x="245595" y="88389"/>
                    </a:lnTo>
                    <a:lnTo>
                      <a:pt x="245986" y="91839"/>
                    </a:lnTo>
                    <a:lnTo>
                      <a:pt x="246083" y="95156"/>
                    </a:lnTo>
                    <a:lnTo>
                      <a:pt x="243049" y="99627"/>
                    </a:lnTo>
                    <a:lnTo>
                      <a:pt x="242378" y="101772"/>
                    </a:lnTo>
                    <a:lnTo>
                      <a:pt x="242643" y="102042"/>
                    </a:lnTo>
                    <a:lnTo>
                      <a:pt x="245656" y="98341"/>
                    </a:lnTo>
                    <a:lnTo>
                      <a:pt x="248994" y="97185"/>
                    </a:lnTo>
                    <a:lnTo>
                      <a:pt x="249201" y="95895"/>
                    </a:lnTo>
                    <a:lnTo>
                      <a:pt x="250495" y="94646"/>
                    </a:lnTo>
                    <a:lnTo>
                      <a:pt x="250348" y="92605"/>
                    </a:lnTo>
                    <a:lnTo>
                      <a:pt x="251006" y="90944"/>
                    </a:lnTo>
                    <a:lnTo>
                      <a:pt x="252708" y="90504"/>
                    </a:lnTo>
                    <a:lnTo>
                      <a:pt x="253771" y="89942"/>
                    </a:lnTo>
                    <a:lnTo>
                      <a:pt x="254950" y="89632"/>
                    </a:lnTo>
                    <a:lnTo>
                      <a:pt x="257079" y="90976"/>
                    </a:lnTo>
                    <a:lnTo>
                      <a:pt x="258284" y="92467"/>
                    </a:lnTo>
                    <a:lnTo>
                      <a:pt x="259780" y="95797"/>
                    </a:lnTo>
                    <a:lnTo>
                      <a:pt x="259158" y="99013"/>
                    </a:lnTo>
                    <a:lnTo>
                      <a:pt x="255150" y="101517"/>
                    </a:lnTo>
                    <a:lnTo>
                      <a:pt x="251965" y="102646"/>
                    </a:lnTo>
                    <a:lnTo>
                      <a:pt x="248748" y="105516"/>
                    </a:lnTo>
                    <a:lnTo>
                      <a:pt x="247131" y="107859"/>
                    </a:lnTo>
                    <a:lnTo>
                      <a:pt x="245742" y="108366"/>
                    </a:lnTo>
                    <a:lnTo>
                      <a:pt x="244863" y="108175"/>
                    </a:lnTo>
                    <a:lnTo>
                      <a:pt x="244082" y="107609"/>
                    </a:lnTo>
                    <a:lnTo>
                      <a:pt x="242451" y="107607"/>
                    </a:lnTo>
                    <a:lnTo>
                      <a:pt x="240657" y="109638"/>
                    </a:lnTo>
                    <a:lnTo>
                      <a:pt x="235239" y="111288"/>
                    </a:lnTo>
                    <a:lnTo>
                      <a:pt x="233114" y="110812"/>
                    </a:lnTo>
                    <a:lnTo>
                      <a:pt x="233017" y="108788"/>
                    </a:lnTo>
                    <a:lnTo>
                      <a:pt x="231749" y="108956"/>
                    </a:lnTo>
                    <a:lnTo>
                      <a:pt x="229719" y="111382"/>
                    </a:lnTo>
                    <a:lnTo>
                      <a:pt x="227733" y="112191"/>
                    </a:lnTo>
                    <a:lnTo>
                      <a:pt x="226398" y="112440"/>
                    </a:lnTo>
                    <a:lnTo>
                      <a:pt x="223947" y="111527"/>
                    </a:lnTo>
                    <a:lnTo>
                      <a:pt x="217359" y="115654"/>
                    </a:lnTo>
                    <a:lnTo>
                      <a:pt x="211181" y="116425"/>
                    </a:lnTo>
                    <a:lnTo>
                      <a:pt x="209147" y="115948"/>
                    </a:lnTo>
                    <a:lnTo>
                      <a:pt x="209140" y="113424"/>
                    </a:lnTo>
                    <a:lnTo>
                      <a:pt x="213133" y="110191"/>
                    </a:lnTo>
                    <a:lnTo>
                      <a:pt x="216407" y="107941"/>
                    </a:lnTo>
                    <a:lnTo>
                      <a:pt x="227672" y="106369"/>
                    </a:lnTo>
                    <a:lnTo>
                      <a:pt x="234688" y="99674"/>
                    </a:lnTo>
                    <a:lnTo>
                      <a:pt x="236383" y="92374"/>
                    </a:lnTo>
                    <a:lnTo>
                      <a:pt x="238042" y="89732"/>
                    </a:lnTo>
                    <a:lnTo>
                      <a:pt x="237262" y="88238"/>
                    </a:lnTo>
                    <a:lnTo>
                      <a:pt x="235375" y="87975"/>
                    </a:lnTo>
                    <a:lnTo>
                      <a:pt x="235260" y="85677"/>
                    </a:lnTo>
                    <a:lnTo>
                      <a:pt x="236245" y="83162"/>
                    </a:lnTo>
                    <a:lnTo>
                      <a:pt x="239927" y="79703"/>
                    </a:lnTo>
                    <a:lnTo>
                      <a:pt x="241972" y="78229"/>
                    </a:lnTo>
                    <a:lnTo>
                      <a:pt x="245304" y="74050"/>
                    </a:lnTo>
                    <a:close/>
                    <a:moveTo>
                      <a:pt x="280912" y="61606"/>
                    </a:moveTo>
                    <a:lnTo>
                      <a:pt x="283570" y="63847"/>
                    </a:lnTo>
                    <a:lnTo>
                      <a:pt x="284766" y="63162"/>
                    </a:lnTo>
                    <a:lnTo>
                      <a:pt x="287118" y="62907"/>
                    </a:lnTo>
                    <a:lnTo>
                      <a:pt x="288867" y="63693"/>
                    </a:lnTo>
                    <a:lnTo>
                      <a:pt x="290297" y="65116"/>
                    </a:lnTo>
                    <a:lnTo>
                      <a:pt x="291992" y="65181"/>
                    </a:lnTo>
                    <a:lnTo>
                      <a:pt x="293056" y="67038"/>
                    </a:lnTo>
                    <a:lnTo>
                      <a:pt x="293598" y="69452"/>
                    </a:lnTo>
                    <a:lnTo>
                      <a:pt x="292367" y="71253"/>
                    </a:lnTo>
                    <a:lnTo>
                      <a:pt x="290621" y="72068"/>
                    </a:lnTo>
                    <a:lnTo>
                      <a:pt x="290148" y="74189"/>
                    </a:lnTo>
                    <a:lnTo>
                      <a:pt x="290811" y="77154"/>
                    </a:lnTo>
                    <a:lnTo>
                      <a:pt x="286893" y="78170"/>
                    </a:lnTo>
                    <a:lnTo>
                      <a:pt x="282352" y="78622"/>
                    </a:lnTo>
                    <a:lnTo>
                      <a:pt x="280577" y="77205"/>
                    </a:lnTo>
                    <a:lnTo>
                      <a:pt x="276945" y="79802"/>
                    </a:lnTo>
                    <a:lnTo>
                      <a:pt x="273348" y="83842"/>
                    </a:lnTo>
                    <a:lnTo>
                      <a:pt x="271614" y="84317"/>
                    </a:lnTo>
                    <a:lnTo>
                      <a:pt x="271493" y="83039"/>
                    </a:lnTo>
                    <a:lnTo>
                      <a:pt x="268908" y="82156"/>
                    </a:lnTo>
                    <a:lnTo>
                      <a:pt x="265598" y="82105"/>
                    </a:lnTo>
                    <a:lnTo>
                      <a:pt x="265708" y="81158"/>
                    </a:lnTo>
                    <a:lnTo>
                      <a:pt x="266308" y="80489"/>
                    </a:lnTo>
                    <a:lnTo>
                      <a:pt x="269165" y="79496"/>
                    </a:lnTo>
                    <a:lnTo>
                      <a:pt x="269735" y="77447"/>
                    </a:lnTo>
                    <a:lnTo>
                      <a:pt x="269216" y="73784"/>
                    </a:lnTo>
                    <a:lnTo>
                      <a:pt x="269720" y="72004"/>
                    </a:lnTo>
                    <a:lnTo>
                      <a:pt x="269828" y="70773"/>
                    </a:lnTo>
                    <a:lnTo>
                      <a:pt x="271624" y="69332"/>
                    </a:lnTo>
                    <a:lnTo>
                      <a:pt x="277768" y="70009"/>
                    </a:lnTo>
                    <a:lnTo>
                      <a:pt x="278513" y="68633"/>
                    </a:lnTo>
                    <a:lnTo>
                      <a:pt x="278047" y="67767"/>
                    </a:lnTo>
                    <a:lnTo>
                      <a:pt x="274872" y="66249"/>
                    </a:lnTo>
                    <a:lnTo>
                      <a:pt x="275360" y="65227"/>
                    </a:lnTo>
                    <a:lnTo>
                      <a:pt x="277651" y="64313"/>
                    </a:lnTo>
                    <a:lnTo>
                      <a:pt x="279819" y="64195"/>
                    </a:lnTo>
                    <a:lnTo>
                      <a:pt x="280471" y="62647"/>
                    </a:lnTo>
                    <a:lnTo>
                      <a:pt x="280584" y="61973"/>
                    </a:lnTo>
                    <a:close/>
                    <a:moveTo>
                      <a:pt x="553617" y="49437"/>
                    </a:moveTo>
                    <a:lnTo>
                      <a:pt x="555344" y="49560"/>
                    </a:lnTo>
                    <a:lnTo>
                      <a:pt x="557091" y="50712"/>
                    </a:lnTo>
                    <a:lnTo>
                      <a:pt x="558466" y="52086"/>
                    </a:lnTo>
                    <a:lnTo>
                      <a:pt x="556277" y="53725"/>
                    </a:lnTo>
                    <a:lnTo>
                      <a:pt x="552077" y="54876"/>
                    </a:lnTo>
                    <a:lnTo>
                      <a:pt x="551591" y="53929"/>
                    </a:lnTo>
                    <a:lnTo>
                      <a:pt x="552513" y="52454"/>
                    </a:lnTo>
                    <a:close/>
                    <a:moveTo>
                      <a:pt x="350606" y="36555"/>
                    </a:moveTo>
                    <a:lnTo>
                      <a:pt x="353506" y="37006"/>
                    </a:lnTo>
                    <a:lnTo>
                      <a:pt x="354245" y="37564"/>
                    </a:lnTo>
                    <a:lnTo>
                      <a:pt x="353355" y="42154"/>
                    </a:lnTo>
                    <a:lnTo>
                      <a:pt x="352163" y="43074"/>
                    </a:lnTo>
                    <a:lnTo>
                      <a:pt x="350334" y="43450"/>
                    </a:lnTo>
                    <a:lnTo>
                      <a:pt x="349349" y="42879"/>
                    </a:lnTo>
                    <a:lnTo>
                      <a:pt x="347948" y="42504"/>
                    </a:lnTo>
                    <a:lnTo>
                      <a:pt x="346391" y="42676"/>
                    </a:lnTo>
                    <a:lnTo>
                      <a:pt x="345082" y="40989"/>
                    </a:lnTo>
                    <a:lnTo>
                      <a:pt x="345229" y="39572"/>
                    </a:lnTo>
                    <a:lnTo>
                      <a:pt x="347021" y="37649"/>
                    </a:lnTo>
                    <a:close/>
                    <a:moveTo>
                      <a:pt x="318716" y="35896"/>
                    </a:moveTo>
                    <a:lnTo>
                      <a:pt x="319528" y="38632"/>
                    </a:lnTo>
                    <a:lnTo>
                      <a:pt x="319653" y="43078"/>
                    </a:lnTo>
                    <a:lnTo>
                      <a:pt x="321614" y="45233"/>
                    </a:lnTo>
                    <a:lnTo>
                      <a:pt x="323350" y="45026"/>
                    </a:lnTo>
                    <a:lnTo>
                      <a:pt x="323873" y="44213"/>
                    </a:lnTo>
                    <a:lnTo>
                      <a:pt x="325058" y="43811"/>
                    </a:lnTo>
                    <a:lnTo>
                      <a:pt x="327453" y="44949"/>
                    </a:lnTo>
                    <a:lnTo>
                      <a:pt x="327110" y="46885"/>
                    </a:lnTo>
                    <a:lnTo>
                      <a:pt x="323795" y="49325"/>
                    </a:lnTo>
                    <a:lnTo>
                      <a:pt x="321416" y="52800"/>
                    </a:lnTo>
                    <a:lnTo>
                      <a:pt x="318371" y="53606"/>
                    </a:lnTo>
                    <a:lnTo>
                      <a:pt x="316907" y="53187"/>
                    </a:lnTo>
                    <a:lnTo>
                      <a:pt x="314186" y="55190"/>
                    </a:lnTo>
                    <a:lnTo>
                      <a:pt x="312005" y="57269"/>
                    </a:lnTo>
                    <a:lnTo>
                      <a:pt x="309744" y="59895"/>
                    </a:lnTo>
                    <a:lnTo>
                      <a:pt x="309606" y="61247"/>
                    </a:lnTo>
                    <a:lnTo>
                      <a:pt x="309254" y="62281"/>
                    </a:lnTo>
                    <a:lnTo>
                      <a:pt x="300973" y="63307"/>
                    </a:lnTo>
                    <a:lnTo>
                      <a:pt x="297962" y="63986"/>
                    </a:lnTo>
                    <a:lnTo>
                      <a:pt x="294773" y="63110"/>
                    </a:lnTo>
                    <a:lnTo>
                      <a:pt x="293262" y="61376"/>
                    </a:lnTo>
                    <a:lnTo>
                      <a:pt x="293747" y="60433"/>
                    </a:lnTo>
                    <a:lnTo>
                      <a:pt x="296930" y="60056"/>
                    </a:lnTo>
                    <a:lnTo>
                      <a:pt x="297032" y="58445"/>
                    </a:lnTo>
                    <a:lnTo>
                      <a:pt x="297837" y="57461"/>
                    </a:lnTo>
                    <a:lnTo>
                      <a:pt x="298867" y="56924"/>
                    </a:lnTo>
                    <a:lnTo>
                      <a:pt x="299625" y="54863"/>
                    </a:lnTo>
                    <a:lnTo>
                      <a:pt x="300884" y="54325"/>
                    </a:lnTo>
                    <a:lnTo>
                      <a:pt x="303231" y="54832"/>
                    </a:lnTo>
                    <a:lnTo>
                      <a:pt x="304814" y="53338"/>
                    </a:lnTo>
                    <a:lnTo>
                      <a:pt x="305706" y="53085"/>
                    </a:lnTo>
                    <a:lnTo>
                      <a:pt x="306805" y="54321"/>
                    </a:lnTo>
                    <a:lnTo>
                      <a:pt x="307334" y="52619"/>
                    </a:lnTo>
                    <a:lnTo>
                      <a:pt x="306805" y="51064"/>
                    </a:lnTo>
                    <a:lnTo>
                      <a:pt x="307082" y="50015"/>
                    </a:lnTo>
                    <a:lnTo>
                      <a:pt x="310117" y="47283"/>
                    </a:lnTo>
                    <a:lnTo>
                      <a:pt x="311431" y="45289"/>
                    </a:lnTo>
                    <a:lnTo>
                      <a:pt x="313320" y="44004"/>
                    </a:lnTo>
                    <a:lnTo>
                      <a:pt x="315140" y="44209"/>
                    </a:lnTo>
                    <a:lnTo>
                      <a:pt x="315669" y="42315"/>
                    </a:lnTo>
                    <a:lnTo>
                      <a:pt x="315140" y="40373"/>
                    </a:lnTo>
                    <a:lnTo>
                      <a:pt x="315341" y="39107"/>
                    </a:lnTo>
                    <a:lnTo>
                      <a:pt x="316948" y="36027"/>
                    </a:lnTo>
                    <a:close/>
                    <a:moveTo>
                      <a:pt x="329133" y="34857"/>
                    </a:moveTo>
                    <a:lnTo>
                      <a:pt x="330984" y="37118"/>
                    </a:lnTo>
                    <a:lnTo>
                      <a:pt x="332109" y="37583"/>
                    </a:lnTo>
                    <a:lnTo>
                      <a:pt x="333221" y="37294"/>
                    </a:lnTo>
                    <a:lnTo>
                      <a:pt x="334145" y="37705"/>
                    </a:lnTo>
                    <a:lnTo>
                      <a:pt x="335996" y="39794"/>
                    </a:lnTo>
                    <a:lnTo>
                      <a:pt x="337989" y="40615"/>
                    </a:lnTo>
                    <a:lnTo>
                      <a:pt x="338082" y="41666"/>
                    </a:lnTo>
                    <a:lnTo>
                      <a:pt x="336257" y="42690"/>
                    </a:lnTo>
                    <a:lnTo>
                      <a:pt x="333854" y="42997"/>
                    </a:lnTo>
                    <a:lnTo>
                      <a:pt x="331280" y="42641"/>
                    </a:lnTo>
                    <a:lnTo>
                      <a:pt x="330524" y="41332"/>
                    </a:lnTo>
                    <a:lnTo>
                      <a:pt x="329731" y="39157"/>
                    </a:lnTo>
                    <a:lnTo>
                      <a:pt x="327578" y="37023"/>
                    </a:lnTo>
                    <a:lnTo>
                      <a:pt x="327259" y="35152"/>
                    </a:lnTo>
                    <a:close/>
                    <a:moveTo>
                      <a:pt x="414550" y="21147"/>
                    </a:moveTo>
                    <a:lnTo>
                      <a:pt x="415263" y="22086"/>
                    </a:lnTo>
                    <a:lnTo>
                      <a:pt x="416068" y="23860"/>
                    </a:lnTo>
                    <a:lnTo>
                      <a:pt x="416480" y="25730"/>
                    </a:lnTo>
                    <a:lnTo>
                      <a:pt x="416636" y="27271"/>
                    </a:lnTo>
                    <a:lnTo>
                      <a:pt x="414573" y="29498"/>
                    </a:lnTo>
                    <a:lnTo>
                      <a:pt x="409821" y="32415"/>
                    </a:lnTo>
                    <a:lnTo>
                      <a:pt x="410093" y="33198"/>
                    </a:lnTo>
                    <a:lnTo>
                      <a:pt x="408448" y="33946"/>
                    </a:lnTo>
                    <a:lnTo>
                      <a:pt x="405981" y="34498"/>
                    </a:lnTo>
                    <a:lnTo>
                      <a:pt x="404679" y="33962"/>
                    </a:lnTo>
                    <a:lnTo>
                      <a:pt x="404859" y="31463"/>
                    </a:lnTo>
                    <a:lnTo>
                      <a:pt x="404466" y="30714"/>
                    </a:lnTo>
                    <a:lnTo>
                      <a:pt x="402593" y="31705"/>
                    </a:lnTo>
                    <a:lnTo>
                      <a:pt x="400646" y="30434"/>
                    </a:lnTo>
                    <a:lnTo>
                      <a:pt x="400643" y="29155"/>
                    </a:lnTo>
                    <a:lnTo>
                      <a:pt x="401157" y="28044"/>
                    </a:lnTo>
                    <a:lnTo>
                      <a:pt x="402958" y="26354"/>
                    </a:lnTo>
                    <a:lnTo>
                      <a:pt x="405964" y="25189"/>
                    </a:lnTo>
                    <a:lnTo>
                      <a:pt x="407946" y="25626"/>
                    </a:lnTo>
                    <a:close/>
                    <a:moveTo>
                      <a:pt x="419674" y="15922"/>
                    </a:moveTo>
                    <a:lnTo>
                      <a:pt x="420959" y="16643"/>
                    </a:lnTo>
                    <a:lnTo>
                      <a:pt x="421302" y="17247"/>
                    </a:lnTo>
                    <a:lnTo>
                      <a:pt x="423611" y="17839"/>
                    </a:lnTo>
                    <a:lnTo>
                      <a:pt x="426305" y="19805"/>
                    </a:lnTo>
                    <a:lnTo>
                      <a:pt x="424962" y="23137"/>
                    </a:lnTo>
                    <a:lnTo>
                      <a:pt x="420751" y="24733"/>
                    </a:lnTo>
                    <a:lnTo>
                      <a:pt x="418307" y="23358"/>
                    </a:lnTo>
                    <a:lnTo>
                      <a:pt x="417279" y="21949"/>
                    </a:lnTo>
                    <a:lnTo>
                      <a:pt x="417128" y="18816"/>
                    </a:lnTo>
                    <a:lnTo>
                      <a:pt x="417700" y="16908"/>
                    </a:lnTo>
                    <a:close/>
                    <a:moveTo>
                      <a:pt x="411209" y="12093"/>
                    </a:moveTo>
                    <a:lnTo>
                      <a:pt x="412202" y="13172"/>
                    </a:lnTo>
                    <a:lnTo>
                      <a:pt x="411769" y="14432"/>
                    </a:lnTo>
                    <a:lnTo>
                      <a:pt x="411021" y="15659"/>
                    </a:lnTo>
                    <a:lnTo>
                      <a:pt x="409209" y="16953"/>
                    </a:lnTo>
                    <a:lnTo>
                      <a:pt x="403969" y="22068"/>
                    </a:lnTo>
                    <a:lnTo>
                      <a:pt x="400889" y="22891"/>
                    </a:lnTo>
                    <a:lnTo>
                      <a:pt x="399914" y="23692"/>
                    </a:lnTo>
                    <a:lnTo>
                      <a:pt x="398683" y="24170"/>
                    </a:lnTo>
                    <a:lnTo>
                      <a:pt x="394856" y="23471"/>
                    </a:lnTo>
                    <a:lnTo>
                      <a:pt x="393736" y="24506"/>
                    </a:lnTo>
                    <a:lnTo>
                      <a:pt x="392678" y="25197"/>
                    </a:lnTo>
                    <a:lnTo>
                      <a:pt x="389907" y="25465"/>
                    </a:lnTo>
                    <a:lnTo>
                      <a:pt x="388281" y="25240"/>
                    </a:lnTo>
                    <a:lnTo>
                      <a:pt x="384081" y="23348"/>
                    </a:lnTo>
                    <a:lnTo>
                      <a:pt x="381582" y="21298"/>
                    </a:lnTo>
                    <a:lnTo>
                      <a:pt x="380229" y="19542"/>
                    </a:lnTo>
                    <a:lnTo>
                      <a:pt x="384109" y="19576"/>
                    </a:lnTo>
                    <a:lnTo>
                      <a:pt x="385493" y="19151"/>
                    </a:lnTo>
                    <a:lnTo>
                      <a:pt x="388095" y="19521"/>
                    </a:lnTo>
                    <a:lnTo>
                      <a:pt x="389658" y="17719"/>
                    </a:lnTo>
                    <a:lnTo>
                      <a:pt x="392969" y="17937"/>
                    </a:lnTo>
                    <a:lnTo>
                      <a:pt x="399324" y="16682"/>
                    </a:lnTo>
                    <a:lnTo>
                      <a:pt x="401656" y="17382"/>
                    </a:lnTo>
                    <a:lnTo>
                      <a:pt x="406988" y="13184"/>
                    </a:lnTo>
                    <a:lnTo>
                      <a:pt x="408657" y="13294"/>
                    </a:lnTo>
                    <a:close/>
                    <a:moveTo>
                      <a:pt x="504113" y="2056"/>
                    </a:moveTo>
                    <a:lnTo>
                      <a:pt x="507129" y="2479"/>
                    </a:lnTo>
                    <a:lnTo>
                      <a:pt x="508932" y="3348"/>
                    </a:lnTo>
                    <a:lnTo>
                      <a:pt x="516155" y="4009"/>
                    </a:lnTo>
                    <a:lnTo>
                      <a:pt x="521696" y="6744"/>
                    </a:lnTo>
                    <a:lnTo>
                      <a:pt x="521485" y="11012"/>
                    </a:lnTo>
                    <a:lnTo>
                      <a:pt x="520250" y="12793"/>
                    </a:lnTo>
                    <a:lnTo>
                      <a:pt x="519034" y="13889"/>
                    </a:lnTo>
                    <a:lnTo>
                      <a:pt x="511938" y="17118"/>
                    </a:lnTo>
                    <a:lnTo>
                      <a:pt x="510768" y="18708"/>
                    </a:lnTo>
                    <a:lnTo>
                      <a:pt x="512996" y="19257"/>
                    </a:lnTo>
                    <a:lnTo>
                      <a:pt x="517790" y="17649"/>
                    </a:lnTo>
                    <a:lnTo>
                      <a:pt x="519032" y="19108"/>
                    </a:lnTo>
                    <a:lnTo>
                      <a:pt x="517505" y="22756"/>
                    </a:lnTo>
                    <a:lnTo>
                      <a:pt x="517246" y="28220"/>
                    </a:lnTo>
                    <a:lnTo>
                      <a:pt x="516693" y="31401"/>
                    </a:lnTo>
                    <a:lnTo>
                      <a:pt x="516693" y="34298"/>
                    </a:lnTo>
                    <a:lnTo>
                      <a:pt x="517289" y="35851"/>
                    </a:lnTo>
                    <a:lnTo>
                      <a:pt x="519215" y="29687"/>
                    </a:lnTo>
                    <a:lnTo>
                      <a:pt x="519874" y="28105"/>
                    </a:lnTo>
                    <a:lnTo>
                      <a:pt x="522692" y="25777"/>
                    </a:lnTo>
                    <a:lnTo>
                      <a:pt x="523741" y="21079"/>
                    </a:lnTo>
                    <a:lnTo>
                      <a:pt x="526497" y="15427"/>
                    </a:lnTo>
                    <a:lnTo>
                      <a:pt x="529602" y="12136"/>
                    </a:lnTo>
                    <a:lnTo>
                      <a:pt x="531409" y="11232"/>
                    </a:lnTo>
                    <a:lnTo>
                      <a:pt x="537397" y="11362"/>
                    </a:lnTo>
                    <a:lnTo>
                      <a:pt x="539967" y="12602"/>
                    </a:lnTo>
                    <a:lnTo>
                      <a:pt x="542234" y="15355"/>
                    </a:lnTo>
                    <a:lnTo>
                      <a:pt x="543927" y="16453"/>
                    </a:lnTo>
                    <a:lnTo>
                      <a:pt x="549265" y="17621"/>
                    </a:lnTo>
                    <a:lnTo>
                      <a:pt x="551098" y="19084"/>
                    </a:lnTo>
                    <a:lnTo>
                      <a:pt x="551442" y="19955"/>
                    </a:lnTo>
                    <a:lnTo>
                      <a:pt x="552746" y="20128"/>
                    </a:lnTo>
                    <a:lnTo>
                      <a:pt x="556348" y="18048"/>
                    </a:lnTo>
                    <a:lnTo>
                      <a:pt x="558687" y="17703"/>
                    </a:lnTo>
                    <a:lnTo>
                      <a:pt x="562502" y="20944"/>
                    </a:lnTo>
                    <a:lnTo>
                      <a:pt x="561736" y="23340"/>
                    </a:lnTo>
                    <a:lnTo>
                      <a:pt x="561960" y="24100"/>
                    </a:lnTo>
                    <a:lnTo>
                      <a:pt x="566579" y="23946"/>
                    </a:lnTo>
                    <a:lnTo>
                      <a:pt x="570423" y="24885"/>
                    </a:lnTo>
                    <a:lnTo>
                      <a:pt x="577730" y="29778"/>
                    </a:lnTo>
                    <a:lnTo>
                      <a:pt x="578488" y="32061"/>
                    </a:lnTo>
                    <a:lnTo>
                      <a:pt x="578123" y="34824"/>
                    </a:lnTo>
                    <a:lnTo>
                      <a:pt x="567616" y="37866"/>
                    </a:lnTo>
                    <a:lnTo>
                      <a:pt x="563062" y="40768"/>
                    </a:lnTo>
                    <a:lnTo>
                      <a:pt x="555608" y="41887"/>
                    </a:lnTo>
                    <a:lnTo>
                      <a:pt x="530295" y="39947"/>
                    </a:lnTo>
                    <a:lnTo>
                      <a:pt x="530807" y="42044"/>
                    </a:lnTo>
                    <a:lnTo>
                      <a:pt x="548432" y="46625"/>
                    </a:lnTo>
                    <a:lnTo>
                      <a:pt x="549438" y="47931"/>
                    </a:lnTo>
                    <a:lnTo>
                      <a:pt x="548874" y="50679"/>
                    </a:lnTo>
                    <a:lnTo>
                      <a:pt x="548866" y="52881"/>
                    </a:lnTo>
                    <a:lnTo>
                      <a:pt x="549196" y="54381"/>
                    </a:lnTo>
                    <a:lnTo>
                      <a:pt x="550494" y="55779"/>
                    </a:lnTo>
                    <a:lnTo>
                      <a:pt x="552649" y="56436"/>
                    </a:lnTo>
                    <a:lnTo>
                      <a:pt x="557033" y="56090"/>
                    </a:lnTo>
                    <a:lnTo>
                      <a:pt x="559198" y="56841"/>
                    </a:lnTo>
                    <a:lnTo>
                      <a:pt x="560678" y="55726"/>
                    </a:lnTo>
                    <a:lnTo>
                      <a:pt x="561228" y="51977"/>
                    </a:lnTo>
                    <a:lnTo>
                      <a:pt x="562500" y="51147"/>
                    </a:lnTo>
                    <a:lnTo>
                      <a:pt x="564960" y="52236"/>
                    </a:lnTo>
                    <a:lnTo>
                      <a:pt x="566031" y="56242"/>
                    </a:lnTo>
                    <a:lnTo>
                      <a:pt x="566717" y="56657"/>
                    </a:lnTo>
                    <a:lnTo>
                      <a:pt x="567957" y="53800"/>
                    </a:lnTo>
                    <a:lnTo>
                      <a:pt x="570393" y="54006"/>
                    </a:lnTo>
                    <a:lnTo>
                      <a:pt x="573044" y="53768"/>
                    </a:lnTo>
                    <a:lnTo>
                      <a:pt x="576478" y="54250"/>
                    </a:lnTo>
                    <a:lnTo>
                      <a:pt x="577681" y="59427"/>
                    </a:lnTo>
                    <a:lnTo>
                      <a:pt x="577644" y="61230"/>
                    </a:lnTo>
                    <a:lnTo>
                      <a:pt x="577074" y="62978"/>
                    </a:lnTo>
                    <a:lnTo>
                      <a:pt x="576279" y="63871"/>
                    </a:lnTo>
                    <a:lnTo>
                      <a:pt x="574690" y="64260"/>
                    </a:lnTo>
                    <a:lnTo>
                      <a:pt x="570855" y="64101"/>
                    </a:lnTo>
                    <a:lnTo>
                      <a:pt x="565642" y="62058"/>
                    </a:lnTo>
                    <a:lnTo>
                      <a:pt x="562278" y="60133"/>
                    </a:lnTo>
                    <a:lnTo>
                      <a:pt x="561230" y="60052"/>
                    </a:lnTo>
                    <a:lnTo>
                      <a:pt x="560779" y="60286"/>
                    </a:lnTo>
                    <a:lnTo>
                      <a:pt x="561591" y="62220"/>
                    </a:lnTo>
                    <a:lnTo>
                      <a:pt x="561375" y="63701"/>
                    </a:lnTo>
                    <a:lnTo>
                      <a:pt x="560868" y="65313"/>
                    </a:lnTo>
                    <a:lnTo>
                      <a:pt x="560162" y="66774"/>
                    </a:lnTo>
                    <a:lnTo>
                      <a:pt x="559177" y="68002"/>
                    </a:lnTo>
                    <a:lnTo>
                      <a:pt x="557115" y="69580"/>
                    </a:lnTo>
                    <a:lnTo>
                      <a:pt x="553547" y="70830"/>
                    </a:lnTo>
                    <a:lnTo>
                      <a:pt x="543720" y="73260"/>
                    </a:lnTo>
                    <a:lnTo>
                      <a:pt x="542940" y="74333"/>
                    </a:lnTo>
                    <a:lnTo>
                      <a:pt x="539777" y="81084"/>
                    </a:lnTo>
                    <a:lnTo>
                      <a:pt x="538913" y="82073"/>
                    </a:lnTo>
                    <a:lnTo>
                      <a:pt x="537756" y="82910"/>
                    </a:lnTo>
                    <a:lnTo>
                      <a:pt x="534379" y="83995"/>
                    </a:lnTo>
                    <a:lnTo>
                      <a:pt x="532744" y="82497"/>
                    </a:lnTo>
                    <a:lnTo>
                      <a:pt x="531433" y="80230"/>
                    </a:lnTo>
                    <a:lnTo>
                      <a:pt x="531735" y="77980"/>
                    </a:lnTo>
                    <a:lnTo>
                      <a:pt x="535685" y="73656"/>
                    </a:lnTo>
                    <a:lnTo>
                      <a:pt x="539375" y="70586"/>
                    </a:lnTo>
                    <a:lnTo>
                      <a:pt x="540416" y="69522"/>
                    </a:lnTo>
                    <a:lnTo>
                      <a:pt x="542506" y="66432"/>
                    </a:lnTo>
                    <a:lnTo>
                      <a:pt x="538265" y="58655"/>
                    </a:lnTo>
                    <a:lnTo>
                      <a:pt x="530720" y="56294"/>
                    </a:lnTo>
                    <a:lnTo>
                      <a:pt x="522126" y="52702"/>
                    </a:lnTo>
                    <a:lnTo>
                      <a:pt x="518973" y="50783"/>
                    </a:lnTo>
                    <a:lnTo>
                      <a:pt x="514067" y="46826"/>
                    </a:lnTo>
                    <a:lnTo>
                      <a:pt x="510589" y="43266"/>
                    </a:lnTo>
                    <a:lnTo>
                      <a:pt x="507447" y="43140"/>
                    </a:lnTo>
                    <a:lnTo>
                      <a:pt x="503994" y="44035"/>
                    </a:lnTo>
                    <a:lnTo>
                      <a:pt x="498606" y="47285"/>
                    </a:lnTo>
                    <a:lnTo>
                      <a:pt x="495458" y="48918"/>
                    </a:lnTo>
                    <a:lnTo>
                      <a:pt x="493730" y="49400"/>
                    </a:lnTo>
                    <a:lnTo>
                      <a:pt x="493313" y="49471"/>
                    </a:lnTo>
                    <a:lnTo>
                      <a:pt x="489457" y="48546"/>
                    </a:lnTo>
                    <a:lnTo>
                      <a:pt x="485166" y="48351"/>
                    </a:lnTo>
                    <a:lnTo>
                      <a:pt x="481717" y="48617"/>
                    </a:lnTo>
                    <a:lnTo>
                      <a:pt x="480415" y="49063"/>
                    </a:lnTo>
                    <a:lnTo>
                      <a:pt x="475613" y="54309"/>
                    </a:lnTo>
                    <a:lnTo>
                      <a:pt x="472251" y="56954"/>
                    </a:lnTo>
                    <a:lnTo>
                      <a:pt x="470400" y="57864"/>
                    </a:lnTo>
                    <a:lnTo>
                      <a:pt x="469053" y="59393"/>
                    </a:lnTo>
                    <a:lnTo>
                      <a:pt x="467947" y="61904"/>
                    </a:lnTo>
                    <a:lnTo>
                      <a:pt x="465486" y="70594"/>
                    </a:lnTo>
                    <a:lnTo>
                      <a:pt x="463650" y="73863"/>
                    </a:lnTo>
                    <a:lnTo>
                      <a:pt x="463240" y="75858"/>
                    </a:lnTo>
                    <a:lnTo>
                      <a:pt x="463672" y="81895"/>
                    </a:lnTo>
                    <a:lnTo>
                      <a:pt x="463233" y="85229"/>
                    </a:lnTo>
                    <a:lnTo>
                      <a:pt x="460985" y="87977"/>
                    </a:lnTo>
                    <a:lnTo>
                      <a:pt x="459407" y="89213"/>
                    </a:lnTo>
                    <a:lnTo>
                      <a:pt x="457319" y="89467"/>
                    </a:lnTo>
                    <a:lnTo>
                      <a:pt x="454583" y="90168"/>
                    </a:lnTo>
                    <a:lnTo>
                      <a:pt x="452194" y="91756"/>
                    </a:lnTo>
                    <a:lnTo>
                      <a:pt x="450508" y="93919"/>
                    </a:lnTo>
                    <a:lnTo>
                      <a:pt x="448607" y="98760"/>
                    </a:lnTo>
                    <a:lnTo>
                      <a:pt x="445390" y="100541"/>
                    </a:lnTo>
                    <a:lnTo>
                      <a:pt x="442317" y="100033"/>
                    </a:lnTo>
                    <a:lnTo>
                      <a:pt x="440123" y="98251"/>
                    </a:lnTo>
                    <a:lnTo>
                      <a:pt x="435420" y="96871"/>
                    </a:lnTo>
                    <a:lnTo>
                      <a:pt x="431915" y="95991"/>
                    </a:lnTo>
                    <a:lnTo>
                      <a:pt x="427981" y="94089"/>
                    </a:lnTo>
                    <a:lnTo>
                      <a:pt x="424516" y="92640"/>
                    </a:lnTo>
                    <a:lnTo>
                      <a:pt x="421345" y="92352"/>
                    </a:lnTo>
                    <a:lnTo>
                      <a:pt x="419545" y="94184"/>
                    </a:lnTo>
                    <a:lnTo>
                      <a:pt x="418095" y="95901"/>
                    </a:lnTo>
                    <a:lnTo>
                      <a:pt x="412688" y="97296"/>
                    </a:lnTo>
                    <a:lnTo>
                      <a:pt x="409627" y="98399"/>
                    </a:lnTo>
                    <a:lnTo>
                      <a:pt x="405653" y="98645"/>
                    </a:lnTo>
                    <a:lnTo>
                      <a:pt x="404047" y="97422"/>
                    </a:lnTo>
                    <a:lnTo>
                      <a:pt x="398283" y="96615"/>
                    </a:lnTo>
                    <a:lnTo>
                      <a:pt x="391421" y="95656"/>
                    </a:lnTo>
                    <a:lnTo>
                      <a:pt x="389436" y="95670"/>
                    </a:lnTo>
                    <a:lnTo>
                      <a:pt x="388817" y="93482"/>
                    </a:lnTo>
                    <a:lnTo>
                      <a:pt x="386992" y="90423"/>
                    </a:lnTo>
                    <a:lnTo>
                      <a:pt x="382112" y="85126"/>
                    </a:lnTo>
                    <a:lnTo>
                      <a:pt x="380116" y="83253"/>
                    </a:lnTo>
                    <a:lnTo>
                      <a:pt x="376363" y="78851"/>
                    </a:lnTo>
                    <a:lnTo>
                      <a:pt x="371986" y="74329"/>
                    </a:lnTo>
                    <a:lnTo>
                      <a:pt x="371366" y="74217"/>
                    </a:lnTo>
                    <a:lnTo>
                      <a:pt x="368436" y="74065"/>
                    </a:lnTo>
                    <a:lnTo>
                      <a:pt x="364137" y="74214"/>
                    </a:lnTo>
                    <a:lnTo>
                      <a:pt x="361416" y="75242"/>
                    </a:lnTo>
                    <a:lnTo>
                      <a:pt x="359699" y="76533"/>
                    </a:lnTo>
                    <a:lnTo>
                      <a:pt x="359401" y="77604"/>
                    </a:lnTo>
                    <a:lnTo>
                      <a:pt x="361064" y="81713"/>
                    </a:lnTo>
                    <a:lnTo>
                      <a:pt x="360548" y="82736"/>
                    </a:lnTo>
                    <a:lnTo>
                      <a:pt x="359691" y="83228"/>
                    </a:lnTo>
                    <a:lnTo>
                      <a:pt x="355789" y="82077"/>
                    </a:lnTo>
                    <a:lnTo>
                      <a:pt x="351070" y="82153"/>
                    </a:lnTo>
                    <a:lnTo>
                      <a:pt x="349882" y="83418"/>
                    </a:lnTo>
                    <a:lnTo>
                      <a:pt x="347004" y="83556"/>
                    </a:lnTo>
                    <a:lnTo>
                      <a:pt x="338706" y="84037"/>
                    </a:lnTo>
                    <a:lnTo>
                      <a:pt x="342368" y="87389"/>
                    </a:lnTo>
                    <a:lnTo>
                      <a:pt x="343579" y="88730"/>
                    </a:lnTo>
                    <a:lnTo>
                      <a:pt x="343821" y="90698"/>
                    </a:lnTo>
                    <a:lnTo>
                      <a:pt x="343189" y="94352"/>
                    </a:lnTo>
                    <a:lnTo>
                      <a:pt x="341433" y="97469"/>
                    </a:lnTo>
                    <a:lnTo>
                      <a:pt x="339386" y="100001"/>
                    </a:lnTo>
                    <a:lnTo>
                      <a:pt x="335436" y="102509"/>
                    </a:lnTo>
                    <a:lnTo>
                      <a:pt x="341433" y="104984"/>
                    </a:lnTo>
                    <a:lnTo>
                      <a:pt x="337363" y="108323"/>
                    </a:lnTo>
                    <a:lnTo>
                      <a:pt x="335458" y="109623"/>
                    </a:lnTo>
                    <a:lnTo>
                      <a:pt x="333251" y="109399"/>
                    </a:lnTo>
                    <a:lnTo>
                      <a:pt x="329297" y="108244"/>
                    </a:lnTo>
                    <a:lnTo>
                      <a:pt x="319740" y="105452"/>
                    </a:lnTo>
                    <a:lnTo>
                      <a:pt x="315177" y="104401"/>
                    </a:lnTo>
                    <a:lnTo>
                      <a:pt x="311100" y="104079"/>
                    </a:lnTo>
                    <a:lnTo>
                      <a:pt x="308923" y="104120"/>
                    </a:lnTo>
                    <a:lnTo>
                      <a:pt x="300273" y="101727"/>
                    </a:lnTo>
                    <a:lnTo>
                      <a:pt x="298602" y="101995"/>
                    </a:lnTo>
                    <a:lnTo>
                      <a:pt x="295496" y="103032"/>
                    </a:lnTo>
                    <a:lnTo>
                      <a:pt x="295153" y="105358"/>
                    </a:lnTo>
                    <a:lnTo>
                      <a:pt x="295349" y="111135"/>
                    </a:lnTo>
                    <a:lnTo>
                      <a:pt x="295807" y="115572"/>
                    </a:lnTo>
                    <a:lnTo>
                      <a:pt x="294665" y="118133"/>
                    </a:lnTo>
                    <a:lnTo>
                      <a:pt x="293520" y="119869"/>
                    </a:lnTo>
                    <a:lnTo>
                      <a:pt x="290059" y="124542"/>
                    </a:lnTo>
                    <a:lnTo>
                      <a:pt x="282277" y="121367"/>
                    </a:lnTo>
                    <a:lnTo>
                      <a:pt x="276967" y="119261"/>
                    </a:lnTo>
                    <a:lnTo>
                      <a:pt x="273559" y="122064"/>
                    </a:lnTo>
                    <a:lnTo>
                      <a:pt x="265004" y="127192"/>
                    </a:lnTo>
                    <a:lnTo>
                      <a:pt x="260624" y="137276"/>
                    </a:lnTo>
                    <a:lnTo>
                      <a:pt x="260372" y="137605"/>
                    </a:lnTo>
                    <a:lnTo>
                      <a:pt x="257785" y="140161"/>
                    </a:lnTo>
                    <a:lnTo>
                      <a:pt x="254468" y="141334"/>
                    </a:lnTo>
                    <a:lnTo>
                      <a:pt x="251957" y="141914"/>
                    </a:lnTo>
                    <a:lnTo>
                      <a:pt x="250495" y="144897"/>
                    </a:lnTo>
                    <a:lnTo>
                      <a:pt x="253902" y="149167"/>
                    </a:lnTo>
                    <a:lnTo>
                      <a:pt x="255651" y="151417"/>
                    </a:lnTo>
                    <a:lnTo>
                      <a:pt x="257280" y="155042"/>
                    </a:lnTo>
                    <a:lnTo>
                      <a:pt x="256979" y="157347"/>
                    </a:lnTo>
                    <a:lnTo>
                      <a:pt x="256599" y="158780"/>
                    </a:lnTo>
                    <a:lnTo>
                      <a:pt x="252933" y="161708"/>
                    </a:lnTo>
                    <a:lnTo>
                      <a:pt x="245116" y="169424"/>
                    </a:lnTo>
                    <a:lnTo>
                      <a:pt x="237882" y="177449"/>
                    </a:lnTo>
                    <a:lnTo>
                      <a:pt x="234917" y="179747"/>
                    </a:lnTo>
                    <a:lnTo>
                      <a:pt x="236262" y="186523"/>
                    </a:lnTo>
                    <a:lnTo>
                      <a:pt x="233855" y="188504"/>
                    </a:lnTo>
                    <a:lnTo>
                      <a:pt x="228955" y="190744"/>
                    </a:lnTo>
                    <a:lnTo>
                      <a:pt x="226450" y="191608"/>
                    </a:lnTo>
                    <a:lnTo>
                      <a:pt x="223751" y="192114"/>
                    </a:lnTo>
                    <a:lnTo>
                      <a:pt x="215465" y="193008"/>
                    </a:lnTo>
                    <a:lnTo>
                      <a:pt x="216940" y="200220"/>
                    </a:lnTo>
                    <a:lnTo>
                      <a:pt x="217497" y="203404"/>
                    </a:lnTo>
                    <a:lnTo>
                      <a:pt x="217484" y="205291"/>
                    </a:lnTo>
                    <a:lnTo>
                      <a:pt x="216627" y="207126"/>
                    </a:lnTo>
                    <a:lnTo>
                      <a:pt x="215603" y="210635"/>
                    </a:lnTo>
                    <a:lnTo>
                      <a:pt x="214059" y="223129"/>
                    </a:lnTo>
                    <a:lnTo>
                      <a:pt x="212878" y="224469"/>
                    </a:lnTo>
                    <a:lnTo>
                      <a:pt x="211246" y="227840"/>
                    </a:lnTo>
                    <a:lnTo>
                      <a:pt x="205999" y="235919"/>
                    </a:lnTo>
                    <a:lnTo>
                      <a:pt x="201790" y="241272"/>
                    </a:lnTo>
                    <a:lnTo>
                      <a:pt x="195720" y="248960"/>
                    </a:lnTo>
                    <a:lnTo>
                      <a:pt x="200656" y="251381"/>
                    </a:lnTo>
                    <a:lnTo>
                      <a:pt x="205169" y="253145"/>
                    </a:lnTo>
                    <a:lnTo>
                      <a:pt x="206104" y="255857"/>
                    </a:lnTo>
                    <a:lnTo>
                      <a:pt x="206726" y="260380"/>
                    </a:lnTo>
                    <a:lnTo>
                      <a:pt x="206575" y="263453"/>
                    </a:lnTo>
                    <a:lnTo>
                      <a:pt x="204852" y="266213"/>
                    </a:lnTo>
                    <a:lnTo>
                      <a:pt x="203513" y="268148"/>
                    </a:lnTo>
                    <a:lnTo>
                      <a:pt x="202580" y="269091"/>
                    </a:lnTo>
                    <a:lnTo>
                      <a:pt x="196171" y="268152"/>
                    </a:lnTo>
                    <a:lnTo>
                      <a:pt x="187966" y="266945"/>
                    </a:lnTo>
                    <a:lnTo>
                      <a:pt x="185841" y="266934"/>
                    </a:lnTo>
                    <a:lnTo>
                      <a:pt x="181066" y="267803"/>
                    </a:lnTo>
                    <a:lnTo>
                      <a:pt x="176758" y="269586"/>
                    </a:lnTo>
                    <a:lnTo>
                      <a:pt x="174487" y="271088"/>
                    </a:lnTo>
                    <a:lnTo>
                      <a:pt x="173878" y="271685"/>
                    </a:lnTo>
                    <a:lnTo>
                      <a:pt x="171008" y="275099"/>
                    </a:lnTo>
                    <a:lnTo>
                      <a:pt x="165905" y="281156"/>
                    </a:lnTo>
                    <a:lnTo>
                      <a:pt x="163102" y="283795"/>
                    </a:lnTo>
                    <a:lnTo>
                      <a:pt x="163919" y="287426"/>
                    </a:lnTo>
                    <a:lnTo>
                      <a:pt x="159226" y="294429"/>
                    </a:lnTo>
                    <a:lnTo>
                      <a:pt x="162295" y="301478"/>
                    </a:lnTo>
                    <a:lnTo>
                      <a:pt x="162426" y="301709"/>
                    </a:lnTo>
                    <a:lnTo>
                      <a:pt x="164052" y="304551"/>
                    </a:lnTo>
                    <a:lnTo>
                      <a:pt x="162347" y="306381"/>
                    </a:lnTo>
                    <a:lnTo>
                      <a:pt x="161630" y="307364"/>
                    </a:lnTo>
                    <a:lnTo>
                      <a:pt x="161873" y="310603"/>
                    </a:lnTo>
                    <a:lnTo>
                      <a:pt x="162321" y="314217"/>
                    </a:lnTo>
                    <a:lnTo>
                      <a:pt x="161923" y="316334"/>
                    </a:lnTo>
                    <a:lnTo>
                      <a:pt x="161761" y="318682"/>
                    </a:lnTo>
                    <a:lnTo>
                      <a:pt x="165940" y="329208"/>
                    </a:lnTo>
                    <a:lnTo>
                      <a:pt x="165892" y="331669"/>
                    </a:lnTo>
                    <a:lnTo>
                      <a:pt x="165685" y="333254"/>
                    </a:lnTo>
                    <a:lnTo>
                      <a:pt x="164396" y="339764"/>
                    </a:lnTo>
                    <a:lnTo>
                      <a:pt x="162664" y="348480"/>
                    </a:lnTo>
                    <a:lnTo>
                      <a:pt x="165687" y="350764"/>
                    </a:lnTo>
                    <a:lnTo>
                      <a:pt x="169993" y="353492"/>
                    </a:lnTo>
                    <a:lnTo>
                      <a:pt x="172409" y="354565"/>
                    </a:lnTo>
                    <a:lnTo>
                      <a:pt x="175979" y="357800"/>
                    </a:lnTo>
                    <a:lnTo>
                      <a:pt x="178704" y="360956"/>
                    </a:lnTo>
                    <a:lnTo>
                      <a:pt x="178326" y="363049"/>
                    </a:lnTo>
                    <a:lnTo>
                      <a:pt x="177542" y="365356"/>
                    </a:lnTo>
                    <a:lnTo>
                      <a:pt x="176395" y="366968"/>
                    </a:lnTo>
                    <a:lnTo>
                      <a:pt x="175322" y="369179"/>
                    </a:lnTo>
                    <a:lnTo>
                      <a:pt x="174841" y="370806"/>
                    </a:lnTo>
                    <a:lnTo>
                      <a:pt x="174331" y="371244"/>
                    </a:lnTo>
                    <a:lnTo>
                      <a:pt x="169568" y="371422"/>
                    </a:lnTo>
                    <a:lnTo>
                      <a:pt x="167049" y="372037"/>
                    </a:lnTo>
                    <a:lnTo>
                      <a:pt x="165732" y="372726"/>
                    </a:lnTo>
                    <a:lnTo>
                      <a:pt x="166186" y="376434"/>
                    </a:lnTo>
                    <a:lnTo>
                      <a:pt x="169075" y="383209"/>
                    </a:lnTo>
                    <a:lnTo>
                      <a:pt x="171474" y="388013"/>
                    </a:lnTo>
                    <a:lnTo>
                      <a:pt x="172245" y="391175"/>
                    </a:lnTo>
                    <a:lnTo>
                      <a:pt x="171453" y="394375"/>
                    </a:lnTo>
                    <a:lnTo>
                      <a:pt x="170634" y="396012"/>
                    </a:lnTo>
                    <a:lnTo>
                      <a:pt x="170608" y="398214"/>
                    </a:lnTo>
                    <a:lnTo>
                      <a:pt x="169978" y="402590"/>
                    </a:lnTo>
                    <a:lnTo>
                      <a:pt x="168118" y="404799"/>
                    </a:lnTo>
                    <a:lnTo>
                      <a:pt x="165685" y="407204"/>
                    </a:lnTo>
                    <a:lnTo>
                      <a:pt x="162971" y="408999"/>
                    </a:lnTo>
                    <a:lnTo>
                      <a:pt x="160818" y="409503"/>
                    </a:lnTo>
                    <a:lnTo>
                      <a:pt x="158969" y="409711"/>
                    </a:lnTo>
                    <a:lnTo>
                      <a:pt x="157728" y="410622"/>
                    </a:lnTo>
                    <a:lnTo>
                      <a:pt x="156602" y="413299"/>
                    </a:lnTo>
                    <a:lnTo>
                      <a:pt x="155564" y="416106"/>
                    </a:lnTo>
                    <a:lnTo>
                      <a:pt x="152169" y="419553"/>
                    </a:lnTo>
                    <a:lnTo>
                      <a:pt x="152260" y="420752"/>
                    </a:lnTo>
                    <a:lnTo>
                      <a:pt x="153553" y="424829"/>
                    </a:lnTo>
                    <a:lnTo>
                      <a:pt x="154765" y="429460"/>
                    </a:lnTo>
                    <a:lnTo>
                      <a:pt x="153741" y="433781"/>
                    </a:lnTo>
                    <a:lnTo>
                      <a:pt x="152865" y="438308"/>
                    </a:lnTo>
                    <a:lnTo>
                      <a:pt x="151329" y="441320"/>
                    </a:lnTo>
                    <a:lnTo>
                      <a:pt x="149135" y="442395"/>
                    </a:lnTo>
                    <a:lnTo>
                      <a:pt x="147524" y="441858"/>
                    </a:lnTo>
                    <a:lnTo>
                      <a:pt x="145702" y="437727"/>
                    </a:lnTo>
                    <a:lnTo>
                      <a:pt x="145661" y="436776"/>
                    </a:lnTo>
                    <a:lnTo>
                      <a:pt x="145207" y="435511"/>
                    </a:lnTo>
                    <a:lnTo>
                      <a:pt x="140038" y="434250"/>
                    </a:lnTo>
                    <a:lnTo>
                      <a:pt x="139124" y="434296"/>
                    </a:lnTo>
                    <a:lnTo>
                      <a:pt x="137092" y="433557"/>
                    </a:lnTo>
                    <a:lnTo>
                      <a:pt x="135901" y="433348"/>
                    </a:lnTo>
                    <a:lnTo>
                      <a:pt x="133456" y="432921"/>
                    </a:lnTo>
                    <a:lnTo>
                      <a:pt x="131424" y="429261"/>
                    </a:lnTo>
                    <a:lnTo>
                      <a:pt x="129265" y="426212"/>
                    </a:lnTo>
                    <a:lnTo>
                      <a:pt x="128958" y="424936"/>
                    </a:lnTo>
                    <a:lnTo>
                      <a:pt x="129032" y="419218"/>
                    </a:lnTo>
                    <a:lnTo>
                      <a:pt x="128371" y="416670"/>
                    </a:lnTo>
                    <a:lnTo>
                      <a:pt x="128168" y="413889"/>
                    </a:lnTo>
                    <a:lnTo>
                      <a:pt x="126809" y="416151"/>
                    </a:lnTo>
                    <a:lnTo>
                      <a:pt x="127598" y="419723"/>
                    </a:lnTo>
                    <a:lnTo>
                      <a:pt x="125922" y="421220"/>
                    </a:lnTo>
                    <a:lnTo>
                      <a:pt x="123808" y="421947"/>
                    </a:lnTo>
                    <a:lnTo>
                      <a:pt x="124007" y="424035"/>
                    </a:lnTo>
                    <a:lnTo>
                      <a:pt x="124875" y="424430"/>
                    </a:lnTo>
                    <a:lnTo>
                      <a:pt x="125056" y="426595"/>
                    </a:lnTo>
                    <a:lnTo>
                      <a:pt x="124542" y="429796"/>
                    </a:lnTo>
                    <a:lnTo>
                      <a:pt x="120381" y="436895"/>
                    </a:lnTo>
                    <a:lnTo>
                      <a:pt x="119541" y="437657"/>
                    </a:lnTo>
                    <a:lnTo>
                      <a:pt x="118971" y="438614"/>
                    </a:lnTo>
                    <a:lnTo>
                      <a:pt x="116842" y="437978"/>
                    </a:lnTo>
                    <a:lnTo>
                      <a:pt x="114110" y="439950"/>
                    </a:lnTo>
                    <a:lnTo>
                      <a:pt x="111523" y="440266"/>
                    </a:lnTo>
                    <a:lnTo>
                      <a:pt x="110586" y="438035"/>
                    </a:lnTo>
                    <a:lnTo>
                      <a:pt x="106936" y="435079"/>
                    </a:lnTo>
                    <a:lnTo>
                      <a:pt x="105213" y="435245"/>
                    </a:lnTo>
                    <a:lnTo>
                      <a:pt x="106760" y="436704"/>
                    </a:lnTo>
                    <a:lnTo>
                      <a:pt x="108284" y="438599"/>
                    </a:lnTo>
                    <a:lnTo>
                      <a:pt x="107418" y="439853"/>
                    </a:lnTo>
                    <a:lnTo>
                      <a:pt x="106567" y="440671"/>
                    </a:lnTo>
                    <a:lnTo>
                      <a:pt x="105077" y="441095"/>
                    </a:lnTo>
                    <a:lnTo>
                      <a:pt x="99746" y="443570"/>
                    </a:lnTo>
                    <a:lnTo>
                      <a:pt x="101644" y="445231"/>
                    </a:lnTo>
                    <a:lnTo>
                      <a:pt x="100033" y="447116"/>
                    </a:lnTo>
                    <a:lnTo>
                      <a:pt x="98170" y="447393"/>
                    </a:lnTo>
                    <a:lnTo>
                      <a:pt x="97176" y="448273"/>
                    </a:lnTo>
                    <a:lnTo>
                      <a:pt x="96831" y="449467"/>
                    </a:lnTo>
                    <a:lnTo>
                      <a:pt x="91309" y="452866"/>
                    </a:lnTo>
                    <a:lnTo>
                      <a:pt x="82309" y="461559"/>
                    </a:lnTo>
                    <a:lnTo>
                      <a:pt x="77684" y="464009"/>
                    </a:lnTo>
                    <a:lnTo>
                      <a:pt x="74453" y="466554"/>
                    </a:lnTo>
                    <a:lnTo>
                      <a:pt x="71607" y="466491"/>
                    </a:lnTo>
                    <a:lnTo>
                      <a:pt x="68029" y="468652"/>
                    </a:lnTo>
                    <a:lnTo>
                      <a:pt x="58970" y="470547"/>
                    </a:lnTo>
                    <a:lnTo>
                      <a:pt x="52961" y="469690"/>
                    </a:lnTo>
                    <a:lnTo>
                      <a:pt x="48776" y="470442"/>
                    </a:lnTo>
                    <a:lnTo>
                      <a:pt x="46532" y="468957"/>
                    </a:lnTo>
                    <a:lnTo>
                      <a:pt x="46241" y="467936"/>
                    </a:lnTo>
                    <a:lnTo>
                      <a:pt x="46353" y="467343"/>
                    </a:lnTo>
                    <a:lnTo>
                      <a:pt x="46729" y="466632"/>
                    </a:lnTo>
                    <a:lnTo>
                      <a:pt x="45949" y="466380"/>
                    </a:lnTo>
                    <a:lnTo>
                      <a:pt x="44308" y="466257"/>
                    </a:lnTo>
                    <a:lnTo>
                      <a:pt x="43606" y="466974"/>
                    </a:lnTo>
                    <a:lnTo>
                      <a:pt x="43511" y="468602"/>
                    </a:lnTo>
                    <a:lnTo>
                      <a:pt x="42730" y="469027"/>
                    </a:lnTo>
                    <a:lnTo>
                      <a:pt x="39613" y="468096"/>
                    </a:lnTo>
                    <a:lnTo>
                      <a:pt x="38830" y="467257"/>
                    </a:lnTo>
                    <a:lnTo>
                      <a:pt x="39950" y="465556"/>
                    </a:lnTo>
                    <a:lnTo>
                      <a:pt x="41868" y="464023"/>
                    </a:lnTo>
                    <a:lnTo>
                      <a:pt x="41520" y="463709"/>
                    </a:lnTo>
                    <a:lnTo>
                      <a:pt x="41147" y="462777"/>
                    </a:lnTo>
                    <a:lnTo>
                      <a:pt x="40211" y="462659"/>
                    </a:lnTo>
                    <a:lnTo>
                      <a:pt x="37424" y="462884"/>
                    </a:lnTo>
                    <a:lnTo>
                      <a:pt x="35159" y="462609"/>
                    </a:lnTo>
                    <a:lnTo>
                      <a:pt x="27765" y="459156"/>
                    </a:lnTo>
                    <a:lnTo>
                      <a:pt x="26038" y="457312"/>
                    </a:lnTo>
                    <a:lnTo>
                      <a:pt x="20073" y="454363"/>
                    </a:lnTo>
                    <a:lnTo>
                      <a:pt x="17400" y="451234"/>
                    </a:lnTo>
                    <a:lnTo>
                      <a:pt x="15882" y="447798"/>
                    </a:lnTo>
                    <a:lnTo>
                      <a:pt x="15996" y="444680"/>
                    </a:lnTo>
                    <a:lnTo>
                      <a:pt x="16728" y="439723"/>
                    </a:lnTo>
                    <a:lnTo>
                      <a:pt x="17981" y="438496"/>
                    </a:lnTo>
                    <a:lnTo>
                      <a:pt x="23334" y="440234"/>
                    </a:lnTo>
                    <a:lnTo>
                      <a:pt x="28745" y="443134"/>
                    </a:lnTo>
                    <a:lnTo>
                      <a:pt x="29592" y="442991"/>
                    </a:lnTo>
                    <a:lnTo>
                      <a:pt x="31291" y="440715"/>
                    </a:lnTo>
                    <a:lnTo>
                      <a:pt x="34589" y="438885"/>
                    </a:lnTo>
                    <a:lnTo>
                      <a:pt x="33656" y="438380"/>
                    </a:lnTo>
                    <a:lnTo>
                      <a:pt x="28754" y="440479"/>
                    </a:lnTo>
                    <a:lnTo>
                      <a:pt x="26931" y="439316"/>
                    </a:lnTo>
                    <a:lnTo>
                      <a:pt x="24105" y="436946"/>
                    </a:lnTo>
                    <a:lnTo>
                      <a:pt x="24105" y="435725"/>
                    </a:lnTo>
                    <a:lnTo>
                      <a:pt x="25422" y="434503"/>
                    </a:lnTo>
                    <a:lnTo>
                      <a:pt x="25860" y="432849"/>
                    </a:lnTo>
                    <a:lnTo>
                      <a:pt x="25169" y="431287"/>
                    </a:lnTo>
                    <a:lnTo>
                      <a:pt x="25491" y="429160"/>
                    </a:lnTo>
                    <a:lnTo>
                      <a:pt x="27677" y="426901"/>
                    </a:lnTo>
                    <a:lnTo>
                      <a:pt x="30954" y="424611"/>
                    </a:lnTo>
                    <a:lnTo>
                      <a:pt x="33315" y="422399"/>
                    </a:lnTo>
                    <a:lnTo>
                      <a:pt x="35740" y="421036"/>
                    </a:lnTo>
                    <a:lnTo>
                      <a:pt x="35487" y="420581"/>
                    </a:lnTo>
                    <a:lnTo>
                      <a:pt x="32714" y="421449"/>
                    </a:lnTo>
                    <a:lnTo>
                      <a:pt x="30062" y="422921"/>
                    </a:lnTo>
                    <a:lnTo>
                      <a:pt x="26940" y="425385"/>
                    </a:lnTo>
                    <a:lnTo>
                      <a:pt x="23133" y="427381"/>
                    </a:lnTo>
                    <a:lnTo>
                      <a:pt x="20319" y="428155"/>
                    </a:lnTo>
                    <a:lnTo>
                      <a:pt x="18978" y="428795"/>
                    </a:lnTo>
                    <a:lnTo>
                      <a:pt x="16916" y="429417"/>
                    </a:lnTo>
                    <a:lnTo>
                      <a:pt x="14783" y="432273"/>
                    </a:lnTo>
                    <a:lnTo>
                      <a:pt x="12455" y="433495"/>
                    </a:lnTo>
                    <a:lnTo>
                      <a:pt x="8274" y="433619"/>
                    </a:lnTo>
                    <a:lnTo>
                      <a:pt x="7355" y="431533"/>
                    </a:lnTo>
                    <a:lnTo>
                      <a:pt x="8535" y="424101"/>
                    </a:lnTo>
                    <a:lnTo>
                      <a:pt x="9799" y="420472"/>
                    </a:lnTo>
                    <a:lnTo>
                      <a:pt x="11185" y="417901"/>
                    </a:lnTo>
                    <a:lnTo>
                      <a:pt x="13366" y="417468"/>
                    </a:lnTo>
                    <a:lnTo>
                      <a:pt x="14891" y="415582"/>
                    </a:lnTo>
                    <a:lnTo>
                      <a:pt x="16156" y="415582"/>
                    </a:lnTo>
                    <a:lnTo>
                      <a:pt x="17257" y="416453"/>
                    </a:lnTo>
                    <a:lnTo>
                      <a:pt x="21518" y="417297"/>
                    </a:lnTo>
                    <a:lnTo>
                      <a:pt x="23621" y="414895"/>
                    </a:lnTo>
                    <a:lnTo>
                      <a:pt x="26357" y="414543"/>
                    </a:lnTo>
                    <a:lnTo>
                      <a:pt x="31345" y="412116"/>
                    </a:lnTo>
                    <a:lnTo>
                      <a:pt x="31241" y="411674"/>
                    </a:lnTo>
                    <a:lnTo>
                      <a:pt x="27866" y="412208"/>
                    </a:lnTo>
                    <a:lnTo>
                      <a:pt x="25819" y="412287"/>
                    </a:lnTo>
                    <a:lnTo>
                      <a:pt x="22885" y="412896"/>
                    </a:lnTo>
                    <a:lnTo>
                      <a:pt x="21326" y="412461"/>
                    </a:lnTo>
                    <a:lnTo>
                      <a:pt x="20596" y="410642"/>
                    </a:lnTo>
                    <a:lnTo>
                      <a:pt x="21770" y="409002"/>
                    </a:lnTo>
                    <a:lnTo>
                      <a:pt x="26478" y="405081"/>
                    </a:lnTo>
                    <a:lnTo>
                      <a:pt x="28102" y="403361"/>
                    </a:lnTo>
                    <a:lnTo>
                      <a:pt x="29028" y="401753"/>
                    </a:lnTo>
                    <a:lnTo>
                      <a:pt x="28881" y="400658"/>
                    </a:lnTo>
                    <a:lnTo>
                      <a:pt x="29663" y="398392"/>
                    </a:lnTo>
                    <a:lnTo>
                      <a:pt x="34267" y="394426"/>
                    </a:lnTo>
                    <a:lnTo>
                      <a:pt x="38011" y="392611"/>
                    </a:lnTo>
                    <a:lnTo>
                      <a:pt x="39240" y="394173"/>
                    </a:lnTo>
                    <a:lnTo>
                      <a:pt x="38195" y="399051"/>
                    </a:lnTo>
                    <a:lnTo>
                      <a:pt x="38205" y="401062"/>
                    </a:lnTo>
                    <a:lnTo>
                      <a:pt x="41170" y="393952"/>
                    </a:lnTo>
                    <a:lnTo>
                      <a:pt x="42475" y="392258"/>
                    </a:lnTo>
                    <a:lnTo>
                      <a:pt x="43960" y="391063"/>
                    </a:lnTo>
                    <a:lnTo>
                      <a:pt x="47556" y="390260"/>
                    </a:lnTo>
                    <a:lnTo>
                      <a:pt x="48573" y="389136"/>
                    </a:lnTo>
                    <a:lnTo>
                      <a:pt x="44386" y="389508"/>
                    </a:lnTo>
                    <a:lnTo>
                      <a:pt x="34228" y="392228"/>
                    </a:lnTo>
                    <a:lnTo>
                      <a:pt x="29946" y="394649"/>
                    </a:lnTo>
                    <a:lnTo>
                      <a:pt x="28806" y="396513"/>
                    </a:lnTo>
                    <a:lnTo>
                      <a:pt x="25834" y="399318"/>
                    </a:lnTo>
                    <a:lnTo>
                      <a:pt x="24441" y="401138"/>
                    </a:lnTo>
                    <a:lnTo>
                      <a:pt x="23826" y="403807"/>
                    </a:lnTo>
                    <a:lnTo>
                      <a:pt x="22152" y="405256"/>
                    </a:lnTo>
                    <a:lnTo>
                      <a:pt x="19896" y="405791"/>
                    </a:lnTo>
                    <a:lnTo>
                      <a:pt x="16761" y="409168"/>
                    </a:lnTo>
                    <a:lnTo>
                      <a:pt x="15379" y="411878"/>
                    </a:lnTo>
                    <a:lnTo>
                      <a:pt x="12259" y="414035"/>
                    </a:lnTo>
                    <a:lnTo>
                      <a:pt x="10278" y="415692"/>
                    </a:lnTo>
                    <a:lnTo>
                      <a:pt x="9628" y="416283"/>
                    </a:lnTo>
                    <a:lnTo>
                      <a:pt x="8557" y="417911"/>
                    </a:lnTo>
                    <a:lnTo>
                      <a:pt x="7667" y="418025"/>
                    </a:lnTo>
                    <a:lnTo>
                      <a:pt x="6892" y="417071"/>
                    </a:lnTo>
                    <a:lnTo>
                      <a:pt x="6763" y="414970"/>
                    </a:lnTo>
                    <a:lnTo>
                      <a:pt x="7080" y="411611"/>
                    </a:lnTo>
                    <a:lnTo>
                      <a:pt x="8581" y="409191"/>
                    </a:lnTo>
                    <a:lnTo>
                      <a:pt x="9298" y="406824"/>
                    </a:lnTo>
                    <a:lnTo>
                      <a:pt x="8300" y="404611"/>
                    </a:lnTo>
                    <a:lnTo>
                      <a:pt x="8991" y="403214"/>
                    </a:lnTo>
                    <a:lnTo>
                      <a:pt x="10313" y="403262"/>
                    </a:lnTo>
                    <a:lnTo>
                      <a:pt x="12768" y="403899"/>
                    </a:lnTo>
                    <a:lnTo>
                      <a:pt x="15379" y="403797"/>
                    </a:lnTo>
                    <a:lnTo>
                      <a:pt x="19669" y="402047"/>
                    </a:lnTo>
                    <a:lnTo>
                      <a:pt x="18985" y="401024"/>
                    </a:lnTo>
                    <a:lnTo>
                      <a:pt x="17132" y="400878"/>
                    </a:lnTo>
                    <a:lnTo>
                      <a:pt x="13673" y="401024"/>
                    </a:lnTo>
                    <a:lnTo>
                      <a:pt x="10764" y="399313"/>
                    </a:lnTo>
                    <a:lnTo>
                      <a:pt x="8503" y="395906"/>
                    </a:lnTo>
                    <a:lnTo>
                      <a:pt x="7475" y="391346"/>
                    </a:lnTo>
                    <a:lnTo>
                      <a:pt x="8162" y="390040"/>
                    </a:lnTo>
                    <a:lnTo>
                      <a:pt x="16528" y="385382"/>
                    </a:lnTo>
                    <a:lnTo>
                      <a:pt x="18780" y="383264"/>
                    </a:lnTo>
                    <a:lnTo>
                      <a:pt x="17475" y="383054"/>
                    </a:lnTo>
                    <a:lnTo>
                      <a:pt x="14336" y="385623"/>
                    </a:lnTo>
                    <a:lnTo>
                      <a:pt x="9840" y="387216"/>
                    </a:lnTo>
                    <a:lnTo>
                      <a:pt x="7005" y="385001"/>
                    </a:lnTo>
                    <a:lnTo>
                      <a:pt x="5530" y="382612"/>
                    </a:lnTo>
                    <a:lnTo>
                      <a:pt x="4681" y="377560"/>
                    </a:lnTo>
                    <a:lnTo>
                      <a:pt x="4988" y="374959"/>
                    </a:lnTo>
                    <a:lnTo>
                      <a:pt x="4633" y="371534"/>
                    </a:lnTo>
                    <a:lnTo>
                      <a:pt x="6553" y="370420"/>
                    </a:lnTo>
                    <a:lnTo>
                      <a:pt x="8700" y="371012"/>
                    </a:lnTo>
                    <a:lnTo>
                      <a:pt x="10816" y="371232"/>
                    </a:lnTo>
                    <a:lnTo>
                      <a:pt x="15616" y="370932"/>
                    </a:lnTo>
                    <a:lnTo>
                      <a:pt x="26201" y="368874"/>
                    </a:lnTo>
                    <a:lnTo>
                      <a:pt x="33025" y="370097"/>
                    </a:lnTo>
                    <a:lnTo>
                      <a:pt x="35798" y="369985"/>
                    </a:lnTo>
                    <a:lnTo>
                      <a:pt x="40041" y="368212"/>
                    </a:lnTo>
                    <a:lnTo>
                      <a:pt x="43755" y="368029"/>
                    </a:lnTo>
                    <a:lnTo>
                      <a:pt x="46532" y="369384"/>
                    </a:lnTo>
                    <a:lnTo>
                      <a:pt x="48050" y="370937"/>
                    </a:lnTo>
                    <a:lnTo>
                      <a:pt x="48238" y="373013"/>
                    </a:lnTo>
                    <a:lnTo>
                      <a:pt x="49523" y="374396"/>
                    </a:lnTo>
                    <a:lnTo>
                      <a:pt x="50391" y="373947"/>
                    </a:lnTo>
                    <a:lnTo>
                      <a:pt x="49700" y="372303"/>
                    </a:lnTo>
                    <a:lnTo>
                      <a:pt x="49555" y="369753"/>
                    </a:lnTo>
                    <a:lnTo>
                      <a:pt x="60719" y="366861"/>
                    </a:lnTo>
                    <a:lnTo>
                      <a:pt x="62035" y="365736"/>
                    </a:lnTo>
                    <a:lnTo>
                      <a:pt x="57599" y="365345"/>
                    </a:lnTo>
                    <a:lnTo>
                      <a:pt x="56331" y="362701"/>
                    </a:lnTo>
                    <a:lnTo>
                      <a:pt x="58674" y="358695"/>
                    </a:lnTo>
                    <a:lnTo>
                      <a:pt x="58454" y="358175"/>
                    </a:lnTo>
                    <a:lnTo>
                      <a:pt x="55990" y="360290"/>
                    </a:lnTo>
                    <a:lnTo>
                      <a:pt x="54777" y="363263"/>
                    </a:lnTo>
                    <a:lnTo>
                      <a:pt x="55258" y="365633"/>
                    </a:lnTo>
                    <a:lnTo>
                      <a:pt x="54770" y="366733"/>
                    </a:lnTo>
                    <a:lnTo>
                      <a:pt x="52505" y="367237"/>
                    </a:lnTo>
                    <a:lnTo>
                      <a:pt x="47398" y="367420"/>
                    </a:lnTo>
                    <a:lnTo>
                      <a:pt x="44120" y="366415"/>
                    </a:lnTo>
                    <a:lnTo>
                      <a:pt x="41084" y="365869"/>
                    </a:lnTo>
                    <a:lnTo>
                      <a:pt x="40050" y="365111"/>
                    </a:lnTo>
                    <a:lnTo>
                      <a:pt x="40395" y="363419"/>
                    </a:lnTo>
                    <a:lnTo>
                      <a:pt x="39821" y="363070"/>
                    </a:lnTo>
                    <a:lnTo>
                      <a:pt x="38564" y="364591"/>
                    </a:lnTo>
                    <a:lnTo>
                      <a:pt x="37448" y="367620"/>
                    </a:lnTo>
                    <a:lnTo>
                      <a:pt x="35035" y="368317"/>
                    </a:lnTo>
                    <a:lnTo>
                      <a:pt x="28380" y="367193"/>
                    </a:lnTo>
                    <a:lnTo>
                      <a:pt x="18745" y="367855"/>
                    </a:lnTo>
                    <a:lnTo>
                      <a:pt x="14422" y="369378"/>
                    </a:lnTo>
                    <a:lnTo>
                      <a:pt x="11621" y="369179"/>
                    </a:lnTo>
                    <a:lnTo>
                      <a:pt x="6804" y="366511"/>
                    </a:lnTo>
                    <a:lnTo>
                      <a:pt x="4923" y="364387"/>
                    </a:lnTo>
                    <a:lnTo>
                      <a:pt x="4221" y="360099"/>
                    </a:lnTo>
                    <a:lnTo>
                      <a:pt x="4504" y="358210"/>
                    </a:lnTo>
                    <a:lnTo>
                      <a:pt x="8257" y="357414"/>
                    </a:lnTo>
                    <a:lnTo>
                      <a:pt x="10155" y="357470"/>
                    </a:lnTo>
                    <a:lnTo>
                      <a:pt x="11932" y="356454"/>
                    </a:lnTo>
                    <a:lnTo>
                      <a:pt x="10360" y="355794"/>
                    </a:lnTo>
                    <a:lnTo>
                      <a:pt x="8149" y="354496"/>
                    </a:lnTo>
                    <a:lnTo>
                      <a:pt x="6642" y="351893"/>
                    </a:lnTo>
                    <a:lnTo>
                      <a:pt x="4370" y="351044"/>
                    </a:lnTo>
                    <a:lnTo>
                      <a:pt x="2848" y="348822"/>
                    </a:lnTo>
                    <a:lnTo>
                      <a:pt x="2461" y="345461"/>
                    </a:lnTo>
                    <a:lnTo>
                      <a:pt x="2897" y="343122"/>
                    </a:lnTo>
                    <a:lnTo>
                      <a:pt x="4113" y="342369"/>
                    </a:lnTo>
                    <a:lnTo>
                      <a:pt x="7031" y="342881"/>
                    </a:lnTo>
                    <a:lnTo>
                      <a:pt x="14733" y="342488"/>
                    </a:lnTo>
                    <a:lnTo>
                      <a:pt x="21984" y="344865"/>
                    </a:lnTo>
                    <a:lnTo>
                      <a:pt x="26905" y="346212"/>
                    </a:lnTo>
                    <a:lnTo>
                      <a:pt x="36875" y="345535"/>
                    </a:lnTo>
                    <a:lnTo>
                      <a:pt x="42714" y="343413"/>
                    </a:lnTo>
                    <a:lnTo>
                      <a:pt x="41643" y="342826"/>
                    </a:lnTo>
                    <a:lnTo>
                      <a:pt x="35310" y="344053"/>
                    </a:lnTo>
                    <a:lnTo>
                      <a:pt x="29456" y="344003"/>
                    </a:lnTo>
                    <a:lnTo>
                      <a:pt x="19136" y="341603"/>
                    </a:lnTo>
                    <a:lnTo>
                      <a:pt x="14904" y="340829"/>
                    </a:lnTo>
                    <a:lnTo>
                      <a:pt x="10345" y="341171"/>
                    </a:lnTo>
                    <a:lnTo>
                      <a:pt x="7972" y="340442"/>
                    </a:lnTo>
                    <a:lnTo>
                      <a:pt x="6577" y="338065"/>
                    </a:lnTo>
                    <a:lnTo>
                      <a:pt x="7609" y="333512"/>
                    </a:lnTo>
                    <a:lnTo>
                      <a:pt x="9771" y="332528"/>
                    </a:lnTo>
                    <a:lnTo>
                      <a:pt x="10941" y="333717"/>
                    </a:lnTo>
                    <a:lnTo>
                      <a:pt x="12353" y="333792"/>
                    </a:lnTo>
                    <a:lnTo>
                      <a:pt x="13783" y="331887"/>
                    </a:lnTo>
                    <a:lnTo>
                      <a:pt x="15152" y="330801"/>
                    </a:lnTo>
                    <a:lnTo>
                      <a:pt x="16236" y="328341"/>
                    </a:lnTo>
                    <a:lnTo>
                      <a:pt x="20324" y="326007"/>
                    </a:lnTo>
                    <a:lnTo>
                      <a:pt x="22051" y="325809"/>
                    </a:lnTo>
                    <a:lnTo>
                      <a:pt x="24528" y="324733"/>
                    </a:lnTo>
                    <a:lnTo>
                      <a:pt x="26109" y="325038"/>
                    </a:lnTo>
                    <a:lnTo>
                      <a:pt x="27122" y="326118"/>
                    </a:lnTo>
                    <a:lnTo>
                      <a:pt x="28402" y="327012"/>
                    </a:lnTo>
                    <a:lnTo>
                      <a:pt x="31177" y="326903"/>
                    </a:lnTo>
                    <a:lnTo>
                      <a:pt x="39382" y="325033"/>
                    </a:lnTo>
                    <a:lnTo>
                      <a:pt x="40266" y="324483"/>
                    </a:lnTo>
                    <a:lnTo>
                      <a:pt x="41866" y="322944"/>
                    </a:lnTo>
                    <a:lnTo>
                      <a:pt x="36664" y="323630"/>
                    </a:lnTo>
                    <a:lnTo>
                      <a:pt x="32343" y="324723"/>
                    </a:lnTo>
                    <a:lnTo>
                      <a:pt x="29566" y="325026"/>
                    </a:lnTo>
                    <a:lnTo>
                      <a:pt x="29175" y="323662"/>
                    </a:lnTo>
                    <a:lnTo>
                      <a:pt x="30199" y="322450"/>
                    </a:lnTo>
                    <a:lnTo>
                      <a:pt x="31807" y="321160"/>
                    </a:lnTo>
                    <a:lnTo>
                      <a:pt x="32589" y="318959"/>
                    </a:lnTo>
                    <a:lnTo>
                      <a:pt x="34359" y="318019"/>
                    </a:lnTo>
                    <a:lnTo>
                      <a:pt x="36273" y="318069"/>
                    </a:lnTo>
                    <a:lnTo>
                      <a:pt x="40229" y="317669"/>
                    </a:lnTo>
                    <a:lnTo>
                      <a:pt x="43021" y="317096"/>
                    </a:lnTo>
                    <a:lnTo>
                      <a:pt x="47808" y="317480"/>
                    </a:lnTo>
                    <a:lnTo>
                      <a:pt x="54943" y="318323"/>
                    </a:lnTo>
                    <a:lnTo>
                      <a:pt x="59542" y="320372"/>
                    </a:lnTo>
                    <a:lnTo>
                      <a:pt x="61274" y="320187"/>
                    </a:lnTo>
                    <a:lnTo>
                      <a:pt x="63110" y="319642"/>
                    </a:lnTo>
                    <a:lnTo>
                      <a:pt x="63941" y="318899"/>
                    </a:lnTo>
                    <a:lnTo>
                      <a:pt x="60331" y="318048"/>
                    </a:lnTo>
                    <a:lnTo>
                      <a:pt x="60125" y="316834"/>
                    </a:lnTo>
                    <a:lnTo>
                      <a:pt x="60573" y="315918"/>
                    </a:lnTo>
                    <a:lnTo>
                      <a:pt x="66461" y="314229"/>
                    </a:lnTo>
                    <a:lnTo>
                      <a:pt x="72892" y="313855"/>
                    </a:lnTo>
                    <a:lnTo>
                      <a:pt x="71786" y="312494"/>
                    </a:lnTo>
                    <a:lnTo>
                      <a:pt x="57698" y="314548"/>
                    </a:lnTo>
                    <a:lnTo>
                      <a:pt x="54021" y="313146"/>
                    </a:lnTo>
                    <a:lnTo>
                      <a:pt x="51119" y="313158"/>
                    </a:lnTo>
                    <a:lnTo>
                      <a:pt x="49218" y="313959"/>
                    </a:lnTo>
                    <a:lnTo>
                      <a:pt x="43803" y="314929"/>
                    </a:lnTo>
                    <a:lnTo>
                      <a:pt x="42807" y="314239"/>
                    </a:lnTo>
                    <a:lnTo>
                      <a:pt x="43837" y="311857"/>
                    </a:lnTo>
                    <a:lnTo>
                      <a:pt x="47081" y="307944"/>
                    </a:lnTo>
                    <a:lnTo>
                      <a:pt x="47351" y="306984"/>
                    </a:lnTo>
                    <a:lnTo>
                      <a:pt x="48856" y="306041"/>
                    </a:lnTo>
                    <a:lnTo>
                      <a:pt x="57271" y="303765"/>
                    </a:lnTo>
                    <a:lnTo>
                      <a:pt x="61313" y="301118"/>
                    </a:lnTo>
                    <a:lnTo>
                      <a:pt x="63136" y="300782"/>
                    </a:lnTo>
                    <a:lnTo>
                      <a:pt x="64943" y="300967"/>
                    </a:lnTo>
                    <a:lnTo>
                      <a:pt x="67692" y="300657"/>
                    </a:lnTo>
                    <a:lnTo>
                      <a:pt x="73004" y="301415"/>
                    </a:lnTo>
                    <a:lnTo>
                      <a:pt x="75448" y="304729"/>
                    </a:lnTo>
                    <a:lnTo>
                      <a:pt x="77647" y="305769"/>
                    </a:lnTo>
                    <a:lnTo>
                      <a:pt x="84559" y="309900"/>
                    </a:lnTo>
                    <a:lnTo>
                      <a:pt x="84250" y="308712"/>
                    </a:lnTo>
                    <a:lnTo>
                      <a:pt x="78267" y="303109"/>
                    </a:lnTo>
                    <a:lnTo>
                      <a:pt x="75980" y="301720"/>
                    </a:lnTo>
                    <a:lnTo>
                      <a:pt x="74274" y="298962"/>
                    </a:lnTo>
                    <a:lnTo>
                      <a:pt x="74859" y="296352"/>
                    </a:lnTo>
                    <a:lnTo>
                      <a:pt x="76783" y="294608"/>
                    </a:lnTo>
                    <a:lnTo>
                      <a:pt x="83609" y="293673"/>
                    </a:lnTo>
                    <a:lnTo>
                      <a:pt x="84833" y="292663"/>
                    </a:lnTo>
                    <a:lnTo>
                      <a:pt x="84954" y="290926"/>
                    </a:lnTo>
                    <a:lnTo>
                      <a:pt x="83909" y="289737"/>
                    </a:lnTo>
                    <a:lnTo>
                      <a:pt x="81398" y="289806"/>
                    </a:lnTo>
                    <a:lnTo>
                      <a:pt x="79327" y="289069"/>
                    </a:lnTo>
                    <a:lnTo>
                      <a:pt x="78757" y="287194"/>
                    </a:lnTo>
                    <a:lnTo>
                      <a:pt x="79584" y="285926"/>
                    </a:lnTo>
                    <a:lnTo>
                      <a:pt x="83520" y="283612"/>
                    </a:lnTo>
                    <a:lnTo>
                      <a:pt x="85675" y="282860"/>
                    </a:lnTo>
                    <a:lnTo>
                      <a:pt x="89407" y="282044"/>
                    </a:lnTo>
                    <a:lnTo>
                      <a:pt x="95896" y="283876"/>
                    </a:lnTo>
                    <a:lnTo>
                      <a:pt x="96388" y="284835"/>
                    </a:lnTo>
                    <a:lnTo>
                      <a:pt x="94570" y="287141"/>
                    </a:lnTo>
                    <a:lnTo>
                      <a:pt x="94753" y="288434"/>
                    </a:lnTo>
                    <a:lnTo>
                      <a:pt x="96343" y="288577"/>
                    </a:lnTo>
                    <a:lnTo>
                      <a:pt x="100048" y="284691"/>
                    </a:lnTo>
                    <a:lnTo>
                      <a:pt x="104406" y="284154"/>
                    </a:lnTo>
                    <a:lnTo>
                      <a:pt x="106209" y="283318"/>
                    </a:lnTo>
                    <a:lnTo>
                      <a:pt x="108301" y="282792"/>
                    </a:lnTo>
                    <a:lnTo>
                      <a:pt x="111294" y="286309"/>
                    </a:lnTo>
                    <a:lnTo>
                      <a:pt x="112605" y="287433"/>
                    </a:lnTo>
                    <a:lnTo>
                      <a:pt x="113590" y="287894"/>
                    </a:lnTo>
                    <a:lnTo>
                      <a:pt x="114544" y="290815"/>
                    </a:lnTo>
                    <a:lnTo>
                      <a:pt x="115468" y="290971"/>
                    </a:lnTo>
                    <a:lnTo>
                      <a:pt x="116785" y="289507"/>
                    </a:lnTo>
                    <a:lnTo>
                      <a:pt x="119174" y="288736"/>
                    </a:lnTo>
                    <a:lnTo>
                      <a:pt x="122523" y="288227"/>
                    </a:lnTo>
                    <a:lnTo>
                      <a:pt x="128070" y="289000"/>
                    </a:lnTo>
                    <a:lnTo>
                      <a:pt x="130582" y="288429"/>
                    </a:lnTo>
                    <a:lnTo>
                      <a:pt x="131813" y="288509"/>
                    </a:lnTo>
                    <a:lnTo>
                      <a:pt x="130632" y="285883"/>
                    </a:lnTo>
                    <a:lnTo>
                      <a:pt x="129899" y="285124"/>
                    </a:lnTo>
                    <a:lnTo>
                      <a:pt x="131042" y="282777"/>
                    </a:lnTo>
                    <a:lnTo>
                      <a:pt x="132234" y="281859"/>
                    </a:lnTo>
                    <a:lnTo>
                      <a:pt x="136067" y="280209"/>
                    </a:lnTo>
                    <a:lnTo>
                      <a:pt x="139722" y="279472"/>
                    </a:lnTo>
                    <a:lnTo>
                      <a:pt x="142109" y="277904"/>
                    </a:lnTo>
                    <a:lnTo>
                      <a:pt x="145313" y="276462"/>
                    </a:lnTo>
                    <a:lnTo>
                      <a:pt x="144810" y="275306"/>
                    </a:lnTo>
                    <a:lnTo>
                      <a:pt x="143918" y="273967"/>
                    </a:lnTo>
                    <a:lnTo>
                      <a:pt x="141845" y="273882"/>
                    </a:lnTo>
                    <a:lnTo>
                      <a:pt x="140999" y="273151"/>
                    </a:lnTo>
                    <a:lnTo>
                      <a:pt x="143631" y="271414"/>
                    </a:lnTo>
                    <a:lnTo>
                      <a:pt x="147235" y="269481"/>
                    </a:lnTo>
                    <a:lnTo>
                      <a:pt x="146607" y="268721"/>
                    </a:lnTo>
                    <a:lnTo>
                      <a:pt x="143897" y="267861"/>
                    </a:lnTo>
                    <a:lnTo>
                      <a:pt x="141839" y="268509"/>
                    </a:lnTo>
                    <a:lnTo>
                      <a:pt x="138779" y="270005"/>
                    </a:lnTo>
                    <a:lnTo>
                      <a:pt x="135220" y="272369"/>
                    </a:lnTo>
                    <a:lnTo>
                      <a:pt x="136380" y="273057"/>
                    </a:lnTo>
                    <a:lnTo>
                      <a:pt x="138161" y="275041"/>
                    </a:lnTo>
                    <a:lnTo>
                      <a:pt x="135676" y="277679"/>
                    </a:lnTo>
                    <a:lnTo>
                      <a:pt x="122504" y="284668"/>
                    </a:lnTo>
                    <a:lnTo>
                      <a:pt x="116222" y="286710"/>
                    </a:lnTo>
                    <a:lnTo>
                      <a:pt x="113324" y="286392"/>
                    </a:lnTo>
                    <a:lnTo>
                      <a:pt x="112633" y="284486"/>
                    </a:lnTo>
                    <a:lnTo>
                      <a:pt x="111296" y="283074"/>
                    </a:lnTo>
                    <a:lnTo>
                      <a:pt x="109863" y="280162"/>
                    </a:lnTo>
                    <a:lnTo>
                      <a:pt x="107425" y="280240"/>
                    </a:lnTo>
                    <a:lnTo>
                      <a:pt x="106040" y="280884"/>
                    </a:lnTo>
                    <a:lnTo>
                      <a:pt x="105436" y="279929"/>
                    </a:lnTo>
                    <a:lnTo>
                      <a:pt x="106485" y="276814"/>
                    </a:lnTo>
                    <a:lnTo>
                      <a:pt x="108548" y="274348"/>
                    </a:lnTo>
                    <a:lnTo>
                      <a:pt x="112007" y="272484"/>
                    </a:lnTo>
                    <a:lnTo>
                      <a:pt x="113665" y="270230"/>
                    </a:lnTo>
                    <a:lnTo>
                      <a:pt x="115224" y="266650"/>
                    </a:lnTo>
                    <a:lnTo>
                      <a:pt x="120228" y="263237"/>
                    </a:lnTo>
                    <a:lnTo>
                      <a:pt x="127511" y="254770"/>
                    </a:lnTo>
                    <a:lnTo>
                      <a:pt x="133445" y="252061"/>
                    </a:lnTo>
                    <a:lnTo>
                      <a:pt x="135620" y="249095"/>
                    </a:lnTo>
                    <a:lnTo>
                      <a:pt x="139116" y="247783"/>
                    </a:lnTo>
                    <a:lnTo>
                      <a:pt x="142100" y="245465"/>
                    </a:lnTo>
                    <a:lnTo>
                      <a:pt x="144443" y="245235"/>
                    </a:lnTo>
                    <a:lnTo>
                      <a:pt x="148699" y="243146"/>
                    </a:lnTo>
                    <a:lnTo>
                      <a:pt x="151111" y="240658"/>
                    </a:lnTo>
                    <a:lnTo>
                      <a:pt x="149537" y="240503"/>
                    </a:lnTo>
                    <a:lnTo>
                      <a:pt x="145795" y="242123"/>
                    </a:lnTo>
                    <a:lnTo>
                      <a:pt x="143678" y="242774"/>
                    </a:lnTo>
                    <a:lnTo>
                      <a:pt x="143828" y="240104"/>
                    </a:lnTo>
                    <a:lnTo>
                      <a:pt x="144853" y="237363"/>
                    </a:lnTo>
                    <a:lnTo>
                      <a:pt x="147937" y="234854"/>
                    </a:lnTo>
                    <a:lnTo>
                      <a:pt x="162759" y="227548"/>
                    </a:lnTo>
                    <a:lnTo>
                      <a:pt x="164238" y="228758"/>
                    </a:lnTo>
                    <a:lnTo>
                      <a:pt x="166006" y="230895"/>
                    </a:lnTo>
                    <a:lnTo>
                      <a:pt x="170470" y="230412"/>
                    </a:lnTo>
                    <a:lnTo>
                      <a:pt x="175556" y="226271"/>
                    </a:lnTo>
                    <a:lnTo>
                      <a:pt x="179473" y="221764"/>
                    </a:lnTo>
                    <a:lnTo>
                      <a:pt x="177356" y="222551"/>
                    </a:lnTo>
                    <a:lnTo>
                      <a:pt x="175046" y="224397"/>
                    </a:lnTo>
                    <a:lnTo>
                      <a:pt x="170543" y="226959"/>
                    </a:lnTo>
                    <a:lnTo>
                      <a:pt x="168462" y="227364"/>
                    </a:lnTo>
                    <a:lnTo>
                      <a:pt x="167274" y="227031"/>
                    </a:lnTo>
                    <a:lnTo>
                      <a:pt x="166613" y="225322"/>
                    </a:lnTo>
                    <a:lnTo>
                      <a:pt x="165052" y="224767"/>
                    </a:lnTo>
                    <a:lnTo>
                      <a:pt x="163642" y="225151"/>
                    </a:lnTo>
                    <a:lnTo>
                      <a:pt x="162189" y="223935"/>
                    </a:lnTo>
                    <a:lnTo>
                      <a:pt x="161930" y="220930"/>
                    </a:lnTo>
                    <a:lnTo>
                      <a:pt x="163789" y="216446"/>
                    </a:lnTo>
                    <a:lnTo>
                      <a:pt x="165262" y="213475"/>
                    </a:lnTo>
                    <a:lnTo>
                      <a:pt x="166853" y="211224"/>
                    </a:lnTo>
                    <a:lnTo>
                      <a:pt x="173109" y="204821"/>
                    </a:lnTo>
                    <a:lnTo>
                      <a:pt x="174461" y="201318"/>
                    </a:lnTo>
                    <a:lnTo>
                      <a:pt x="177290" y="199467"/>
                    </a:lnTo>
                    <a:lnTo>
                      <a:pt x="180964" y="199879"/>
                    </a:lnTo>
                    <a:lnTo>
                      <a:pt x="182073" y="199344"/>
                    </a:lnTo>
                    <a:lnTo>
                      <a:pt x="180811" y="197042"/>
                    </a:lnTo>
                    <a:lnTo>
                      <a:pt x="176806" y="195215"/>
                    </a:lnTo>
                    <a:lnTo>
                      <a:pt x="176560" y="194067"/>
                    </a:lnTo>
                    <a:lnTo>
                      <a:pt x="189900" y="191049"/>
                    </a:lnTo>
                    <a:lnTo>
                      <a:pt x="196253" y="191151"/>
                    </a:lnTo>
                    <a:lnTo>
                      <a:pt x="198138" y="189643"/>
                    </a:lnTo>
                    <a:lnTo>
                      <a:pt x="201591" y="188677"/>
                    </a:lnTo>
                    <a:lnTo>
                      <a:pt x="204208" y="186831"/>
                    </a:lnTo>
                    <a:lnTo>
                      <a:pt x="202859" y="186016"/>
                    </a:lnTo>
                    <a:lnTo>
                      <a:pt x="196407" y="187713"/>
                    </a:lnTo>
                    <a:lnTo>
                      <a:pt x="192373" y="188510"/>
                    </a:lnTo>
                    <a:lnTo>
                      <a:pt x="190548" y="188485"/>
                    </a:lnTo>
                    <a:lnTo>
                      <a:pt x="189125" y="189068"/>
                    </a:lnTo>
                    <a:lnTo>
                      <a:pt x="183969" y="189290"/>
                    </a:lnTo>
                    <a:lnTo>
                      <a:pt x="182848" y="181925"/>
                    </a:lnTo>
                    <a:lnTo>
                      <a:pt x="183655" y="177918"/>
                    </a:lnTo>
                    <a:lnTo>
                      <a:pt x="185577" y="178001"/>
                    </a:lnTo>
                    <a:lnTo>
                      <a:pt x="186015" y="174168"/>
                    </a:lnTo>
                    <a:lnTo>
                      <a:pt x="188235" y="171907"/>
                    </a:lnTo>
                    <a:lnTo>
                      <a:pt x="191300" y="171401"/>
                    </a:lnTo>
                    <a:lnTo>
                      <a:pt x="192844" y="170432"/>
                    </a:lnTo>
                    <a:lnTo>
                      <a:pt x="195074" y="168460"/>
                    </a:lnTo>
                    <a:lnTo>
                      <a:pt x="198765" y="168918"/>
                    </a:lnTo>
                    <a:lnTo>
                      <a:pt x="202556" y="168478"/>
                    </a:lnTo>
                    <a:lnTo>
                      <a:pt x="201617" y="167548"/>
                    </a:lnTo>
                    <a:lnTo>
                      <a:pt x="196910" y="166349"/>
                    </a:lnTo>
                    <a:lnTo>
                      <a:pt x="195748" y="164288"/>
                    </a:lnTo>
                    <a:lnTo>
                      <a:pt x="197408" y="163137"/>
                    </a:lnTo>
                    <a:lnTo>
                      <a:pt x="199216" y="162289"/>
                    </a:lnTo>
                    <a:lnTo>
                      <a:pt x="200803" y="162137"/>
                    </a:lnTo>
                    <a:lnTo>
                      <a:pt x="203947" y="158104"/>
                    </a:lnTo>
                    <a:lnTo>
                      <a:pt x="205858" y="156381"/>
                    </a:lnTo>
                    <a:lnTo>
                      <a:pt x="207998" y="156680"/>
                    </a:lnTo>
                    <a:lnTo>
                      <a:pt x="210978" y="154898"/>
                    </a:lnTo>
                    <a:lnTo>
                      <a:pt x="213904" y="155506"/>
                    </a:lnTo>
                    <a:lnTo>
                      <a:pt x="216735" y="154339"/>
                    </a:lnTo>
                    <a:lnTo>
                      <a:pt x="220602" y="153569"/>
                    </a:lnTo>
                    <a:lnTo>
                      <a:pt x="234757" y="153271"/>
                    </a:lnTo>
                    <a:lnTo>
                      <a:pt x="235178" y="151616"/>
                    </a:lnTo>
                    <a:lnTo>
                      <a:pt x="232201" y="151232"/>
                    </a:lnTo>
                    <a:lnTo>
                      <a:pt x="221682" y="150806"/>
                    </a:lnTo>
                    <a:lnTo>
                      <a:pt x="216312" y="150839"/>
                    </a:lnTo>
                    <a:lnTo>
                      <a:pt x="214051" y="151268"/>
                    </a:lnTo>
                    <a:lnTo>
                      <a:pt x="213220" y="150691"/>
                    </a:lnTo>
                    <a:lnTo>
                      <a:pt x="213366" y="149699"/>
                    </a:lnTo>
                    <a:lnTo>
                      <a:pt x="215318" y="148129"/>
                    </a:lnTo>
                    <a:lnTo>
                      <a:pt x="216245" y="146392"/>
                    </a:lnTo>
                    <a:lnTo>
                      <a:pt x="220147" y="142146"/>
                    </a:lnTo>
                    <a:lnTo>
                      <a:pt x="224722" y="139313"/>
                    </a:lnTo>
                    <a:lnTo>
                      <a:pt x="228229" y="140038"/>
                    </a:lnTo>
                    <a:lnTo>
                      <a:pt x="231959" y="142743"/>
                    </a:lnTo>
                    <a:lnTo>
                      <a:pt x="234617" y="143081"/>
                    </a:lnTo>
                    <a:lnTo>
                      <a:pt x="235854" y="143954"/>
                    </a:lnTo>
                    <a:lnTo>
                      <a:pt x="237791" y="147678"/>
                    </a:lnTo>
                    <a:lnTo>
                      <a:pt x="238709" y="147799"/>
                    </a:lnTo>
                    <a:lnTo>
                      <a:pt x="238294" y="144220"/>
                    </a:lnTo>
                    <a:lnTo>
                      <a:pt x="240855" y="141304"/>
                    </a:lnTo>
                    <a:lnTo>
                      <a:pt x="240188" y="140497"/>
                    </a:lnTo>
                    <a:lnTo>
                      <a:pt x="236340" y="141552"/>
                    </a:lnTo>
                    <a:lnTo>
                      <a:pt x="233392" y="140455"/>
                    </a:lnTo>
                    <a:lnTo>
                      <a:pt x="231065" y="138262"/>
                    </a:lnTo>
                    <a:lnTo>
                      <a:pt x="230399" y="136255"/>
                    </a:lnTo>
                    <a:lnTo>
                      <a:pt x="231846" y="134270"/>
                    </a:lnTo>
                    <a:lnTo>
                      <a:pt x="233211" y="133270"/>
                    </a:lnTo>
                    <a:lnTo>
                      <a:pt x="232285" y="132104"/>
                    </a:lnTo>
                    <a:lnTo>
                      <a:pt x="226467" y="135229"/>
                    </a:lnTo>
                    <a:lnTo>
                      <a:pt x="222352" y="135955"/>
                    </a:lnTo>
                    <a:lnTo>
                      <a:pt x="220730" y="135518"/>
                    </a:lnTo>
                    <a:lnTo>
                      <a:pt x="221609" y="132687"/>
                    </a:lnTo>
                    <a:lnTo>
                      <a:pt x="221119" y="130438"/>
                    </a:lnTo>
                    <a:lnTo>
                      <a:pt x="226636" y="124888"/>
                    </a:lnTo>
                    <a:lnTo>
                      <a:pt x="228534" y="124245"/>
                    </a:lnTo>
                    <a:lnTo>
                      <a:pt x="231632" y="124691"/>
                    </a:lnTo>
                    <a:lnTo>
                      <a:pt x="234429" y="126259"/>
                    </a:lnTo>
                    <a:lnTo>
                      <a:pt x="236768" y="126009"/>
                    </a:lnTo>
                    <a:lnTo>
                      <a:pt x="239305" y="125172"/>
                    </a:lnTo>
                    <a:lnTo>
                      <a:pt x="238959" y="123668"/>
                    </a:lnTo>
                    <a:lnTo>
                      <a:pt x="233457" y="123071"/>
                    </a:lnTo>
                    <a:lnTo>
                      <a:pt x="232041" y="121822"/>
                    </a:lnTo>
                    <a:lnTo>
                      <a:pt x="232552" y="120595"/>
                    </a:lnTo>
                    <a:lnTo>
                      <a:pt x="236329" y="119298"/>
                    </a:lnTo>
                    <a:lnTo>
                      <a:pt x="240085" y="116955"/>
                    </a:lnTo>
                    <a:lnTo>
                      <a:pt x="244388" y="116276"/>
                    </a:lnTo>
                    <a:lnTo>
                      <a:pt x="247852" y="114501"/>
                    </a:lnTo>
                    <a:lnTo>
                      <a:pt x="248519" y="114904"/>
                    </a:lnTo>
                    <a:lnTo>
                      <a:pt x="249104" y="115600"/>
                    </a:lnTo>
                    <a:lnTo>
                      <a:pt x="250348" y="122169"/>
                    </a:lnTo>
                    <a:lnTo>
                      <a:pt x="253442" y="127512"/>
                    </a:lnTo>
                    <a:lnTo>
                      <a:pt x="254582" y="127706"/>
                    </a:lnTo>
                    <a:lnTo>
                      <a:pt x="253395" y="123162"/>
                    </a:lnTo>
                    <a:lnTo>
                      <a:pt x="254503" y="121854"/>
                    </a:lnTo>
                    <a:lnTo>
                      <a:pt x="255906" y="120859"/>
                    </a:lnTo>
                    <a:lnTo>
                      <a:pt x="256344" y="119726"/>
                    </a:lnTo>
                    <a:lnTo>
                      <a:pt x="254736" y="119339"/>
                    </a:lnTo>
                    <a:lnTo>
                      <a:pt x="253421" y="117711"/>
                    </a:lnTo>
                    <a:lnTo>
                      <a:pt x="251542" y="112496"/>
                    </a:lnTo>
                    <a:lnTo>
                      <a:pt x="252183" y="111139"/>
                    </a:lnTo>
                    <a:lnTo>
                      <a:pt x="256254" y="108355"/>
                    </a:lnTo>
                    <a:lnTo>
                      <a:pt x="261361" y="107713"/>
                    </a:lnTo>
                    <a:lnTo>
                      <a:pt x="266802" y="109666"/>
                    </a:lnTo>
                    <a:lnTo>
                      <a:pt x="268713" y="109688"/>
                    </a:lnTo>
                    <a:lnTo>
                      <a:pt x="271868" y="109164"/>
                    </a:lnTo>
                    <a:lnTo>
                      <a:pt x="277221" y="107558"/>
                    </a:lnTo>
                    <a:lnTo>
                      <a:pt x="280370" y="106947"/>
                    </a:lnTo>
                    <a:lnTo>
                      <a:pt x="282013" y="106949"/>
                    </a:lnTo>
                    <a:lnTo>
                      <a:pt x="282419" y="106137"/>
                    </a:lnTo>
                    <a:lnTo>
                      <a:pt x="280897" y="105615"/>
                    </a:lnTo>
                    <a:lnTo>
                      <a:pt x="280406" y="105107"/>
                    </a:lnTo>
                    <a:lnTo>
                      <a:pt x="279212" y="104815"/>
                    </a:lnTo>
                    <a:lnTo>
                      <a:pt x="274263" y="105684"/>
                    </a:lnTo>
                    <a:lnTo>
                      <a:pt x="260609" y="105409"/>
                    </a:lnTo>
                    <a:lnTo>
                      <a:pt x="259292" y="104480"/>
                    </a:lnTo>
                    <a:lnTo>
                      <a:pt x="259050" y="102872"/>
                    </a:lnTo>
                    <a:lnTo>
                      <a:pt x="260499" y="100564"/>
                    </a:lnTo>
                    <a:lnTo>
                      <a:pt x="262091" y="99291"/>
                    </a:lnTo>
                    <a:lnTo>
                      <a:pt x="267239" y="96997"/>
                    </a:lnTo>
                    <a:lnTo>
                      <a:pt x="272689" y="96687"/>
                    </a:lnTo>
                    <a:lnTo>
                      <a:pt x="278431" y="92605"/>
                    </a:lnTo>
                    <a:lnTo>
                      <a:pt x="280625" y="89538"/>
                    </a:lnTo>
                    <a:lnTo>
                      <a:pt x="281868" y="84803"/>
                    </a:lnTo>
                    <a:lnTo>
                      <a:pt x="285369" y="80966"/>
                    </a:lnTo>
                    <a:lnTo>
                      <a:pt x="294144" y="78781"/>
                    </a:lnTo>
                    <a:lnTo>
                      <a:pt x="294499" y="77813"/>
                    </a:lnTo>
                    <a:lnTo>
                      <a:pt x="293568" y="75813"/>
                    </a:lnTo>
                    <a:lnTo>
                      <a:pt x="293641" y="72204"/>
                    </a:lnTo>
                    <a:lnTo>
                      <a:pt x="296047" y="67992"/>
                    </a:lnTo>
                    <a:lnTo>
                      <a:pt x="297645" y="66526"/>
                    </a:lnTo>
                    <a:lnTo>
                      <a:pt x="298383" y="66350"/>
                    </a:lnTo>
                    <a:lnTo>
                      <a:pt x="300275" y="67729"/>
                    </a:lnTo>
                    <a:lnTo>
                      <a:pt x="302573" y="70659"/>
                    </a:lnTo>
                    <a:lnTo>
                      <a:pt x="306175" y="72335"/>
                    </a:lnTo>
                    <a:lnTo>
                      <a:pt x="310895" y="72624"/>
                    </a:lnTo>
                    <a:lnTo>
                      <a:pt x="312154" y="71800"/>
                    </a:lnTo>
                    <a:lnTo>
                      <a:pt x="308485" y="70129"/>
                    </a:lnTo>
                    <a:lnTo>
                      <a:pt x="305708" y="67943"/>
                    </a:lnTo>
                    <a:lnTo>
                      <a:pt x="305488" y="65745"/>
                    </a:lnTo>
                    <a:lnTo>
                      <a:pt x="306805" y="64579"/>
                    </a:lnTo>
                    <a:lnTo>
                      <a:pt x="308852" y="64709"/>
                    </a:lnTo>
                    <a:lnTo>
                      <a:pt x="311422" y="64462"/>
                    </a:lnTo>
                    <a:lnTo>
                      <a:pt x="313816" y="62982"/>
                    </a:lnTo>
                    <a:lnTo>
                      <a:pt x="314164" y="61941"/>
                    </a:lnTo>
                    <a:lnTo>
                      <a:pt x="314264" y="60527"/>
                    </a:lnTo>
                    <a:lnTo>
                      <a:pt x="314862" y="59088"/>
                    </a:lnTo>
                    <a:lnTo>
                      <a:pt x="318375" y="55651"/>
                    </a:lnTo>
                    <a:lnTo>
                      <a:pt x="329204" y="53412"/>
                    </a:lnTo>
                    <a:lnTo>
                      <a:pt x="329988" y="54321"/>
                    </a:lnTo>
                    <a:lnTo>
                      <a:pt x="329403" y="60951"/>
                    </a:lnTo>
                    <a:lnTo>
                      <a:pt x="328159" y="65227"/>
                    </a:lnTo>
                    <a:lnTo>
                      <a:pt x="328198" y="68347"/>
                    </a:lnTo>
                    <a:lnTo>
                      <a:pt x="330306" y="65227"/>
                    </a:lnTo>
                    <a:lnTo>
                      <a:pt x="333132" y="56663"/>
                    </a:lnTo>
                    <a:lnTo>
                      <a:pt x="335253" y="52629"/>
                    </a:lnTo>
                    <a:lnTo>
                      <a:pt x="337650" y="50309"/>
                    </a:lnTo>
                    <a:lnTo>
                      <a:pt x="339362" y="49785"/>
                    </a:lnTo>
                    <a:lnTo>
                      <a:pt x="341057" y="48583"/>
                    </a:lnTo>
                    <a:lnTo>
                      <a:pt x="343295" y="47867"/>
                    </a:lnTo>
                    <a:lnTo>
                      <a:pt x="343979" y="48791"/>
                    </a:lnTo>
                    <a:lnTo>
                      <a:pt x="344687" y="50933"/>
                    </a:lnTo>
                    <a:lnTo>
                      <a:pt x="343482" y="58438"/>
                    </a:lnTo>
                    <a:lnTo>
                      <a:pt x="343603" y="60805"/>
                    </a:lnTo>
                    <a:lnTo>
                      <a:pt x="342253" y="63973"/>
                    </a:lnTo>
                    <a:lnTo>
                      <a:pt x="337093" y="71017"/>
                    </a:lnTo>
                    <a:lnTo>
                      <a:pt x="337330" y="71914"/>
                    </a:lnTo>
                    <a:lnTo>
                      <a:pt x="338496" y="71581"/>
                    </a:lnTo>
                    <a:lnTo>
                      <a:pt x="340496" y="70420"/>
                    </a:lnTo>
                    <a:lnTo>
                      <a:pt x="346888" y="63728"/>
                    </a:lnTo>
                    <a:lnTo>
                      <a:pt x="352476" y="64573"/>
                    </a:lnTo>
                    <a:lnTo>
                      <a:pt x="352545" y="64024"/>
                    </a:lnTo>
                    <a:lnTo>
                      <a:pt x="350753" y="62058"/>
                    </a:lnTo>
                    <a:lnTo>
                      <a:pt x="348563" y="60171"/>
                    </a:lnTo>
                    <a:lnTo>
                      <a:pt x="347905" y="57833"/>
                    </a:lnTo>
                    <a:lnTo>
                      <a:pt x="348198" y="51586"/>
                    </a:lnTo>
                    <a:lnTo>
                      <a:pt x="349881" y="49107"/>
                    </a:lnTo>
                    <a:lnTo>
                      <a:pt x="354707" y="49367"/>
                    </a:lnTo>
                    <a:lnTo>
                      <a:pt x="357598" y="49024"/>
                    </a:lnTo>
                    <a:lnTo>
                      <a:pt x="358948" y="50151"/>
                    </a:lnTo>
                    <a:lnTo>
                      <a:pt x="361843" y="50070"/>
                    </a:lnTo>
                    <a:lnTo>
                      <a:pt x="363848" y="45579"/>
                    </a:lnTo>
                    <a:lnTo>
                      <a:pt x="367810" y="45185"/>
                    </a:lnTo>
                    <a:lnTo>
                      <a:pt x="371289" y="48155"/>
                    </a:lnTo>
                    <a:lnTo>
                      <a:pt x="375476" y="50151"/>
                    </a:lnTo>
                    <a:lnTo>
                      <a:pt x="378840" y="53019"/>
                    </a:lnTo>
                    <a:lnTo>
                      <a:pt x="379790" y="52236"/>
                    </a:lnTo>
                    <a:lnTo>
                      <a:pt x="377974" y="45538"/>
                    </a:lnTo>
                    <a:lnTo>
                      <a:pt x="375987" y="43092"/>
                    </a:lnTo>
                    <a:lnTo>
                      <a:pt x="371677" y="41819"/>
                    </a:lnTo>
                    <a:lnTo>
                      <a:pt x="367091" y="38795"/>
                    </a:lnTo>
                    <a:lnTo>
                      <a:pt x="365895" y="37453"/>
                    </a:lnTo>
                    <a:lnTo>
                      <a:pt x="366104" y="36454"/>
                    </a:lnTo>
                    <a:lnTo>
                      <a:pt x="370151" y="35490"/>
                    </a:lnTo>
                    <a:lnTo>
                      <a:pt x="375491" y="36594"/>
                    </a:lnTo>
                    <a:lnTo>
                      <a:pt x="380250" y="34070"/>
                    </a:lnTo>
                    <a:lnTo>
                      <a:pt x="381552" y="34762"/>
                    </a:lnTo>
                    <a:lnTo>
                      <a:pt x="385202" y="33441"/>
                    </a:lnTo>
                    <a:lnTo>
                      <a:pt x="387469" y="35218"/>
                    </a:lnTo>
                    <a:lnTo>
                      <a:pt x="388857" y="34692"/>
                    </a:lnTo>
                    <a:lnTo>
                      <a:pt x="389663" y="32309"/>
                    </a:lnTo>
                    <a:lnTo>
                      <a:pt x="395487" y="30829"/>
                    </a:lnTo>
                    <a:lnTo>
                      <a:pt x="399181" y="32195"/>
                    </a:lnTo>
                    <a:lnTo>
                      <a:pt x="401162" y="33608"/>
                    </a:lnTo>
                    <a:lnTo>
                      <a:pt x="402082" y="36320"/>
                    </a:lnTo>
                    <a:lnTo>
                      <a:pt x="403489" y="41674"/>
                    </a:lnTo>
                    <a:lnTo>
                      <a:pt x="406374" y="44557"/>
                    </a:lnTo>
                    <a:lnTo>
                      <a:pt x="408165" y="45971"/>
                    </a:lnTo>
                    <a:lnTo>
                      <a:pt x="410287" y="46362"/>
                    </a:lnTo>
                    <a:lnTo>
                      <a:pt x="411311" y="44924"/>
                    </a:lnTo>
                    <a:lnTo>
                      <a:pt x="409322" y="43190"/>
                    </a:lnTo>
                    <a:lnTo>
                      <a:pt x="408786" y="41556"/>
                    </a:lnTo>
                    <a:lnTo>
                      <a:pt x="409739" y="37494"/>
                    </a:lnTo>
                    <a:lnTo>
                      <a:pt x="410851" y="35896"/>
                    </a:lnTo>
                    <a:lnTo>
                      <a:pt x="417083" y="29833"/>
                    </a:lnTo>
                    <a:lnTo>
                      <a:pt x="422300" y="26680"/>
                    </a:lnTo>
                    <a:lnTo>
                      <a:pt x="425424" y="26417"/>
                    </a:lnTo>
                    <a:lnTo>
                      <a:pt x="430888" y="19331"/>
                    </a:lnTo>
                    <a:lnTo>
                      <a:pt x="432436" y="18040"/>
                    </a:lnTo>
                    <a:lnTo>
                      <a:pt x="433861" y="17743"/>
                    </a:lnTo>
                    <a:lnTo>
                      <a:pt x="433496" y="16004"/>
                    </a:lnTo>
                    <a:lnTo>
                      <a:pt x="430503" y="14903"/>
                    </a:lnTo>
                    <a:lnTo>
                      <a:pt x="430400" y="12748"/>
                    </a:lnTo>
                    <a:lnTo>
                      <a:pt x="434343" y="10121"/>
                    </a:lnTo>
                    <a:lnTo>
                      <a:pt x="439124" y="5706"/>
                    </a:lnTo>
                    <a:lnTo>
                      <a:pt x="441484" y="5406"/>
                    </a:lnTo>
                    <a:lnTo>
                      <a:pt x="442963" y="6634"/>
                    </a:lnTo>
                    <a:lnTo>
                      <a:pt x="447619" y="8627"/>
                    </a:lnTo>
                    <a:lnTo>
                      <a:pt x="450471" y="10908"/>
                    </a:lnTo>
                    <a:lnTo>
                      <a:pt x="452538" y="12056"/>
                    </a:lnTo>
                    <a:lnTo>
                      <a:pt x="453881" y="11818"/>
                    </a:lnTo>
                    <a:lnTo>
                      <a:pt x="454991" y="10105"/>
                    </a:lnTo>
                    <a:lnTo>
                      <a:pt x="456325" y="9303"/>
                    </a:lnTo>
                    <a:lnTo>
                      <a:pt x="459286" y="9753"/>
                    </a:lnTo>
                    <a:lnTo>
                      <a:pt x="461052" y="10855"/>
                    </a:lnTo>
                    <a:lnTo>
                      <a:pt x="462428" y="11000"/>
                    </a:lnTo>
                    <a:lnTo>
                      <a:pt x="463672" y="11667"/>
                    </a:lnTo>
                    <a:lnTo>
                      <a:pt x="463965" y="13131"/>
                    </a:lnTo>
                    <a:lnTo>
                      <a:pt x="461404" y="14725"/>
                    </a:lnTo>
                    <a:lnTo>
                      <a:pt x="457040" y="18947"/>
                    </a:lnTo>
                    <a:lnTo>
                      <a:pt x="452734" y="23737"/>
                    </a:lnTo>
                    <a:lnTo>
                      <a:pt x="451314" y="26255"/>
                    </a:lnTo>
                    <a:lnTo>
                      <a:pt x="449923" y="32850"/>
                    </a:lnTo>
                    <a:lnTo>
                      <a:pt x="446558" y="37058"/>
                    </a:lnTo>
                    <a:lnTo>
                      <a:pt x="446304" y="40003"/>
                    </a:lnTo>
                    <a:lnTo>
                      <a:pt x="447655" y="41390"/>
                    </a:lnTo>
                    <a:lnTo>
                      <a:pt x="451369" y="40302"/>
                    </a:lnTo>
                    <a:lnTo>
                      <a:pt x="455947" y="36371"/>
                    </a:lnTo>
                    <a:lnTo>
                      <a:pt x="457090" y="32191"/>
                    </a:lnTo>
                    <a:lnTo>
                      <a:pt x="468535" y="20815"/>
                    </a:lnTo>
                    <a:lnTo>
                      <a:pt x="473903" y="14505"/>
                    </a:lnTo>
                    <a:lnTo>
                      <a:pt x="480007" y="9265"/>
                    </a:lnTo>
                    <a:lnTo>
                      <a:pt x="483421" y="8179"/>
                    </a:lnTo>
                    <a:lnTo>
                      <a:pt x="485028" y="11651"/>
                    </a:lnTo>
                    <a:lnTo>
                      <a:pt x="483734" y="16179"/>
                    </a:lnTo>
                    <a:lnTo>
                      <a:pt x="481141" y="19061"/>
                    </a:lnTo>
                    <a:lnTo>
                      <a:pt x="483052" y="20380"/>
                    </a:lnTo>
                    <a:lnTo>
                      <a:pt x="482687" y="23797"/>
                    </a:lnTo>
                    <a:lnTo>
                      <a:pt x="482091" y="25693"/>
                    </a:lnTo>
                    <a:lnTo>
                      <a:pt x="481711" y="27676"/>
                    </a:lnTo>
                    <a:lnTo>
                      <a:pt x="481735" y="29424"/>
                    </a:lnTo>
                    <a:lnTo>
                      <a:pt x="483527" y="28958"/>
                    </a:lnTo>
                    <a:lnTo>
                      <a:pt x="490675" y="25377"/>
                    </a:lnTo>
                    <a:lnTo>
                      <a:pt x="492486" y="21493"/>
                    </a:lnTo>
                    <a:lnTo>
                      <a:pt x="494166" y="18577"/>
                    </a:lnTo>
                    <a:lnTo>
                      <a:pt x="494972" y="16055"/>
                    </a:lnTo>
                    <a:lnTo>
                      <a:pt x="497751" y="13663"/>
                    </a:lnTo>
                    <a:lnTo>
                      <a:pt x="502994" y="13645"/>
                    </a:lnTo>
                    <a:lnTo>
                      <a:pt x="503197" y="12704"/>
                    </a:lnTo>
                    <a:lnTo>
                      <a:pt x="496859" y="9377"/>
                    </a:lnTo>
                    <a:lnTo>
                      <a:pt x="496112" y="7877"/>
                    </a:lnTo>
                    <a:lnTo>
                      <a:pt x="498243" y="5879"/>
                    </a:lnTo>
                    <a:close/>
                    <a:moveTo>
                      <a:pt x="459651" y="0"/>
                    </a:moveTo>
                    <a:lnTo>
                      <a:pt x="465559" y="1548"/>
                    </a:lnTo>
                    <a:lnTo>
                      <a:pt x="467582" y="1516"/>
                    </a:lnTo>
                    <a:lnTo>
                      <a:pt x="470515" y="4407"/>
                    </a:lnTo>
                    <a:lnTo>
                      <a:pt x="472046" y="4151"/>
                    </a:lnTo>
                    <a:lnTo>
                      <a:pt x="471756" y="5916"/>
                    </a:lnTo>
                    <a:lnTo>
                      <a:pt x="468792" y="6752"/>
                    </a:lnTo>
                    <a:lnTo>
                      <a:pt x="464183" y="7260"/>
                    </a:lnTo>
                    <a:lnTo>
                      <a:pt x="463495" y="7611"/>
                    </a:lnTo>
                    <a:lnTo>
                      <a:pt x="459556" y="7329"/>
                    </a:lnTo>
                    <a:lnTo>
                      <a:pt x="457345" y="4956"/>
                    </a:lnTo>
                    <a:lnTo>
                      <a:pt x="453650" y="4368"/>
                    </a:lnTo>
                    <a:lnTo>
                      <a:pt x="453656" y="3606"/>
                    </a:lnTo>
                    <a:lnTo>
                      <a:pt x="456049" y="1809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8" name="ee4p_PL_1_15912">
                <a:extLst>
                  <a:ext uri="{FF2B5EF4-FFF2-40B4-BE49-F238E27FC236}">
                    <a16:creationId xmlns:a16="http://schemas.microsoft.com/office/drawing/2014/main" id="{CF55D588-DB34-E80B-9179-7AAE07CFC865}"/>
                  </a:ext>
                </a:extLst>
              </p:cNvPr>
              <p:cNvSpPr>
                <a:spLocks noChangeAspect="1"/>
              </p:cNvSpPr>
              <p:nvPr>
                <p:custDataLst>
                  <p:tags r:id="rId269"/>
                </p:custDataLst>
              </p:nvPr>
            </p:nvSpPr>
            <p:spPr>
              <a:xfrm>
                <a:off x="5010188" y="3961215"/>
                <a:ext cx="874577" cy="681812"/>
              </a:xfrm>
              <a:custGeom>
                <a:avLst/>
                <a:gdLst/>
                <a:ahLst/>
                <a:cxnLst/>
                <a:rect l="0" t="0" r="0" b="0"/>
                <a:pathLst>
                  <a:path w="220617" h="171991">
                    <a:moveTo>
                      <a:pt x="121082" y="11596"/>
                    </a:moveTo>
                    <a:lnTo>
                      <a:pt x="121963" y="11965"/>
                    </a:lnTo>
                    <a:lnTo>
                      <a:pt x="128156" y="12364"/>
                    </a:lnTo>
                    <a:lnTo>
                      <a:pt x="134433" y="12768"/>
                    </a:lnTo>
                    <a:lnTo>
                      <a:pt x="144528" y="13198"/>
                    </a:lnTo>
                    <a:lnTo>
                      <a:pt x="155049" y="13651"/>
                    </a:lnTo>
                    <a:lnTo>
                      <a:pt x="165965" y="14118"/>
                    </a:lnTo>
                    <a:lnTo>
                      <a:pt x="177778" y="14624"/>
                    </a:lnTo>
                    <a:lnTo>
                      <a:pt x="190236" y="14922"/>
                    </a:lnTo>
                    <a:lnTo>
                      <a:pt x="190996" y="14718"/>
                    </a:lnTo>
                    <a:lnTo>
                      <a:pt x="192268" y="13529"/>
                    </a:lnTo>
                    <a:lnTo>
                      <a:pt x="193821" y="13690"/>
                    </a:lnTo>
                    <a:lnTo>
                      <a:pt x="195652" y="14427"/>
                    </a:lnTo>
                    <a:lnTo>
                      <a:pt x="196509" y="14976"/>
                    </a:lnTo>
                    <a:lnTo>
                      <a:pt x="196872" y="15599"/>
                    </a:lnTo>
                    <a:lnTo>
                      <a:pt x="197098" y="16320"/>
                    </a:lnTo>
                    <a:lnTo>
                      <a:pt x="198100" y="16464"/>
                    </a:lnTo>
                    <a:lnTo>
                      <a:pt x="199931" y="17013"/>
                    </a:lnTo>
                    <a:lnTo>
                      <a:pt x="202408" y="18265"/>
                    </a:lnTo>
                    <a:lnTo>
                      <a:pt x="204349" y="19477"/>
                    </a:lnTo>
                    <a:lnTo>
                      <a:pt x="206196" y="21210"/>
                    </a:lnTo>
                    <a:lnTo>
                      <a:pt x="206809" y="23168"/>
                    </a:lnTo>
                    <a:lnTo>
                      <a:pt x="206846" y="25385"/>
                    </a:lnTo>
                    <a:lnTo>
                      <a:pt x="206727" y="26811"/>
                    </a:lnTo>
                    <a:lnTo>
                      <a:pt x="206883" y="27391"/>
                    </a:lnTo>
                    <a:lnTo>
                      <a:pt x="209409" y="37691"/>
                    </a:lnTo>
                    <a:lnTo>
                      <a:pt x="213618" y="47576"/>
                    </a:lnTo>
                    <a:lnTo>
                      <a:pt x="215164" y="52344"/>
                    </a:lnTo>
                    <a:lnTo>
                      <a:pt x="215781" y="54879"/>
                    </a:lnTo>
                    <a:lnTo>
                      <a:pt x="216274" y="58550"/>
                    </a:lnTo>
                    <a:lnTo>
                      <a:pt x="216427" y="61124"/>
                    </a:lnTo>
                    <a:lnTo>
                      <a:pt x="216408" y="62573"/>
                    </a:lnTo>
                    <a:lnTo>
                      <a:pt x="216094" y="64562"/>
                    </a:lnTo>
                    <a:lnTo>
                      <a:pt x="214844" y="65737"/>
                    </a:lnTo>
                    <a:lnTo>
                      <a:pt x="206770" y="69093"/>
                    </a:lnTo>
                    <a:lnTo>
                      <a:pt x="205252" y="70145"/>
                    </a:lnTo>
                    <a:lnTo>
                      <a:pt x="202872" y="72758"/>
                    </a:lnTo>
                    <a:lnTo>
                      <a:pt x="200679" y="75446"/>
                    </a:lnTo>
                    <a:lnTo>
                      <a:pt x="200173" y="76364"/>
                    </a:lnTo>
                    <a:lnTo>
                      <a:pt x="200037" y="76968"/>
                    </a:lnTo>
                    <a:lnTo>
                      <a:pt x="200521" y="77849"/>
                    </a:lnTo>
                    <a:lnTo>
                      <a:pt x="203399" y="79287"/>
                    </a:lnTo>
                    <a:lnTo>
                      <a:pt x="206302" y="80441"/>
                    </a:lnTo>
                    <a:lnTo>
                      <a:pt x="207247" y="81304"/>
                    </a:lnTo>
                    <a:lnTo>
                      <a:pt x="209388" y="82409"/>
                    </a:lnTo>
                    <a:lnTo>
                      <a:pt x="210169" y="83400"/>
                    </a:lnTo>
                    <a:lnTo>
                      <a:pt x="210592" y="84264"/>
                    </a:lnTo>
                    <a:lnTo>
                      <a:pt x="210562" y="86257"/>
                    </a:lnTo>
                    <a:lnTo>
                      <a:pt x="209597" y="89011"/>
                    </a:lnTo>
                    <a:lnTo>
                      <a:pt x="210001" y="91090"/>
                    </a:lnTo>
                    <a:lnTo>
                      <a:pt x="209020" y="92474"/>
                    </a:lnTo>
                    <a:lnTo>
                      <a:pt x="208213" y="94011"/>
                    </a:lnTo>
                    <a:lnTo>
                      <a:pt x="208098" y="96701"/>
                    </a:lnTo>
                    <a:lnTo>
                      <a:pt x="209550" y="99671"/>
                    </a:lnTo>
                    <a:lnTo>
                      <a:pt x="210735" y="101697"/>
                    </a:lnTo>
                    <a:lnTo>
                      <a:pt x="211195" y="103284"/>
                    </a:lnTo>
                    <a:lnTo>
                      <a:pt x="210707" y="104529"/>
                    </a:lnTo>
                    <a:lnTo>
                      <a:pt x="210858" y="105774"/>
                    </a:lnTo>
                    <a:lnTo>
                      <a:pt x="211914" y="107090"/>
                    </a:lnTo>
                    <a:lnTo>
                      <a:pt x="215259" y="111158"/>
                    </a:lnTo>
                    <a:lnTo>
                      <a:pt x="216909" y="115066"/>
                    </a:lnTo>
                    <a:lnTo>
                      <a:pt x="217963" y="116587"/>
                    </a:lnTo>
                    <a:lnTo>
                      <a:pt x="220396" y="118562"/>
                    </a:lnTo>
                    <a:lnTo>
                      <a:pt x="220616" y="119372"/>
                    </a:lnTo>
                    <a:lnTo>
                      <a:pt x="219640" y="120114"/>
                    </a:lnTo>
                    <a:lnTo>
                      <a:pt x="218852" y="120212"/>
                    </a:lnTo>
                    <a:lnTo>
                      <a:pt x="218213" y="120409"/>
                    </a:lnTo>
                    <a:lnTo>
                      <a:pt x="217801" y="121102"/>
                    </a:lnTo>
                    <a:lnTo>
                      <a:pt x="218440" y="121843"/>
                    </a:lnTo>
                    <a:lnTo>
                      <a:pt x="219301" y="122931"/>
                    </a:lnTo>
                    <a:lnTo>
                      <a:pt x="220372" y="126008"/>
                    </a:lnTo>
                    <a:lnTo>
                      <a:pt x="220266" y="128524"/>
                    </a:lnTo>
                    <a:lnTo>
                      <a:pt x="219442" y="129164"/>
                    </a:lnTo>
                    <a:lnTo>
                      <a:pt x="218388" y="130656"/>
                    </a:lnTo>
                    <a:lnTo>
                      <a:pt x="217673" y="132019"/>
                    </a:lnTo>
                    <a:lnTo>
                      <a:pt x="211903" y="132968"/>
                    </a:lnTo>
                    <a:lnTo>
                      <a:pt x="210517" y="134426"/>
                    </a:lnTo>
                    <a:lnTo>
                      <a:pt x="207358" y="137241"/>
                    </a:lnTo>
                    <a:lnTo>
                      <a:pt x="205201" y="138859"/>
                    </a:lnTo>
                    <a:lnTo>
                      <a:pt x="202013" y="141780"/>
                    </a:lnTo>
                    <a:lnTo>
                      <a:pt x="196969" y="146796"/>
                    </a:lnTo>
                    <a:lnTo>
                      <a:pt x="195110" y="148891"/>
                    </a:lnTo>
                    <a:lnTo>
                      <a:pt x="193749" y="150622"/>
                    </a:lnTo>
                    <a:lnTo>
                      <a:pt x="189668" y="155225"/>
                    </a:lnTo>
                    <a:lnTo>
                      <a:pt x="188413" y="157155"/>
                    </a:lnTo>
                    <a:lnTo>
                      <a:pt x="188662" y="158743"/>
                    </a:lnTo>
                    <a:lnTo>
                      <a:pt x="189972" y="162467"/>
                    </a:lnTo>
                    <a:lnTo>
                      <a:pt x="190249" y="164146"/>
                    </a:lnTo>
                    <a:lnTo>
                      <a:pt x="190018" y="165698"/>
                    </a:lnTo>
                    <a:lnTo>
                      <a:pt x="189584" y="167078"/>
                    </a:lnTo>
                    <a:lnTo>
                      <a:pt x="189657" y="167693"/>
                    </a:lnTo>
                    <a:lnTo>
                      <a:pt x="190862" y="168693"/>
                    </a:lnTo>
                    <a:lnTo>
                      <a:pt x="192784" y="170263"/>
                    </a:lnTo>
                    <a:lnTo>
                      <a:pt x="192894" y="170792"/>
                    </a:lnTo>
                    <a:lnTo>
                      <a:pt x="192622" y="171472"/>
                    </a:lnTo>
                    <a:lnTo>
                      <a:pt x="191959" y="171990"/>
                    </a:lnTo>
                    <a:lnTo>
                      <a:pt x="189560" y="171443"/>
                    </a:lnTo>
                    <a:lnTo>
                      <a:pt x="186878" y="170379"/>
                    </a:lnTo>
                    <a:lnTo>
                      <a:pt x="185965" y="170507"/>
                    </a:lnTo>
                    <a:lnTo>
                      <a:pt x="184513" y="170262"/>
                    </a:lnTo>
                    <a:lnTo>
                      <a:pt x="178532" y="168207"/>
                    </a:lnTo>
                    <a:lnTo>
                      <a:pt x="174498" y="166597"/>
                    </a:lnTo>
                    <a:lnTo>
                      <a:pt x="174101" y="165551"/>
                    </a:lnTo>
                    <a:lnTo>
                      <a:pt x="173339" y="164034"/>
                    </a:lnTo>
                    <a:lnTo>
                      <a:pt x="171624" y="162763"/>
                    </a:lnTo>
                    <a:lnTo>
                      <a:pt x="167688" y="161661"/>
                    </a:lnTo>
                    <a:lnTo>
                      <a:pt x="166085" y="160800"/>
                    </a:lnTo>
                    <a:lnTo>
                      <a:pt x="159691" y="160319"/>
                    </a:lnTo>
                    <a:lnTo>
                      <a:pt x="156917" y="160299"/>
                    </a:lnTo>
                    <a:lnTo>
                      <a:pt x="154952" y="160655"/>
                    </a:lnTo>
                    <a:lnTo>
                      <a:pt x="153697" y="160619"/>
                    </a:lnTo>
                    <a:lnTo>
                      <a:pt x="151967" y="162867"/>
                    </a:lnTo>
                    <a:lnTo>
                      <a:pt x="150775" y="163518"/>
                    </a:lnTo>
                    <a:lnTo>
                      <a:pt x="149033" y="163587"/>
                    </a:lnTo>
                    <a:lnTo>
                      <a:pt x="147508" y="163187"/>
                    </a:lnTo>
                    <a:lnTo>
                      <a:pt x="145949" y="162005"/>
                    </a:lnTo>
                    <a:lnTo>
                      <a:pt x="143453" y="161381"/>
                    </a:lnTo>
                    <a:lnTo>
                      <a:pt x="141650" y="161682"/>
                    </a:lnTo>
                    <a:lnTo>
                      <a:pt x="140322" y="161424"/>
                    </a:lnTo>
                    <a:lnTo>
                      <a:pt x="139175" y="161363"/>
                    </a:lnTo>
                    <a:lnTo>
                      <a:pt x="138778" y="161599"/>
                    </a:lnTo>
                    <a:lnTo>
                      <a:pt x="137856" y="161566"/>
                    </a:lnTo>
                    <a:lnTo>
                      <a:pt x="136519" y="162131"/>
                    </a:lnTo>
                    <a:lnTo>
                      <a:pt x="135059" y="162930"/>
                    </a:lnTo>
                    <a:lnTo>
                      <a:pt x="133448" y="163538"/>
                    </a:lnTo>
                    <a:lnTo>
                      <a:pt x="132209" y="164845"/>
                    </a:lnTo>
                    <a:lnTo>
                      <a:pt x="131103" y="167404"/>
                    </a:lnTo>
                    <a:lnTo>
                      <a:pt x="127974" y="166258"/>
                    </a:lnTo>
                    <a:lnTo>
                      <a:pt x="126931" y="166755"/>
                    </a:lnTo>
                    <a:lnTo>
                      <a:pt x="125457" y="167089"/>
                    </a:lnTo>
                    <a:lnTo>
                      <a:pt x="124448" y="166744"/>
                    </a:lnTo>
                    <a:lnTo>
                      <a:pt x="124686" y="165862"/>
                    </a:lnTo>
                    <a:lnTo>
                      <a:pt x="125141" y="164868"/>
                    </a:lnTo>
                    <a:lnTo>
                      <a:pt x="125120" y="163477"/>
                    </a:lnTo>
                    <a:lnTo>
                      <a:pt x="124830" y="161941"/>
                    </a:lnTo>
                    <a:lnTo>
                      <a:pt x="123861" y="161441"/>
                    </a:lnTo>
                    <a:lnTo>
                      <a:pt x="122403" y="161257"/>
                    </a:lnTo>
                    <a:lnTo>
                      <a:pt x="121654" y="160953"/>
                    </a:lnTo>
                    <a:lnTo>
                      <a:pt x="121574" y="160445"/>
                    </a:lnTo>
                    <a:lnTo>
                      <a:pt x="120831" y="159792"/>
                    </a:lnTo>
                    <a:lnTo>
                      <a:pt x="119542" y="158138"/>
                    </a:lnTo>
                    <a:lnTo>
                      <a:pt x="118324" y="156082"/>
                    </a:lnTo>
                    <a:lnTo>
                      <a:pt x="117482" y="155469"/>
                    </a:lnTo>
                    <a:lnTo>
                      <a:pt x="116258" y="156448"/>
                    </a:lnTo>
                    <a:lnTo>
                      <a:pt x="114403" y="157561"/>
                    </a:lnTo>
                    <a:lnTo>
                      <a:pt x="113250" y="157947"/>
                    </a:lnTo>
                    <a:lnTo>
                      <a:pt x="111021" y="161143"/>
                    </a:lnTo>
                    <a:lnTo>
                      <a:pt x="107017" y="161251"/>
                    </a:lnTo>
                    <a:lnTo>
                      <a:pt x="106771" y="159759"/>
                    </a:lnTo>
                    <a:lnTo>
                      <a:pt x="106350" y="158324"/>
                    </a:lnTo>
                    <a:lnTo>
                      <a:pt x="104007" y="157965"/>
                    </a:lnTo>
                    <a:lnTo>
                      <a:pt x="103942" y="157123"/>
                    </a:lnTo>
                    <a:lnTo>
                      <a:pt x="103448" y="155009"/>
                    </a:lnTo>
                    <a:lnTo>
                      <a:pt x="98754" y="150865"/>
                    </a:lnTo>
                    <a:lnTo>
                      <a:pt x="98183" y="149134"/>
                    </a:lnTo>
                    <a:lnTo>
                      <a:pt x="98367" y="148466"/>
                    </a:lnTo>
                    <a:lnTo>
                      <a:pt x="98041" y="147364"/>
                    </a:lnTo>
                    <a:lnTo>
                      <a:pt x="97020" y="146700"/>
                    </a:lnTo>
                    <a:lnTo>
                      <a:pt x="93310" y="145909"/>
                    </a:lnTo>
                    <a:lnTo>
                      <a:pt x="92355" y="146364"/>
                    </a:lnTo>
                    <a:lnTo>
                      <a:pt x="91494" y="145896"/>
                    </a:lnTo>
                    <a:lnTo>
                      <a:pt x="90144" y="144902"/>
                    </a:lnTo>
                    <a:lnTo>
                      <a:pt x="87799" y="144093"/>
                    </a:lnTo>
                    <a:lnTo>
                      <a:pt x="87544" y="143674"/>
                    </a:lnTo>
                    <a:lnTo>
                      <a:pt x="86700" y="142962"/>
                    </a:lnTo>
                    <a:lnTo>
                      <a:pt x="86231" y="142866"/>
                    </a:lnTo>
                    <a:lnTo>
                      <a:pt x="85929" y="143299"/>
                    </a:lnTo>
                    <a:lnTo>
                      <a:pt x="85247" y="143911"/>
                    </a:lnTo>
                    <a:lnTo>
                      <a:pt x="82837" y="144685"/>
                    </a:lnTo>
                    <a:lnTo>
                      <a:pt x="81874" y="144366"/>
                    </a:lnTo>
                    <a:lnTo>
                      <a:pt x="80999" y="143694"/>
                    </a:lnTo>
                    <a:lnTo>
                      <a:pt x="80001" y="142245"/>
                    </a:lnTo>
                    <a:lnTo>
                      <a:pt x="78552" y="140973"/>
                    </a:lnTo>
                    <a:lnTo>
                      <a:pt x="77358" y="140522"/>
                    </a:lnTo>
                    <a:lnTo>
                      <a:pt x="76678" y="139854"/>
                    </a:lnTo>
                    <a:lnTo>
                      <a:pt x="76525" y="139335"/>
                    </a:lnTo>
                    <a:lnTo>
                      <a:pt x="79176" y="138291"/>
                    </a:lnTo>
                    <a:lnTo>
                      <a:pt x="79755" y="137214"/>
                    </a:lnTo>
                    <a:lnTo>
                      <a:pt x="79416" y="135249"/>
                    </a:lnTo>
                    <a:lnTo>
                      <a:pt x="79021" y="135001"/>
                    </a:lnTo>
                    <a:lnTo>
                      <a:pt x="77970" y="135666"/>
                    </a:lnTo>
                    <a:lnTo>
                      <a:pt x="75756" y="136250"/>
                    </a:lnTo>
                    <a:lnTo>
                      <a:pt x="73716" y="136519"/>
                    </a:lnTo>
                    <a:lnTo>
                      <a:pt x="72675" y="136519"/>
                    </a:lnTo>
                    <a:lnTo>
                      <a:pt x="66853" y="132940"/>
                    </a:lnTo>
                    <a:lnTo>
                      <a:pt x="63067" y="131844"/>
                    </a:lnTo>
                    <a:lnTo>
                      <a:pt x="60841" y="131526"/>
                    </a:lnTo>
                    <a:lnTo>
                      <a:pt x="60599" y="131890"/>
                    </a:lnTo>
                    <a:lnTo>
                      <a:pt x="61608" y="133899"/>
                    </a:lnTo>
                    <a:lnTo>
                      <a:pt x="63346" y="136376"/>
                    </a:lnTo>
                    <a:lnTo>
                      <a:pt x="63264" y="137036"/>
                    </a:lnTo>
                    <a:lnTo>
                      <a:pt x="61178" y="138048"/>
                    </a:lnTo>
                    <a:lnTo>
                      <a:pt x="59995" y="138489"/>
                    </a:lnTo>
                    <a:lnTo>
                      <a:pt x="58597" y="139347"/>
                    </a:lnTo>
                    <a:lnTo>
                      <a:pt x="57418" y="140532"/>
                    </a:lnTo>
                    <a:lnTo>
                      <a:pt x="56397" y="141069"/>
                    </a:lnTo>
                    <a:lnTo>
                      <a:pt x="55514" y="140934"/>
                    </a:lnTo>
                    <a:lnTo>
                      <a:pt x="54574" y="140362"/>
                    </a:lnTo>
                    <a:lnTo>
                      <a:pt x="52163" y="136704"/>
                    </a:lnTo>
                    <a:lnTo>
                      <a:pt x="49131" y="133899"/>
                    </a:lnTo>
                    <a:lnTo>
                      <a:pt x="48770" y="133271"/>
                    </a:lnTo>
                    <a:lnTo>
                      <a:pt x="47822" y="133126"/>
                    </a:lnTo>
                    <a:lnTo>
                      <a:pt x="46483" y="132482"/>
                    </a:lnTo>
                    <a:lnTo>
                      <a:pt x="46032" y="131623"/>
                    </a:lnTo>
                    <a:lnTo>
                      <a:pt x="46704" y="130724"/>
                    </a:lnTo>
                    <a:lnTo>
                      <a:pt x="47628" y="129902"/>
                    </a:lnTo>
                    <a:lnTo>
                      <a:pt x="49267" y="129395"/>
                    </a:lnTo>
                    <a:lnTo>
                      <a:pt x="49764" y="128918"/>
                    </a:lnTo>
                    <a:lnTo>
                      <a:pt x="50055" y="128199"/>
                    </a:lnTo>
                    <a:lnTo>
                      <a:pt x="50662" y="127270"/>
                    </a:lnTo>
                    <a:lnTo>
                      <a:pt x="50502" y="126935"/>
                    </a:lnTo>
                    <a:lnTo>
                      <a:pt x="49340" y="125882"/>
                    </a:lnTo>
                    <a:lnTo>
                      <a:pt x="47621" y="124886"/>
                    </a:lnTo>
                    <a:lnTo>
                      <a:pt x="42849" y="125634"/>
                    </a:lnTo>
                    <a:lnTo>
                      <a:pt x="41540" y="126166"/>
                    </a:lnTo>
                    <a:lnTo>
                      <a:pt x="40802" y="125473"/>
                    </a:lnTo>
                    <a:lnTo>
                      <a:pt x="40243" y="124460"/>
                    </a:lnTo>
                    <a:lnTo>
                      <a:pt x="39035" y="124267"/>
                    </a:lnTo>
                    <a:lnTo>
                      <a:pt x="37384" y="123342"/>
                    </a:lnTo>
                    <a:lnTo>
                      <a:pt x="35423" y="122439"/>
                    </a:lnTo>
                    <a:lnTo>
                      <a:pt x="33508" y="122172"/>
                    </a:lnTo>
                    <a:lnTo>
                      <a:pt x="29528" y="120862"/>
                    </a:lnTo>
                    <a:lnTo>
                      <a:pt x="27995" y="120791"/>
                    </a:lnTo>
                    <a:lnTo>
                      <a:pt x="27105" y="120340"/>
                    </a:lnTo>
                    <a:lnTo>
                      <a:pt x="26181" y="119349"/>
                    </a:lnTo>
                    <a:lnTo>
                      <a:pt x="25395" y="118263"/>
                    </a:lnTo>
                    <a:lnTo>
                      <a:pt x="24987" y="116058"/>
                    </a:lnTo>
                    <a:lnTo>
                      <a:pt x="22054" y="115056"/>
                    </a:lnTo>
                    <a:lnTo>
                      <a:pt x="19131" y="114428"/>
                    </a:lnTo>
                    <a:lnTo>
                      <a:pt x="18925" y="114748"/>
                    </a:lnTo>
                    <a:lnTo>
                      <a:pt x="19046" y="116972"/>
                    </a:lnTo>
                    <a:lnTo>
                      <a:pt x="18891" y="118159"/>
                    </a:lnTo>
                    <a:lnTo>
                      <a:pt x="16965" y="118893"/>
                    </a:lnTo>
                    <a:lnTo>
                      <a:pt x="15054" y="118963"/>
                    </a:lnTo>
                    <a:lnTo>
                      <a:pt x="15161" y="118594"/>
                    </a:lnTo>
                    <a:lnTo>
                      <a:pt x="17444" y="114592"/>
                    </a:lnTo>
                    <a:lnTo>
                      <a:pt x="18470" y="112068"/>
                    </a:lnTo>
                    <a:lnTo>
                      <a:pt x="19636" y="107454"/>
                    </a:lnTo>
                    <a:lnTo>
                      <a:pt x="18232" y="103806"/>
                    </a:lnTo>
                    <a:lnTo>
                      <a:pt x="17843" y="102097"/>
                    </a:lnTo>
                    <a:lnTo>
                      <a:pt x="17189" y="101276"/>
                    </a:lnTo>
                    <a:lnTo>
                      <a:pt x="13181" y="99496"/>
                    </a:lnTo>
                    <a:lnTo>
                      <a:pt x="12877" y="98878"/>
                    </a:lnTo>
                    <a:lnTo>
                      <a:pt x="13490" y="96459"/>
                    </a:lnTo>
                    <a:lnTo>
                      <a:pt x="13186" y="95441"/>
                    </a:lnTo>
                    <a:lnTo>
                      <a:pt x="12222" y="94366"/>
                    </a:lnTo>
                    <a:lnTo>
                      <a:pt x="10953" y="92226"/>
                    </a:lnTo>
                    <a:lnTo>
                      <a:pt x="10460" y="90410"/>
                    </a:lnTo>
                    <a:lnTo>
                      <a:pt x="12080" y="88271"/>
                    </a:lnTo>
                    <a:lnTo>
                      <a:pt x="12479" y="86700"/>
                    </a:lnTo>
                    <a:lnTo>
                      <a:pt x="13184" y="84546"/>
                    </a:lnTo>
                    <a:lnTo>
                      <a:pt x="13699" y="83364"/>
                    </a:lnTo>
                    <a:lnTo>
                      <a:pt x="13797" y="83038"/>
                    </a:lnTo>
                    <a:lnTo>
                      <a:pt x="12736" y="82198"/>
                    </a:lnTo>
                    <a:lnTo>
                      <a:pt x="12467" y="81018"/>
                    </a:lnTo>
                    <a:lnTo>
                      <a:pt x="12754" y="79316"/>
                    </a:lnTo>
                    <a:lnTo>
                      <a:pt x="12190" y="78055"/>
                    </a:lnTo>
                    <a:lnTo>
                      <a:pt x="10769" y="77235"/>
                    </a:lnTo>
                    <a:lnTo>
                      <a:pt x="9847" y="76151"/>
                    </a:lnTo>
                    <a:lnTo>
                      <a:pt x="9420" y="74800"/>
                    </a:lnTo>
                    <a:lnTo>
                      <a:pt x="9754" y="72677"/>
                    </a:lnTo>
                    <a:lnTo>
                      <a:pt x="10853" y="69779"/>
                    </a:lnTo>
                    <a:lnTo>
                      <a:pt x="8523" y="66291"/>
                    </a:lnTo>
                    <a:lnTo>
                      <a:pt x="2767" y="62206"/>
                    </a:lnTo>
                    <a:lnTo>
                      <a:pt x="0" y="59347"/>
                    </a:lnTo>
                    <a:lnTo>
                      <a:pt x="227" y="57713"/>
                    </a:lnTo>
                    <a:lnTo>
                      <a:pt x="1439" y="56233"/>
                    </a:lnTo>
                    <a:lnTo>
                      <a:pt x="3639" y="54902"/>
                    </a:lnTo>
                    <a:lnTo>
                      <a:pt x="5306" y="52540"/>
                    </a:lnTo>
                    <a:lnTo>
                      <a:pt x="6243" y="49736"/>
                    </a:lnTo>
                    <a:lnTo>
                      <a:pt x="6274" y="49204"/>
                    </a:lnTo>
                    <a:lnTo>
                      <a:pt x="6323" y="47199"/>
                    </a:lnTo>
                    <a:lnTo>
                      <a:pt x="3762" y="38982"/>
                    </a:lnTo>
                    <a:lnTo>
                      <a:pt x="3345" y="36921"/>
                    </a:lnTo>
                    <a:lnTo>
                      <a:pt x="3041" y="34433"/>
                    </a:lnTo>
                    <a:lnTo>
                      <a:pt x="2881" y="33753"/>
                    </a:lnTo>
                    <a:lnTo>
                      <a:pt x="7938" y="35498"/>
                    </a:lnTo>
                    <a:lnTo>
                      <a:pt x="10059" y="36480"/>
                    </a:lnTo>
                    <a:lnTo>
                      <a:pt x="9795" y="35377"/>
                    </a:lnTo>
                    <a:lnTo>
                      <a:pt x="9366" y="34427"/>
                    </a:lnTo>
                    <a:lnTo>
                      <a:pt x="9649" y="33031"/>
                    </a:lnTo>
                    <a:lnTo>
                      <a:pt x="9504" y="30923"/>
                    </a:lnTo>
                    <a:lnTo>
                      <a:pt x="4915" y="29847"/>
                    </a:lnTo>
                    <a:lnTo>
                      <a:pt x="1881" y="29483"/>
                    </a:lnTo>
                    <a:lnTo>
                      <a:pt x="1540" y="28020"/>
                    </a:lnTo>
                    <a:lnTo>
                      <a:pt x="1832" y="27072"/>
                    </a:lnTo>
                    <a:lnTo>
                      <a:pt x="2670" y="27630"/>
                    </a:lnTo>
                    <a:lnTo>
                      <a:pt x="5651" y="27849"/>
                    </a:lnTo>
                    <a:lnTo>
                      <a:pt x="12983" y="25011"/>
                    </a:lnTo>
                    <a:lnTo>
                      <a:pt x="25645" y="21319"/>
                    </a:lnTo>
                    <a:lnTo>
                      <a:pt x="39170" y="17850"/>
                    </a:lnTo>
                    <a:lnTo>
                      <a:pt x="42327" y="17472"/>
                    </a:lnTo>
                    <a:lnTo>
                      <a:pt x="45501" y="16741"/>
                    </a:lnTo>
                    <a:lnTo>
                      <a:pt x="46673" y="15441"/>
                    </a:lnTo>
                    <a:lnTo>
                      <a:pt x="47844" y="14571"/>
                    </a:lnTo>
                    <a:lnTo>
                      <a:pt x="49686" y="12276"/>
                    </a:lnTo>
                    <a:lnTo>
                      <a:pt x="53758" y="8706"/>
                    </a:lnTo>
                    <a:lnTo>
                      <a:pt x="60960" y="7404"/>
                    </a:lnTo>
                    <a:lnTo>
                      <a:pt x="63648" y="5708"/>
                    </a:lnTo>
                    <a:lnTo>
                      <a:pt x="69284" y="3330"/>
                    </a:lnTo>
                    <a:lnTo>
                      <a:pt x="82132" y="659"/>
                    </a:lnTo>
                    <a:lnTo>
                      <a:pt x="87499" y="72"/>
                    </a:lnTo>
                    <a:lnTo>
                      <a:pt x="92757" y="0"/>
                    </a:lnTo>
                    <a:lnTo>
                      <a:pt x="97439" y="2108"/>
                    </a:lnTo>
                    <a:lnTo>
                      <a:pt x="102394" y="4707"/>
                    </a:lnTo>
                    <a:lnTo>
                      <a:pt x="103286" y="6274"/>
                    </a:lnTo>
                    <a:lnTo>
                      <a:pt x="100604" y="5297"/>
                    </a:lnTo>
                    <a:lnTo>
                      <a:pt x="96696" y="2963"/>
                    </a:lnTo>
                    <a:lnTo>
                      <a:pt x="95251" y="2864"/>
                    </a:lnTo>
                    <a:lnTo>
                      <a:pt x="98587" y="9956"/>
                    </a:lnTo>
                    <a:lnTo>
                      <a:pt x="100412" y="12458"/>
                    </a:lnTo>
                    <a:lnTo>
                      <a:pt x="104100" y="14328"/>
                    </a:lnTo>
                    <a:lnTo>
                      <a:pt x="107192" y="14958"/>
                    </a:lnTo>
                    <a:lnTo>
                      <a:pt x="116720" y="13825"/>
                    </a:lnTo>
                    <a:lnTo>
                      <a:pt x="120103" y="1234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39" name="ee4p_PT_1_15912">
                <a:extLst>
                  <a:ext uri="{FF2B5EF4-FFF2-40B4-BE49-F238E27FC236}">
                    <a16:creationId xmlns:a16="http://schemas.microsoft.com/office/drawing/2014/main" id="{9EA317D3-A568-A156-1D06-A3C9E2091E03}"/>
                  </a:ext>
                </a:extLst>
              </p:cNvPr>
              <p:cNvSpPr>
                <a:spLocks noChangeAspect="1"/>
              </p:cNvSpPr>
              <p:nvPr>
                <p:custDataLst>
                  <p:tags r:id="rId270"/>
                </p:custDataLst>
              </p:nvPr>
            </p:nvSpPr>
            <p:spPr>
              <a:xfrm>
                <a:off x="2940741" y="5393876"/>
                <a:ext cx="286400" cy="528697"/>
              </a:xfrm>
              <a:custGeom>
                <a:avLst/>
                <a:gdLst/>
                <a:ahLst/>
                <a:cxnLst/>
                <a:rect l="0" t="0" r="0" b="0"/>
                <a:pathLst>
                  <a:path w="72246" h="133367">
                    <a:moveTo>
                      <a:pt x="28883" y="8426"/>
                    </a:moveTo>
                    <a:lnTo>
                      <a:pt x="29348" y="8638"/>
                    </a:lnTo>
                    <a:lnTo>
                      <a:pt x="30632" y="8579"/>
                    </a:lnTo>
                    <a:lnTo>
                      <a:pt x="32920" y="7579"/>
                    </a:lnTo>
                    <a:lnTo>
                      <a:pt x="34470" y="6738"/>
                    </a:lnTo>
                    <a:lnTo>
                      <a:pt x="35011" y="7084"/>
                    </a:lnTo>
                    <a:lnTo>
                      <a:pt x="39507" y="6609"/>
                    </a:lnTo>
                    <a:lnTo>
                      <a:pt x="40577" y="6994"/>
                    </a:lnTo>
                    <a:lnTo>
                      <a:pt x="41286" y="7419"/>
                    </a:lnTo>
                    <a:lnTo>
                      <a:pt x="43497" y="8001"/>
                    </a:lnTo>
                    <a:lnTo>
                      <a:pt x="45907" y="8062"/>
                    </a:lnTo>
                    <a:lnTo>
                      <a:pt x="48894" y="7248"/>
                    </a:lnTo>
                    <a:lnTo>
                      <a:pt x="50197" y="6430"/>
                    </a:lnTo>
                    <a:lnTo>
                      <a:pt x="50447" y="5524"/>
                    </a:lnTo>
                    <a:lnTo>
                      <a:pt x="50513" y="4839"/>
                    </a:lnTo>
                    <a:lnTo>
                      <a:pt x="50898" y="4402"/>
                    </a:lnTo>
                    <a:lnTo>
                      <a:pt x="51579" y="4151"/>
                    </a:lnTo>
                    <a:lnTo>
                      <a:pt x="52640" y="4600"/>
                    </a:lnTo>
                    <a:lnTo>
                      <a:pt x="54158" y="4961"/>
                    </a:lnTo>
                    <a:lnTo>
                      <a:pt x="57806" y="5103"/>
                    </a:lnTo>
                    <a:lnTo>
                      <a:pt x="58521" y="4602"/>
                    </a:lnTo>
                    <a:lnTo>
                      <a:pt x="59757" y="4752"/>
                    </a:lnTo>
                    <a:lnTo>
                      <a:pt x="61386" y="5387"/>
                    </a:lnTo>
                    <a:lnTo>
                      <a:pt x="63273" y="5180"/>
                    </a:lnTo>
                    <a:lnTo>
                      <a:pt x="64222" y="5957"/>
                    </a:lnTo>
                    <a:lnTo>
                      <a:pt x="64616" y="6990"/>
                    </a:lnTo>
                    <a:lnTo>
                      <a:pt x="64725" y="9232"/>
                    </a:lnTo>
                    <a:lnTo>
                      <a:pt x="64584" y="11496"/>
                    </a:lnTo>
                    <a:lnTo>
                      <a:pt x="64955" y="12331"/>
                    </a:lnTo>
                    <a:lnTo>
                      <a:pt x="66227" y="12546"/>
                    </a:lnTo>
                    <a:lnTo>
                      <a:pt x="68283" y="12520"/>
                    </a:lnTo>
                    <a:lnTo>
                      <a:pt x="70133" y="13134"/>
                    </a:lnTo>
                    <a:lnTo>
                      <a:pt x="71569" y="14202"/>
                    </a:lnTo>
                    <a:lnTo>
                      <a:pt x="72043" y="15296"/>
                    </a:lnTo>
                    <a:lnTo>
                      <a:pt x="72245" y="16047"/>
                    </a:lnTo>
                    <a:lnTo>
                      <a:pt x="71542" y="16473"/>
                    </a:lnTo>
                    <a:lnTo>
                      <a:pt x="70546" y="18082"/>
                    </a:lnTo>
                    <a:lnTo>
                      <a:pt x="68030" y="20184"/>
                    </a:lnTo>
                    <a:lnTo>
                      <a:pt x="64431" y="22076"/>
                    </a:lnTo>
                    <a:lnTo>
                      <a:pt x="61684" y="24428"/>
                    </a:lnTo>
                    <a:lnTo>
                      <a:pt x="59790" y="27241"/>
                    </a:lnTo>
                    <a:lnTo>
                      <a:pt x="57423" y="28434"/>
                    </a:lnTo>
                    <a:lnTo>
                      <a:pt x="56700" y="29076"/>
                    </a:lnTo>
                    <a:lnTo>
                      <a:pt x="56414" y="29836"/>
                    </a:lnTo>
                    <a:lnTo>
                      <a:pt x="57978" y="33276"/>
                    </a:lnTo>
                    <a:lnTo>
                      <a:pt x="58461" y="35924"/>
                    </a:lnTo>
                    <a:lnTo>
                      <a:pt x="58849" y="39163"/>
                    </a:lnTo>
                    <a:lnTo>
                      <a:pt x="58595" y="40080"/>
                    </a:lnTo>
                    <a:lnTo>
                      <a:pt x="58466" y="43641"/>
                    </a:lnTo>
                    <a:lnTo>
                      <a:pt x="58104" y="44686"/>
                    </a:lnTo>
                    <a:lnTo>
                      <a:pt x="58194" y="45530"/>
                    </a:lnTo>
                    <a:lnTo>
                      <a:pt x="58773" y="46439"/>
                    </a:lnTo>
                    <a:lnTo>
                      <a:pt x="59030" y="47306"/>
                    </a:lnTo>
                    <a:lnTo>
                      <a:pt x="57952" y="48414"/>
                    </a:lnTo>
                    <a:lnTo>
                      <a:pt x="55972" y="49698"/>
                    </a:lnTo>
                    <a:lnTo>
                      <a:pt x="54507" y="50828"/>
                    </a:lnTo>
                    <a:lnTo>
                      <a:pt x="54111" y="51884"/>
                    </a:lnTo>
                    <a:lnTo>
                      <a:pt x="54217" y="52545"/>
                    </a:lnTo>
                    <a:lnTo>
                      <a:pt x="56681" y="54784"/>
                    </a:lnTo>
                    <a:lnTo>
                      <a:pt x="57130" y="55697"/>
                    </a:lnTo>
                    <a:lnTo>
                      <a:pt x="56796" y="57905"/>
                    </a:lnTo>
                    <a:lnTo>
                      <a:pt x="55376" y="61518"/>
                    </a:lnTo>
                    <a:lnTo>
                      <a:pt x="54020" y="63715"/>
                    </a:lnTo>
                    <a:lnTo>
                      <a:pt x="53784" y="63933"/>
                    </a:lnTo>
                    <a:lnTo>
                      <a:pt x="52230" y="64554"/>
                    </a:lnTo>
                    <a:lnTo>
                      <a:pt x="44791" y="64581"/>
                    </a:lnTo>
                    <a:lnTo>
                      <a:pt x="42987" y="65077"/>
                    </a:lnTo>
                    <a:lnTo>
                      <a:pt x="43241" y="65515"/>
                    </a:lnTo>
                    <a:lnTo>
                      <a:pt x="44990" y="68335"/>
                    </a:lnTo>
                    <a:lnTo>
                      <a:pt x="46812" y="69837"/>
                    </a:lnTo>
                    <a:lnTo>
                      <a:pt x="47415" y="70179"/>
                    </a:lnTo>
                    <a:lnTo>
                      <a:pt x="48071" y="73474"/>
                    </a:lnTo>
                    <a:lnTo>
                      <a:pt x="51020" y="78731"/>
                    </a:lnTo>
                    <a:lnTo>
                      <a:pt x="53882" y="79458"/>
                    </a:lnTo>
                    <a:lnTo>
                      <a:pt x="54877" y="80768"/>
                    </a:lnTo>
                    <a:lnTo>
                      <a:pt x="54694" y="82609"/>
                    </a:lnTo>
                    <a:lnTo>
                      <a:pt x="53814" y="84630"/>
                    </a:lnTo>
                    <a:lnTo>
                      <a:pt x="52057" y="86698"/>
                    </a:lnTo>
                    <a:lnTo>
                      <a:pt x="49969" y="88155"/>
                    </a:lnTo>
                    <a:lnTo>
                      <a:pt x="48607" y="89598"/>
                    </a:lnTo>
                    <a:lnTo>
                      <a:pt x="48500" y="91279"/>
                    </a:lnTo>
                    <a:lnTo>
                      <a:pt x="48067" y="93405"/>
                    </a:lnTo>
                    <a:lnTo>
                      <a:pt x="47407" y="95088"/>
                    </a:lnTo>
                    <a:lnTo>
                      <a:pt x="47247" y="96222"/>
                    </a:lnTo>
                    <a:lnTo>
                      <a:pt x="52479" y="103327"/>
                    </a:lnTo>
                    <a:lnTo>
                      <a:pt x="55389" y="102982"/>
                    </a:lnTo>
                    <a:lnTo>
                      <a:pt x="55770" y="103150"/>
                    </a:lnTo>
                    <a:lnTo>
                      <a:pt x="55250" y="104842"/>
                    </a:lnTo>
                    <a:lnTo>
                      <a:pt x="54327" y="106824"/>
                    </a:lnTo>
                    <a:lnTo>
                      <a:pt x="53229" y="107201"/>
                    </a:lnTo>
                    <a:lnTo>
                      <a:pt x="50732" y="107808"/>
                    </a:lnTo>
                    <a:lnTo>
                      <a:pt x="48370" y="110369"/>
                    </a:lnTo>
                    <a:lnTo>
                      <a:pt x="46454" y="113443"/>
                    </a:lnTo>
                    <a:lnTo>
                      <a:pt x="45016" y="114929"/>
                    </a:lnTo>
                    <a:lnTo>
                      <a:pt x="43698" y="118580"/>
                    </a:lnTo>
                    <a:lnTo>
                      <a:pt x="43864" y="120161"/>
                    </a:lnTo>
                    <a:lnTo>
                      <a:pt x="44502" y="122600"/>
                    </a:lnTo>
                    <a:lnTo>
                      <a:pt x="45851" y="128938"/>
                    </a:lnTo>
                    <a:lnTo>
                      <a:pt x="43918" y="129221"/>
                    </a:lnTo>
                    <a:lnTo>
                      <a:pt x="36388" y="133359"/>
                    </a:lnTo>
                    <a:lnTo>
                      <a:pt x="34053" y="133366"/>
                    </a:lnTo>
                    <a:lnTo>
                      <a:pt x="29696" y="131544"/>
                    </a:lnTo>
                    <a:lnTo>
                      <a:pt x="22011" y="130959"/>
                    </a:lnTo>
                    <a:lnTo>
                      <a:pt x="19505" y="130417"/>
                    </a:lnTo>
                    <a:lnTo>
                      <a:pt x="16377" y="131606"/>
                    </a:lnTo>
                    <a:lnTo>
                      <a:pt x="13959" y="131579"/>
                    </a:lnTo>
                    <a:lnTo>
                      <a:pt x="12037" y="133097"/>
                    </a:lnTo>
                    <a:lnTo>
                      <a:pt x="10656" y="132683"/>
                    </a:lnTo>
                    <a:lnTo>
                      <a:pt x="12239" y="129278"/>
                    </a:lnTo>
                    <a:lnTo>
                      <a:pt x="14717" y="122529"/>
                    </a:lnTo>
                    <a:lnTo>
                      <a:pt x="14620" y="118403"/>
                    </a:lnTo>
                    <a:lnTo>
                      <a:pt x="15211" y="114813"/>
                    </a:lnTo>
                    <a:lnTo>
                      <a:pt x="14529" y="111254"/>
                    </a:lnTo>
                    <a:lnTo>
                      <a:pt x="13285" y="109030"/>
                    </a:lnTo>
                    <a:lnTo>
                      <a:pt x="14981" y="103254"/>
                    </a:lnTo>
                    <a:lnTo>
                      <a:pt x="14788" y="100277"/>
                    </a:lnTo>
                    <a:lnTo>
                      <a:pt x="13237" y="96498"/>
                    </a:lnTo>
                    <a:lnTo>
                      <a:pt x="17942" y="97074"/>
                    </a:lnTo>
                    <a:lnTo>
                      <a:pt x="16490" y="95579"/>
                    </a:lnTo>
                    <a:lnTo>
                      <a:pt x="15055" y="94659"/>
                    </a:lnTo>
                    <a:lnTo>
                      <a:pt x="13668" y="94870"/>
                    </a:lnTo>
                    <a:lnTo>
                      <a:pt x="12492" y="94814"/>
                    </a:lnTo>
                    <a:lnTo>
                      <a:pt x="8485" y="96279"/>
                    </a:lnTo>
                    <a:lnTo>
                      <a:pt x="6479" y="96717"/>
                    </a:lnTo>
                    <a:lnTo>
                      <a:pt x="5892" y="96462"/>
                    </a:lnTo>
                    <a:lnTo>
                      <a:pt x="6111" y="94123"/>
                    </a:lnTo>
                    <a:lnTo>
                      <a:pt x="5071" y="91089"/>
                    </a:lnTo>
                    <a:lnTo>
                      <a:pt x="6676" y="90288"/>
                    </a:lnTo>
                    <a:lnTo>
                      <a:pt x="8545" y="90059"/>
                    </a:lnTo>
                    <a:lnTo>
                      <a:pt x="10133" y="88764"/>
                    </a:lnTo>
                    <a:lnTo>
                      <a:pt x="11115" y="87318"/>
                    </a:lnTo>
                    <a:lnTo>
                      <a:pt x="10597" y="84734"/>
                    </a:lnTo>
                    <a:lnTo>
                      <a:pt x="11977" y="82277"/>
                    </a:lnTo>
                    <a:lnTo>
                      <a:pt x="15216" y="80206"/>
                    </a:lnTo>
                    <a:lnTo>
                      <a:pt x="13538" y="80522"/>
                    </a:lnTo>
                    <a:lnTo>
                      <a:pt x="11618" y="81812"/>
                    </a:lnTo>
                    <a:lnTo>
                      <a:pt x="8595" y="86499"/>
                    </a:lnTo>
                    <a:lnTo>
                      <a:pt x="7605" y="88870"/>
                    </a:lnTo>
                    <a:lnTo>
                      <a:pt x="5029" y="89643"/>
                    </a:lnTo>
                    <a:lnTo>
                      <a:pt x="2720" y="90027"/>
                    </a:lnTo>
                    <a:lnTo>
                      <a:pt x="1538" y="89779"/>
                    </a:lnTo>
                    <a:lnTo>
                      <a:pt x="124" y="89178"/>
                    </a:lnTo>
                    <a:lnTo>
                      <a:pt x="0" y="87425"/>
                    </a:lnTo>
                    <a:lnTo>
                      <a:pt x="110" y="86027"/>
                    </a:lnTo>
                    <a:lnTo>
                      <a:pt x="1068" y="83250"/>
                    </a:lnTo>
                    <a:lnTo>
                      <a:pt x="1446" y="79328"/>
                    </a:lnTo>
                    <a:lnTo>
                      <a:pt x="2806" y="75806"/>
                    </a:lnTo>
                    <a:lnTo>
                      <a:pt x="2709" y="74870"/>
                    </a:lnTo>
                    <a:lnTo>
                      <a:pt x="2321" y="73470"/>
                    </a:lnTo>
                    <a:lnTo>
                      <a:pt x="3540" y="72100"/>
                    </a:lnTo>
                    <a:lnTo>
                      <a:pt x="5049" y="71195"/>
                    </a:lnTo>
                    <a:lnTo>
                      <a:pt x="7329" y="68169"/>
                    </a:lnTo>
                    <a:lnTo>
                      <a:pt x="10518" y="60941"/>
                    </a:lnTo>
                    <a:lnTo>
                      <a:pt x="14194" y="53248"/>
                    </a:lnTo>
                    <a:lnTo>
                      <a:pt x="13896" y="52305"/>
                    </a:lnTo>
                    <a:lnTo>
                      <a:pt x="13115" y="51583"/>
                    </a:lnTo>
                    <a:lnTo>
                      <a:pt x="13424" y="49503"/>
                    </a:lnTo>
                    <a:lnTo>
                      <a:pt x="15640" y="40432"/>
                    </a:lnTo>
                    <a:lnTo>
                      <a:pt x="16543" y="39245"/>
                    </a:lnTo>
                    <a:lnTo>
                      <a:pt x="17582" y="36579"/>
                    </a:lnTo>
                    <a:lnTo>
                      <a:pt x="17817" y="32272"/>
                    </a:lnTo>
                    <a:lnTo>
                      <a:pt x="18224" y="29301"/>
                    </a:lnTo>
                    <a:lnTo>
                      <a:pt x="18130" y="27806"/>
                    </a:lnTo>
                    <a:lnTo>
                      <a:pt x="17803" y="26010"/>
                    </a:lnTo>
                    <a:lnTo>
                      <a:pt x="16393" y="22578"/>
                    </a:lnTo>
                    <a:lnTo>
                      <a:pt x="14905" y="15307"/>
                    </a:lnTo>
                    <a:lnTo>
                      <a:pt x="14791" y="12875"/>
                    </a:lnTo>
                    <a:lnTo>
                      <a:pt x="16016" y="11646"/>
                    </a:lnTo>
                    <a:lnTo>
                      <a:pt x="14005" y="11466"/>
                    </a:lnTo>
                    <a:lnTo>
                      <a:pt x="13094" y="9893"/>
                    </a:lnTo>
                    <a:lnTo>
                      <a:pt x="13301" y="8105"/>
                    </a:lnTo>
                    <a:lnTo>
                      <a:pt x="15536" y="5214"/>
                    </a:lnTo>
                    <a:lnTo>
                      <a:pt x="17618" y="3425"/>
                    </a:lnTo>
                    <a:lnTo>
                      <a:pt x="19682" y="2250"/>
                    </a:lnTo>
                    <a:lnTo>
                      <a:pt x="20822" y="1809"/>
                    </a:lnTo>
                    <a:lnTo>
                      <a:pt x="25588" y="593"/>
                    </a:lnTo>
                    <a:lnTo>
                      <a:pt x="26837" y="0"/>
                    </a:lnTo>
                    <a:lnTo>
                      <a:pt x="28009" y="99"/>
                    </a:lnTo>
                    <a:lnTo>
                      <a:pt x="28205" y="679"/>
                    </a:lnTo>
                    <a:lnTo>
                      <a:pt x="28882" y="1808"/>
                    </a:lnTo>
                    <a:lnTo>
                      <a:pt x="29640" y="2590"/>
                    </a:lnTo>
                    <a:lnTo>
                      <a:pt x="29846" y="3168"/>
                    </a:lnTo>
                    <a:lnTo>
                      <a:pt x="28003" y="5585"/>
                    </a:lnTo>
                    <a:lnTo>
                      <a:pt x="27750" y="6414"/>
                    </a:lnTo>
                    <a:lnTo>
                      <a:pt x="28712" y="7975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0" name="ee4p_RO_1_15912">
                <a:extLst>
                  <a:ext uri="{FF2B5EF4-FFF2-40B4-BE49-F238E27FC236}">
                    <a16:creationId xmlns:a16="http://schemas.microsoft.com/office/drawing/2014/main" id="{59557A66-6725-4453-6A43-5B24A530CB19}"/>
                  </a:ext>
                </a:extLst>
              </p:cNvPr>
              <p:cNvSpPr>
                <a:spLocks noChangeAspect="1"/>
              </p:cNvSpPr>
              <p:nvPr>
                <p:custDataLst>
                  <p:tags r:id="rId271"/>
                </p:custDataLst>
              </p:nvPr>
            </p:nvSpPr>
            <p:spPr>
              <a:xfrm>
                <a:off x="5546057" y="4728337"/>
                <a:ext cx="829598" cy="502783"/>
              </a:xfrm>
              <a:custGeom>
                <a:avLst/>
                <a:gdLst/>
                <a:ahLst/>
                <a:cxnLst/>
                <a:rect l="0" t="0" r="0" b="0"/>
                <a:pathLst>
                  <a:path w="209271" h="126830">
                    <a:moveTo>
                      <a:pt x="176249" y="78400"/>
                    </a:moveTo>
                    <a:lnTo>
                      <a:pt x="178575" y="81236"/>
                    </a:lnTo>
                    <a:lnTo>
                      <a:pt x="181529" y="82742"/>
                    </a:lnTo>
                    <a:lnTo>
                      <a:pt x="188372" y="84333"/>
                    </a:lnTo>
                    <a:lnTo>
                      <a:pt x="188980" y="84146"/>
                    </a:lnTo>
                    <a:lnTo>
                      <a:pt x="189050" y="83846"/>
                    </a:lnTo>
                    <a:lnTo>
                      <a:pt x="188573" y="83435"/>
                    </a:lnTo>
                    <a:lnTo>
                      <a:pt x="188501" y="82905"/>
                    </a:lnTo>
                    <a:lnTo>
                      <a:pt x="188836" y="82257"/>
                    </a:lnTo>
                    <a:lnTo>
                      <a:pt x="189777" y="82224"/>
                    </a:lnTo>
                    <a:lnTo>
                      <a:pt x="191326" y="82804"/>
                    </a:lnTo>
                    <a:lnTo>
                      <a:pt x="194269" y="81964"/>
                    </a:lnTo>
                    <a:lnTo>
                      <a:pt x="198605" y="79704"/>
                    </a:lnTo>
                    <a:lnTo>
                      <a:pt x="202589" y="79245"/>
                    </a:lnTo>
                    <a:lnTo>
                      <a:pt x="206215" y="80586"/>
                    </a:lnTo>
                    <a:lnTo>
                      <a:pt x="208078" y="82146"/>
                    </a:lnTo>
                    <a:lnTo>
                      <a:pt x="209270" y="83626"/>
                    </a:lnTo>
                    <a:lnTo>
                      <a:pt x="208899" y="85454"/>
                    </a:lnTo>
                    <a:lnTo>
                      <a:pt x="208668" y="86591"/>
                    </a:lnTo>
                    <a:lnTo>
                      <a:pt x="207711" y="91297"/>
                    </a:lnTo>
                    <a:lnTo>
                      <a:pt x="207050" y="93049"/>
                    </a:lnTo>
                    <a:lnTo>
                      <a:pt x="205990" y="95016"/>
                    </a:lnTo>
                    <a:lnTo>
                      <a:pt x="194729" y="97358"/>
                    </a:lnTo>
                    <a:lnTo>
                      <a:pt x="195454" y="96233"/>
                    </a:lnTo>
                    <a:lnTo>
                      <a:pt x="195191" y="94260"/>
                    </a:lnTo>
                    <a:lnTo>
                      <a:pt x="194718" y="92770"/>
                    </a:lnTo>
                    <a:lnTo>
                      <a:pt x="195770" y="91422"/>
                    </a:lnTo>
                    <a:lnTo>
                      <a:pt x="193234" y="90933"/>
                    </a:lnTo>
                    <a:lnTo>
                      <a:pt x="192127" y="91674"/>
                    </a:lnTo>
                    <a:lnTo>
                      <a:pt x="191263" y="92962"/>
                    </a:lnTo>
                    <a:lnTo>
                      <a:pt x="192030" y="95928"/>
                    </a:lnTo>
                    <a:lnTo>
                      <a:pt x="190797" y="97566"/>
                    </a:lnTo>
                    <a:lnTo>
                      <a:pt x="190324" y="98483"/>
                    </a:lnTo>
                    <a:lnTo>
                      <a:pt x="190268" y="100647"/>
                    </a:lnTo>
                    <a:lnTo>
                      <a:pt x="189540" y="101583"/>
                    </a:lnTo>
                    <a:lnTo>
                      <a:pt x="189395" y="102602"/>
                    </a:lnTo>
                    <a:lnTo>
                      <a:pt x="191190" y="102338"/>
                    </a:lnTo>
                    <a:lnTo>
                      <a:pt x="190384" y="104205"/>
                    </a:lnTo>
                    <a:lnTo>
                      <a:pt x="187011" y="107790"/>
                    </a:lnTo>
                    <a:lnTo>
                      <a:pt x="185821" y="109923"/>
                    </a:lnTo>
                    <a:lnTo>
                      <a:pt x="186113" y="118372"/>
                    </a:lnTo>
                    <a:lnTo>
                      <a:pt x="184612" y="123412"/>
                    </a:lnTo>
                    <a:lnTo>
                      <a:pt x="184494" y="124901"/>
                    </a:lnTo>
                    <a:lnTo>
                      <a:pt x="180913" y="124949"/>
                    </a:lnTo>
                    <a:lnTo>
                      <a:pt x="179847" y="124833"/>
                    </a:lnTo>
                    <a:lnTo>
                      <a:pt x="176458" y="124075"/>
                    </a:lnTo>
                    <a:lnTo>
                      <a:pt x="172655" y="122736"/>
                    </a:lnTo>
                    <a:lnTo>
                      <a:pt x="170421" y="120137"/>
                    </a:lnTo>
                    <a:lnTo>
                      <a:pt x="168991" y="118277"/>
                    </a:lnTo>
                    <a:lnTo>
                      <a:pt x="165769" y="119118"/>
                    </a:lnTo>
                    <a:lnTo>
                      <a:pt x="165154" y="118893"/>
                    </a:lnTo>
                    <a:lnTo>
                      <a:pt x="164273" y="117995"/>
                    </a:lnTo>
                    <a:lnTo>
                      <a:pt x="161844" y="117392"/>
                    </a:lnTo>
                    <a:lnTo>
                      <a:pt x="158844" y="117380"/>
                    </a:lnTo>
                    <a:lnTo>
                      <a:pt x="152107" y="113978"/>
                    </a:lnTo>
                    <a:lnTo>
                      <a:pt x="151360" y="113402"/>
                    </a:lnTo>
                    <a:lnTo>
                      <a:pt x="146071" y="113977"/>
                    </a:lnTo>
                    <a:lnTo>
                      <a:pt x="138144" y="115662"/>
                    </a:lnTo>
                    <a:lnTo>
                      <a:pt x="132098" y="117738"/>
                    </a:lnTo>
                    <a:lnTo>
                      <a:pt x="125853" y="121436"/>
                    </a:lnTo>
                    <a:lnTo>
                      <a:pt x="123320" y="124237"/>
                    </a:lnTo>
                    <a:lnTo>
                      <a:pt x="120385" y="125724"/>
                    </a:lnTo>
                    <a:lnTo>
                      <a:pt x="116205" y="126829"/>
                    </a:lnTo>
                    <a:lnTo>
                      <a:pt x="108744" y="126410"/>
                    </a:lnTo>
                    <a:lnTo>
                      <a:pt x="100973" y="125005"/>
                    </a:lnTo>
                    <a:lnTo>
                      <a:pt x="92622" y="123493"/>
                    </a:lnTo>
                    <a:lnTo>
                      <a:pt x="88116" y="124328"/>
                    </a:lnTo>
                    <a:lnTo>
                      <a:pt x="82013" y="123702"/>
                    </a:lnTo>
                    <a:lnTo>
                      <a:pt x="72810" y="121895"/>
                    </a:lnTo>
                    <a:lnTo>
                      <a:pt x="65956" y="121346"/>
                    </a:lnTo>
                    <a:lnTo>
                      <a:pt x="59199" y="122411"/>
                    </a:lnTo>
                    <a:lnTo>
                      <a:pt x="58064" y="121598"/>
                    </a:lnTo>
                    <a:lnTo>
                      <a:pt x="57815" y="120666"/>
                    </a:lnTo>
                    <a:lnTo>
                      <a:pt x="58076" y="119345"/>
                    </a:lnTo>
                    <a:lnTo>
                      <a:pt x="59029" y="118281"/>
                    </a:lnTo>
                    <a:lnTo>
                      <a:pt x="60666" y="117476"/>
                    </a:lnTo>
                    <a:lnTo>
                      <a:pt x="61529" y="116657"/>
                    </a:lnTo>
                    <a:lnTo>
                      <a:pt x="61620" y="115824"/>
                    </a:lnTo>
                    <a:lnTo>
                      <a:pt x="59783" y="114489"/>
                    </a:lnTo>
                    <a:lnTo>
                      <a:pt x="56019" y="112648"/>
                    </a:lnTo>
                    <a:lnTo>
                      <a:pt x="54468" y="111493"/>
                    </a:lnTo>
                    <a:lnTo>
                      <a:pt x="54088" y="111208"/>
                    </a:lnTo>
                    <a:lnTo>
                      <a:pt x="53987" y="110172"/>
                    </a:lnTo>
                    <a:lnTo>
                      <a:pt x="53205" y="109359"/>
                    </a:lnTo>
                    <a:lnTo>
                      <a:pt x="51743" y="108764"/>
                    </a:lnTo>
                    <a:lnTo>
                      <a:pt x="50611" y="107688"/>
                    </a:lnTo>
                    <a:lnTo>
                      <a:pt x="49813" y="106127"/>
                    </a:lnTo>
                    <a:lnTo>
                      <a:pt x="49985" y="104654"/>
                    </a:lnTo>
                    <a:lnTo>
                      <a:pt x="51128" y="103274"/>
                    </a:lnTo>
                    <a:lnTo>
                      <a:pt x="52590" y="102675"/>
                    </a:lnTo>
                    <a:lnTo>
                      <a:pt x="54373" y="102861"/>
                    </a:lnTo>
                    <a:lnTo>
                      <a:pt x="55116" y="102469"/>
                    </a:lnTo>
                    <a:lnTo>
                      <a:pt x="54818" y="101501"/>
                    </a:lnTo>
                    <a:lnTo>
                      <a:pt x="53075" y="100263"/>
                    </a:lnTo>
                    <a:lnTo>
                      <a:pt x="49882" y="98757"/>
                    </a:lnTo>
                    <a:lnTo>
                      <a:pt x="46632" y="99578"/>
                    </a:lnTo>
                    <a:lnTo>
                      <a:pt x="43322" y="102721"/>
                    </a:lnTo>
                    <a:lnTo>
                      <a:pt x="40935" y="103231"/>
                    </a:lnTo>
                    <a:lnTo>
                      <a:pt x="39473" y="101110"/>
                    </a:lnTo>
                    <a:lnTo>
                      <a:pt x="36871" y="99850"/>
                    </a:lnTo>
                    <a:lnTo>
                      <a:pt x="33133" y="99454"/>
                    </a:lnTo>
                    <a:lnTo>
                      <a:pt x="30832" y="98643"/>
                    </a:lnTo>
                    <a:lnTo>
                      <a:pt x="29968" y="97417"/>
                    </a:lnTo>
                    <a:lnTo>
                      <a:pt x="28333" y="96471"/>
                    </a:lnTo>
                    <a:lnTo>
                      <a:pt x="24727" y="95473"/>
                    </a:lnTo>
                    <a:lnTo>
                      <a:pt x="24679" y="94514"/>
                    </a:lnTo>
                    <a:lnTo>
                      <a:pt x="25264" y="94289"/>
                    </a:lnTo>
                    <a:lnTo>
                      <a:pt x="26543" y="94198"/>
                    </a:lnTo>
                    <a:lnTo>
                      <a:pt x="28262" y="93996"/>
                    </a:lnTo>
                    <a:lnTo>
                      <a:pt x="28536" y="93453"/>
                    </a:lnTo>
                    <a:lnTo>
                      <a:pt x="28555" y="92957"/>
                    </a:lnTo>
                    <a:lnTo>
                      <a:pt x="27202" y="92325"/>
                    </a:lnTo>
                    <a:lnTo>
                      <a:pt x="25830" y="91895"/>
                    </a:lnTo>
                    <a:lnTo>
                      <a:pt x="25118" y="91466"/>
                    </a:lnTo>
                    <a:lnTo>
                      <a:pt x="24660" y="90992"/>
                    </a:lnTo>
                    <a:lnTo>
                      <a:pt x="24569" y="90494"/>
                    </a:lnTo>
                    <a:lnTo>
                      <a:pt x="24971" y="90156"/>
                    </a:lnTo>
                    <a:lnTo>
                      <a:pt x="25520" y="90133"/>
                    </a:lnTo>
                    <a:lnTo>
                      <a:pt x="26068" y="89839"/>
                    </a:lnTo>
                    <a:lnTo>
                      <a:pt x="26373" y="88685"/>
                    </a:lnTo>
                    <a:lnTo>
                      <a:pt x="27111" y="87736"/>
                    </a:lnTo>
                    <a:lnTo>
                      <a:pt x="27640" y="87396"/>
                    </a:lnTo>
                    <a:lnTo>
                      <a:pt x="27605" y="86694"/>
                    </a:lnTo>
                    <a:lnTo>
                      <a:pt x="27057" y="86038"/>
                    </a:lnTo>
                    <a:lnTo>
                      <a:pt x="26306" y="85472"/>
                    </a:lnTo>
                    <a:lnTo>
                      <a:pt x="25206" y="85129"/>
                    </a:lnTo>
                    <a:lnTo>
                      <a:pt x="21773" y="84137"/>
                    </a:lnTo>
                    <a:lnTo>
                      <a:pt x="20035" y="82754"/>
                    </a:lnTo>
                    <a:lnTo>
                      <a:pt x="18974" y="82704"/>
                    </a:lnTo>
                    <a:lnTo>
                      <a:pt x="17292" y="81937"/>
                    </a:lnTo>
                    <a:lnTo>
                      <a:pt x="15478" y="80736"/>
                    </a:lnTo>
                    <a:lnTo>
                      <a:pt x="13909" y="79029"/>
                    </a:lnTo>
                    <a:lnTo>
                      <a:pt x="12211" y="77921"/>
                    </a:lnTo>
                    <a:lnTo>
                      <a:pt x="11773" y="77467"/>
                    </a:lnTo>
                    <a:lnTo>
                      <a:pt x="11734" y="77036"/>
                    </a:lnTo>
                    <a:lnTo>
                      <a:pt x="12045" y="76559"/>
                    </a:lnTo>
                    <a:lnTo>
                      <a:pt x="12034" y="76037"/>
                    </a:lnTo>
                    <a:lnTo>
                      <a:pt x="11587" y="74360"/>
                    </a:lnTo>
                    <a:lnTo>
                      <a:pt x="11885" y="72585"/>
                    </a:lnTo>
                    <a:lnTo>
                      <a:pt x="11807" y="70919"/>
                    </a:lnTo>
                    <a:lnTo>
                      <a:pt x="11790" y="70168"/>
                    </a:lnTo>
                    <a:lnTo>
                      <a:pt x="11462" y="69939"/>
                    </a:lnTo>
                    <a:lnTo>
                      <a:pt x="11168" y="70190"/>
                    </a:lnTo>
                    <a:lnTo>
                      <a:pt x="10747" y="70509"/>
                    </a:lnTo>
                    <a:lnTo>
                      <a:pt x="10337" y="70568"/>
                    </a:lnTo>
                    <a:lnTo>
                      <a:pt x="9086" y="69353"/>
                    </a:lnTo>
                    <a:lnTo>
                      <a:pt x="7504" y="66869"/>
                    </a:lnTo>
                    <a:lnTo>
                      <a:pt x="6430" y="66041"/>
                    </a:lnTo>
                    <a:lnTo>
                      <a:pt x="4338" y="64902"/>
                    </a:lnTo>
                    <a:lnTo>
                      <a:pt x="2583" y="63944"/>
                    </a:lnTo>
                    <a:lnTo>
                      <a:pt x="1317" y="61867"/>
                    </a:lnTo>
                    <a:lnTo>
                      <a:pt x="0" y="60267"/>
                    </a:lnTo>
                    <a:lnTo>
                      <a:pt x="866" y="59592"/>
                    </a:lnTo>
                    <a:lnTo>
                      <a:pt x="5889" y="58653"/>
                    </a:lnTo>
                    <a:lnTo>
                      <a:pt x="8223" y="59578"/>
                    </a:lnTo>
                    <a:lnTo>
                      <a:pt x="9270" y="59242"/>
                    </a:lnTo>
                    <a:lnTo>
                      <a:pt x="10296" y="58491"/>
                    </a:lnTo>
                    <a:lnTo>
                      <a:pt x="10855" y="57893"/>
                    </a:lnTo>
                    <a:lnTo>
                      <a:pt x="10959" y="57255"/>
                    </a:lnTo>
                    <a:lnTo>
                      <a:pt x="11464" y="56459"/>
                    </a:lnTo>
                    <a:lnTo>
                      <a:pt x="13161" y="56086"/>
                    </a:lnTo>
                    <a:lnTo>
                      <a:pt x="17646" y="56570"/>
                    </a:lnTo>
                    <a:lnTo>
                      <a:pt x="19456" y="55457"/>
                    </a:lnTo>
                    <a:lnTo>
                      <a:pt x="20125" y="54850"/>
                    </a:lnTo>
                    <a:lnTo>
                      <a:pt x="20533" y="53510"/>
                    </a:lnTo>
                    <a:lnTo>
                      <a:pt x="21006" y="52433"/>
                    </a:lnTo>
                    <a:lnTo>
                      <a:pt x="22615" y="51857"/>
                    </a:lnTo>
                    <a:lnTo>
                      <a:pt x="22587" y="50874"/>
                    </a:lnTo>
                    <a:lnTo>
                      <a:pt x="22343" y="49802"/>
                    </a:lnTo>
                    <a:lnTo>
                      <a:pt x="23278" y="47411"/>
                    </a:lnTo>
                    <a:lnTo>
                      <a:pt x="23846" y="46429"/>
                    </a:lnTo>
                    <a:lnTo>
                      <a:pt x="24755" y="46069"/>
                    </a:lnTo>
                    <a:lnTo>
                      <a:pt x="25854" y="45316"/>
                    </a:lnTo>
                    <a:lnTo>
                      <a:pt x="27757" y="43746"/>
                    </a:lnTo>
                    <a:lnTo>
                      <a:pt x="27314" y="42381"/>
                    </a:lnTo>
                    <a:lnTo>
                      <a:pt x="27698" y="41368"/>
                    </a:lnTo>
                    <a:lnTo>
                      <a:pt x="29683" y="38899"/>
                    </a:lnTo>
                    <a:lnTo>
                      <a:pt x="31197" y="36517"/>
                    </a:lnTo>
                    <a:lnTo>
                      <a:pt x="31171" y="35324"/>
                    </a:lnTo>
                    <a:lnTo>
                      <a:pt x="31391" y="34281"/>
                    </a:lnTo>
                    <a:lnTo>
                      <a:pt x="32725" y="33138"/>
                    </a:lnTo>
                    <a:lnTo>
                      <a:pt x="34133" y="31648"/>
                    </a:lnTo>
                    <a:lnTo>
                      <a:pt x="35988" y="26992"/>
                    </a:lnTo>
                    <a:lnTo>
                      <a:pt x="36649" y="26208"/>
                    </a:lnTo>
                    <a:lnTo>
                      <a:pt x="37867" y="25320"/>
                    </a:lnTo>
                    <a:lnTo>
                      <a:pt x="38774" y="24439"/>
                    </a:lnTo>
                    <a:lnTo>
                      <a:pt x="38871" y="21373"/>
                    </a:lnTo>
                    <a:lnTo>
                      <a:pt x="39717" y="20486"/>
                    </a:lnTo>
                    <a:lnTo>
                      <a:pt x="41352" y="19492"/>
                    </a:lnTo>
                    <a:lnTo>
                      <a:pt x="42970" y="17890"/>
                    </a:lnTo>
                    <a:lnTo>
                      <a:pt x="44287" y="15997"/>
                    </a:lnTo>
                    <a:lnTo>
                      <a:pt x="45304" y="15113"/>
                    </a:lnTo>
                    <a:lnTo>
                      <a:pt x="46649" y="14877"/>
                    </a:lnTo>
                    <a:lnTo>
                      <a:pt x="48109" y="14133"/>
                    </a:lnTo>
                    <a:lnTo>
                      <a:pt x="49744" y="13854"/>
                    </a:lnTo>
                    <a:lnTo>
                      <a:pt x="51324" y="14220"/>
                    </a:lnTo>
                    <a:lnTo>
                      <a:pt x="52330" y="14030"/>
                    </a:lnTo>
                    <a:lnTo>
                      <a:pt x="53842" y="13109"/>
                    </a:lnTo>
                    <a:lnTo>
                      <a:pt x="57712" y="9629"/>
                    </a:lnTo>
                    <a:lnTo>
                      <a:pt x="58262" y="8933"/>
                    </a:lnTo>
                    <a:lnTo>
                      <a:pt x="59063" y="8454"/>
                    </a:lnTo>
                    <a:lnTo>
                      <a:pt x="62201" y="7261"/>
                    </a:lnTo>
                    <a:lnTo>
                      <a:pt x="62998" y="6059"/>
                    </a:lnTo>
                    <a:lnTo>
                      <a:pt x="64073" y="4978"/>
                    </a:lnTo>
                    <a:lnTo>
                      <a:pt x="65470" y="5059"/>
                    </a:lnTo>
                    <a:lnTo>
                      <a:pt x="70016" y="7728"/>
                    </a:lnTo>
                    <a:lnTo>
                      <a:pt x="74892" y="7563"/>
                    </a:lnTo>
                    <a:lnTo>
                      <a:pt x="75784" y="7662"/>
                    </a:lnTo>
                    <a:lnTo>
                      <a:pt x="76071" y="7717"/>
                    </a:lnTo>
                    <a:lnTo>
                      <a:pt x="76667" y="7936"/>
                    </a:lnTo>
                    <a:lnTo>
                      <a:pt x="83143" y="9256"/>
                    </a:lnTo>
                    <a:lnTo>
                      <a:pt x="84149" y="9109"/>
                    </a:lnTo>
                    <a:lnTo>
                      <a:pt x="84423" y="9003"/>
                    </a:lnTo>
                    <a:lnTo>
                      <a:pt x="87032" y="10095"/>
                    </a:lnTo>
                    <a:lnTo>
                      <a:pt x="89336" y="9950"/>
                    </a:lnTo>
                    <a:lnTo>
                      <a:pt x="91526" y="9193"/>
                    </a:lnTo>
                    <a:lnTo>
                      <a:pt x="93806" y="8937"/>
                    </a:lnTo>
                    <a:lnTo>
                      <a:pt x="95902" y="9390"/>
                    </a:lnTo>
                    <a:lnTo>
                      <a:pt x="97496" y="10927"/>
                    </a:lnTo>
                    <a:lnTo>
                      <a:pt x="101629" y="14184"/>
                    </a:lnTo>
                    <a:lnTo>
                      <a:pt x="102856" y="15396"/>
                    </a:lnTo>
                    <a:lnTo>
                      <a:pt x="104752" y="15217"/>
                    </a:lnTo>
                    <a:lnTo>
                      <a:pt x="106846" y="14610"/>
                    </a:lnTo>
                    <a:lnTo>
                      <a:pt x="108964" y="12432"/>
                    </a:lnTo>
                    <a:lnTo>
                      <a:pt x="115480" y="9961"/>
                    </a:lnTo>
                    <a:lnTo>
                      <a:pt x="120455" y="9350"/>
                    </a:lnTo>
                    <a:lnTo>
                      <a:pt x="125307" y="8360"/>
                    </a:lnTo>
                    <a:lnTo>
                      <a:pt x="130924" y="7656"/>
                    </a:lnTo>
                    <a:lnTo>
                      <a:pt x="132549" y="5629"/>
                    </a:lnTo>
                    <a:lnTo>
                      <a:pt x="133450" y="4248"/>
                    </a:lnTo>
                    <a:lnTo>
                      <a:pt x="134085" y="1690"/>
                    </a:lnTo>
                    <a:lnTo>
                      <a:pt x="137108" y="948"/>
                    </a:lnTo>
                    <a:lnTo>
                      <a:pt x="139984" y="425"/>
                    </a:lnTo>
                    <a:lnTo>
                      <a:pt x="141012" y="102"/>
                    </a:lnTo>
                    <a:lnTo>
                      <a:pt x="143109" y="0"/>
                    </a:lnTo>
                    <a:lnTo>
                      <a:pt x="144735" y="217"/>
                    </a:lnTo>
                    <a:lnTo>
                      <a:pt x="147249" y="1481"/>
                    </a:lnTo>
                    <a:lnTo>
                      <a:pt x="149013" y="3067"/>
                    </a:lnTo>
                    <a:lnTo>
                      <a:pt x="149708" y="4325"/>
                    </a:lnTo>
                    <a:lnTo>
                      <a:pt x="151215" y="6100"/>
                    </a:lnTo>
                    <a:lnTo>
                      <a:pt x="152800" y="8594"/>
                    </a:lnTo>
                    <a:lnTo>
                      <a:pt x="154543" y="11906"/>
                    </a:lnTo>
                    <a:lnTo>
                      <a:pt x="154925" y="13582"/>
                    </a:lnTo>
                    <a:lnTo>
                      <a:pt x="155584" y="15390"/>
                    </a:lnTo>
                    <a:lnTo>
                      <a:pt x="156888" y="17590"/>
                    </a:lnTo>
                    <a:lnTo>
                      <a:pt x="159371" y="20023"/>
                    </a:lnTo>
                    <a:lnTo>
                      <a:pt x="159717" y="20485"/>
                    </a:lnTo>
                    <a:lnTo>
                      <a:pt x="160844" y="22198"/>
                    </a:lnTo>
                    <a:lnTo>
                      <a:pt x="163016" y="25985"/>
                    </a:lnTo>
                    <a:lnTo>
                      <a:pt x="164832" y="27500"/>
                    </a:lnTo>
                    <a:lnTo>
                      <a:pt x="166419" y="29147"/>
                    </a:lnTo>
                    <a:lnTo>
                      <a:pt x="167179" y="30805"/>
                    </a:lnTo>
                    <a:lnTo>
                      <a:pt x="168317" y="32309"/>
                    </a:lnTo>
                    <a:lnTo>
                      <a:pt x="170980" y="34300"/>
                    </a:lnTo>
                    <a:lnTo>
                      <a:pt x="173137" y="36109"/>
                    </a:lnTo>
                    <a:lnTo>
                      <a:pt x="174867" y="41302"/>
                    </a:lnTo>
                    <a:lnTo>
                      <a:pt x="176076" y="43687"/>
                    </a:lnTo>
                    <a:lnTo>
                      <a:pt x="176845" y="45511"/>
                    </a:lnTo>
                    <a:lnTo>
                      <a:pt x="176473" y="49200"/>
                    </a:lnTo>
                    <a:lnTo>
                      <a:pt x="176953" y="50776"/>
                    </a:lnTo>
                    <a:lnTo>
                      <a:pt x="175964" y="53652"/>
                    </a:lnTo>
                    <a:lnTo>
                      <a:pt x="174184" y="59435"/>
                    </a:lnTo>
                    <a:lnTo>
                      <a:pt x="173755" y="64024"/>
                    </a:lnTo>
                    <a:lnTo>
                      <a:pt x="174062" y="66495"/>
                    </a:lnTo>
                    <a:lnTo>
                      <a:pt x="174105" y="68081"/>
                    </a:lnTo>
                    <a:lnTo>
                      <a:pt x="174534" y="69091"/>
                    </a:lnTo>
                    <a:lnTo>
                      <a:pt x="175005" y="71179"/>
                    </a:lnTo>
                    <a:lnTo>
                      <a:pt x="175083" y="72995"/>
                    </a:lnTo>
                    <a:lnTo>
                      <a:pt x="174444" y="73513"/>
                    </a:lnTo>
                    <a:lnTo>
                      <a:pt x="173548" y="73940"/>
                    </a:lnTo>
                    <a:lnTo>
                      <a:pt x="173202" y="74319"/>
                    </a:lnTo>
                    <a:lnTo>
                      <a:pt x="174025" y="75139"/>
                    </a:lnTo>
                    <a:lnTo>
                      <a:pt x="175143" y="76661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1" name="ee4p_IT_2_15912">
                <a:extLst>
                  <a:ext uri="{FF2B5EF4-FFF2-40B4-BE49-F238E27FC236}">
                    <a16:creationId xmlns:a16="http://schemas.microsoft.com/office/drawing/2014/main" id="{8984B0AB-6DEE-347F-570B-16BE6F8F73CA}"/>
                  </a:ext>
                </a:extLst>
              </p:cNvPr>
              <p:cNvSpPr>
                <a:spLocks noChangeAspect="1"/>
              </p:cNvSpPr>
              <p:nvPr>
                <p:custDataLst>
                  <p:tags r:id="rId272"/>
                </p:custDataLst>
              </p:nvPr>
            </p:nvSpPr>
            <p:spPr>
              <a:xfrm>
                <a:off x="4352677" y="4860001"/>
                <a:ext cx="1039453" cy="968085"/>
              </a:xfrm>
              <a:custGeom>
                <a:avLst/>
                <a:gdLst/>
                <a:ahLst/>
                <a:cxnLst/>
                <a:rect l="l" t="t" r="r" b="b"/>
                <a:pathLst>
                  <a:path w="262208" h="244205">
                    <a:moveTo>
                      <a:pt x="129930" y="85000"/>
                    </a:moveTo>
                    <a:lnTo>
                      <a:pt x="128546" y="85198"/>
                    </a:lnTo>
                    <a:lnTo>
                      <a:pt x="127568" y="86492"/>
                    </a:lnTo>
                    <a:lnTo>
                      <a:pt x="128220" y="87586"/>
                    </a:lnTo>
                    <a:lnTo>
                      <a:pt x="129522" y="87389"/>
                    </a:lnTo>
                    <a:lnTo>
                      <a:pt x="130172" y="85994"/>
                    </a:lnTo>
                    <a:close/>
                    <a:moveTo>
                      <a:pt x="122539" y="0"/>
                    </a:moveTo>
                    <a:lnTo>
                      <a:pt x="123152" y="199"/>
                    </a:lnTo>
                    <a:lnTo>
                      <a:pt x="123243" y="593"/>
                    </a:lnTo>
                    <a:lnTo>
                      <a:pt x="122452" y="1507"/>
                    </a:lnTo>
                    <a:lnTo>
                      <a:pt x="121684" y="2719"/>
                    </a:lnTo>
                    <a:lnTo>
                      <a:pt x="122200" y="4100"/>
                    </a:lnTo>
                    <a:lnTo>
                      <a:pt x="124718" y="6870"/>
                    </a:lnTo>
                    <a:lnTo>
                      <a:pt x="126091" y="8988"/>
                    </a:lnTo>
                    <a:lnTo>
                      <a:pt x="127378" y="10579"/>
                    </a:lnTo>
                    <a:lnTo>
                      <a:pt x="129388" y="11417"/>
                    </a:lnTo>
                    <a:lnTo>
                      <a:pt x="132029" y="11929"/>
                    </a:lnTo>
                    <a:lnTo>
                      <a:pt x="134266" y="12114"/>
                    </a:lnTo>
                    <a:lnTo>
                      <a:pt x="136605" y="12714"/>
                    </a:lnTo>
                    <a:lnTo>
                      <a:pt x="144636" y="14193"/>
                    </a:lnTo>
                    <a:lnTo>
                      <a:pt x="148678" y="14602"/>
                    </a:lnTo>
                    <a:lnTo>
                      <a:pt x="151740" y="14668"/>
                    </a:lnTo>
                    <a:lnTo>
                      <a:pt x="156383" y="15648"/>
                    </a:lnTo>
                    <a:lnTo>
                      <a:pt x="155934" y="17241"/>
                    </a:lnTo>
                    <a:lnTo>
                      <a:pt x="154992" y="17639"/>
                    </a:lnTo>
                    <a:lnTo>
                      <a:pt x="153360" y="18567"/>
                    </a:lnTo>
                    <a:lnTo>
                      <a:pt x="151486" y="19839"/>
                    </a:lnTo>
                    <a:lnTo>
                      <a:pt x="149738" y="21271"/>
                    </a:lnTo>
                    <a:lnTo>
                      <a:pt x="149268" y="22820"/>
                    </a:lnTo>
                    <a:lnTo>
                      <a:pt x="149741" y="23835"/>
                    </a:lnTo>
                    <a:lnTo>
                      <a:pt x="150214" y="24185"/>
                    </a:lnTo>
                    <a:lnTo>
                      <a:pt x="150851" y="23874"/>
                    </a:lnTo>
                    <a:lnTo>
                      <a:pt x="151779" y="24066"/>
                    </a:lnTo>
                    <a:lnTo>
                      <a:pt x="152949" y="24620"/>
                    </a:lnTo>
                    <a:lnTo>
                      <a:pt x="154891" y="25161"/>
                    </a:lnTo>
                    <a:lnTo>
                      <a:pt x="154945" y="25694"/>
                    </a:lnTo>
                    <a:lnTo>
                      <a:pt x="154539" y="26376"/>
                    </a:lnTo>
                    <a:lnTo>
                      <a:pt x="153023" y="27592"/>
                    </a:lnTo>
                    <a:lnTo>
                      <a:pt x="151660" y="28962"/>
                    </a:lnTo>
                    <a:lnTo>
                      <a:pt x="151524" y="29800"/>
                    </a:lnTo>
                    <a:lnTo>
                      <a:pt x="151688" y="30410"/>
                    </a:lnTo>
                    <a:lnTo>
                      <a:pt x="152163" y="30778"/>
                    </a:lnTo>
                    <a:lnTo>
                      <a:pt x="154185" y="30613"/>
                    </a:lnTo>
                    <a:lnTo>
                      <a:pt x="154480" y="31113"/>
                    </a:lnTo>
                    <a:lnTo>
                      <a:pt x="153500" y="34631"/>
                    </a:lnTo>
                    <a:lnTo>
                      <a:pt x="153804" y="35231"/>
                    </a:lnTo>
                    <a:lnTo>
                      <a:pt x="155575" y="35792"/>
                    </a:lnTo>
                    <a:lnTo>
                      <a:pt x="156862" y="36638"/>
                    </a:lnTo>
                    <a:lnTo>
                      <a:pt x="159283" y="38865"/>
                    </a:lnTo>
                    <a:lnTo>
                      <a:pt x="160246" y="40669"/>
                    </a:lnTo>
                    <a:lnTo>
                      <a:pt x="159583" y="41273"/>
                    </a:lnTo>
                    <a:lnTo>
                      <a:pt x="158063" y="41573"/>
                    </a:lnTo>
                    <a:lnTo>
                      <a:pt x="156821" y="41418"/>
                    </a:lnTo>
                    <a:lnTo>
                      <a:pt x="158225" y="40328"/>
                    </a:lnTo>
                    <a:lnTo>
                      <a:pt x="154798" y="36372"/>
                    </a:lnTo>
                    <a:lnTo>
                      <a:pt x="153247" y="36379"/>
                    </a:lnTo>
                    <a:lnTo>
                      <a:pt x="151189" y="38052"/>
                    </a:lnTo>
                    <a:lnTo>
                      <a:pt x="145467" y="36360"/>
                    </a:lnTo>
                    <a:lnTo>
                      <a:pt x="144370" y="37043"/>
                    </a:lnTo>
                    <a:lnTo>
                      <a:pt x="143560" y="38384"/>
                    </a:lnTo>
                    <a:lnTo>
                      <a:pt x="141574" y="40046"/>
                    </a:lnTo>
                    <a:lnTo>
                      <a:pt x="138760" y="40781"/>
                    </a:lnTo>
                    <a:lnTo>
                      <a:pt x="135625" y="42609"/>
                    </a:lnTo>
                    <a:lnTo>
                      <a:pt x="132319" y="43903"/>
                    </a:lnTo>
                    <a:lnTo>
                      <a:pt x="129794" y="44879"/>
                    </a:lnTo>
                    <a:lnTo>
                      <a:pt x="128347" y="44707"/>
                    </a:lnTo>
                    <a:lnTo>
                      <a:pt x="130647" y="42592"/>
                    </a:lnTo>
                    <a:lnTo>
                      <a:pt x="129667" y="42554"/>
                    </a:lnTo>
                    <a:lnTo>
                      <a:pt x="126616" y="44046"/>
                    </a:lnTo>
                    <a:lnTo>
                      <a:pt x="124858" y="45308"/>
                    </a:lnTo>
                    <a:lnTo>
                      <a:pt x="124295" y="47427"/>
                    </a:lnTo>
                    <a:lnTo>
                      <a:pt x="123783" y="50918"/>
                    </a:lnTo>
                    <a:lnTo>
                      <a:pt x="125124" y="51844"/>
                    </a:lnTo>
                    <a:lnTo>
                      <a:pt x="127471" y="56439"/>
                    </a:lnTo>
                    <a:lnTo>
                      <a:pt x="130367" y="58402"/>
                    </a:lnTo>
                    <a:lnTo>
                      <a:pt x="129803" y="60275"/>
                    </a:lnTo>
                    <a:lnTo>
                      <a:pt x="129043" y="61754"/>
                    </a:lnTo>
                    <a:lnTo>
                      <a:pt x="127294" y="63033"/>
                    </a:lnTo>
                    <a:lnTo>
                      <a:pt x="125847" y="62084"/>
                    </a:lnTo>
                    <a:lnTo>
                      <a:pt x="124960" y="62108"/>
                    </a:lnTo>
                    <a:lnTo>
                      <a:pt x="124284" y="65101"/>
                    </a:lnTo>
                    <a:lnTo>
                      <a:pt x="125536" y="73077"/>
                    </a:lnTo>
                    <a:lnTo>
                      <a:pt x="127555" y="78657"/>
                    </a:lnTo>
                    <a:lnTo>
                      <a:pt x="129557" y="81088"/>
                    </a:lnTo>
                    <a:lnTo>
                      <a:pt x="134074" y="84865"/>
                    </a:lnTo>
                    <a:lnTo>
                      <a:pt x="138849" y="86854"/>
                    </a:lnTo>
                    <a:lnTo>
                      <a:pt x="147434" y="93204"/>
                    </a:lnTo>
                    <a:lnTo>
                      <a:pt x="152142" y="95210"/>
                    </a:lnTo>
                    <a:lnTo>
                      <a:pt x="153379" y="96299"/>
                    </a:lnTo>
                    <a:lnTo>
                      <a:pt x="156234" y="101182"/>
                    </a:lnTo>
                    <a:lnTo>
                      <a:pt x="158698" y="106813"/>
                    </a:lnTo>
                    <a:lnTo>
                      <a:pt x="161356" y="115626"/>
                    </a:lnTo>
                    <a:lnTo>
                      <a:pt x="163248" y="119958"/>
                    </a:lnTo>
                    <a:lnTo>
                      <a:pt x="167057" y="124847"/>
                    </a:lnTo>
                    <a:lnTo>
                      <a:pt x="174973" y="131831"/>
                    </a:lnTo>
                    <a:lnTo>
                      <a:pt x="182168" y="136928"/>
                    </a:lnTo>
                    <a:lnTo>
                      <a:pt x="188860" y="140074"/>
                    </a:lnTo>
                    <a:lnTo>
                      <a:pt x="194084" y="140626"/>
                    </a:lnTo>
                    <a:lnTo>
                      <a:pt x="206446" y="139930"/>
                    </a:lnTo>
                    <a:lnTo>
                      <a:pt x="208601" y="140231"/>
                    </a:lnTo>
                    <a:lnTo>
                      <a:pt x="210882" y="141078"/>
                    </a:lnTo>
                    <a:lnTo>
                      <a:pt x="211423" y="143257"/>
                    </a:lnTo>
                    <a:lnTo>
                      <a:pt x="210586" y="144727"/>
                    </a:lnTo>
                    <a:lnTo>
                      <a:pt x="207986" y="146256"/>
                    </a:lnTo>
                    <a:lnTo>
                      <a:pt x="205334" y="148371"/>
                    </a:lnTo>
                    <a:lnTo>
                      <a:pt x="205040" y="151248"/>
                    </a:lnTo>
                    <a:lnTo>
                      <a:pt x="207519" y="153273"/>
                    </a:lnTo>
                    <a:lnTo>
                      <a:pt x="219443" y="158639"/>
                    </a:lnTo>
                    <a:lnTo>
                      <a:pt x="231640" y="163114"/>
                    </a:lnTo>
                    <a:lnTo>
                      <a:pt x="235438" y="165396"/>
                    </a:lnTo>
                    <a:lnTo>
                      <a:pt x="239839" y="168940"/>
                    </a:lnTo>
                    <a:lnTo>
                      <a:pt x="250469" y="173806"/>
                    </a:lnTo>
                    <a:lnTo>
                      <a:pt x="252264" y="176172"/>
                    </a:lnTo>
                    <a:lnTo>
                      <a:pt x="258723" y="181254"/>
                    </a:lnTo>
                    <a:lnTo>
                      <a:pt x="261651" y="185170"/>
                    </a:lnTo>
                    <a:lnTo>
                      <a:pt x="262208" y="188204"/>
                    </a:lnTo>
                    <a:lnTo>
                      <a:pt x="260809" y="191281"/>
                    </a:lnTo>
                    <a:lnTo>
                      <a:pt x="260165" y="193451"/>
                    </a:lnTo>
                    <a:lnTo>
                      <a:pt x="259066" y="195592"/>
                    </a:lnTo>
                    <a:lnTo>
                      <a:pt x="256315" y="194781"/>
                    </a:lnTo>
                    <a:lnTo>
                      <a:pt x="253188" y="192582"/>
                    </a:lnTo>
                    <a:lnTo>
                      <a:pt x="248481" y="183625"/>
                    </a:lnTo>
                    <a:lnTo>
                      <a:pt x="239882" y="182716"/>
                    </a:lnTo>
                    <a:lnTo>
                      <a:pt x="238105" y="182054"/>
                    </a:lnTo>
                    <a:lnTo>
                      <a:pt x="235051" y="180515"/>
                    </a:lnTo>
                    <a:lnTo>
                      <a:pt x="234868" y="179499"/>
                    </a:lnTo>
                    <a:lnTo>
                      <a:pt x="234114" y="178229"/>
                    </a:lnTo>
                    <a:lnTo>
                      <a:pt x="233333" y="177800"/>
                    </a:lnTo>
                    <a:lnTo>
                      <a:pt x="230044" y="177520"/>
                    </a:lnTo>
                    <a:lnTo>
                      <a:pt x="227766" y="178972"/>
                    </a:lnTo>
                    <a:lnTo>
                      <a:pt x="225086" y="182414"/>
                    </a:lnTo>
                    <a:lnTo>
                      <a:pt x="222048" y="187359"/>
                    </a:lnTo>
                    <a:lnTo>
                      <a:pt x="218960" y="194596"/>
                    </a:lnTo>
                    <a:lnTo>
                      <a:pt x="218781" y="197514"/>
                    </a:lnTo>
                    <a:lnTo>
                      <a:pt x="220459" y="200339"/>
                    </a:lnTo>
                    <a:lnTo>
                      <a:pt x="225468" y="201914"/>
                    </a:lnTo>
                    <a:lnTo>
                      <a:pt x="229335" y="204425"/>
                    </a:lnTo>
                    <a:lnTo>
                      <a:pt x="231886" y="207045"/>
                    </a:lnTo>
                    <a:lnTo>
                      <a:pt x="232071" y="213368"/>
                    </a:lnTo>
                    <a:lnTo>
                      <a:pt x="233214" y="216950"/>
                    </a:lnTo>
                    <a:lnTo>
                      <a:pt x="231532" y="218985"/>
                    </a:lnTo>
                    <a:lnTo>
                      <a:pt x="228280" y="218457"/>
                    </a:lnTo>
                    <a:lnTo>
                      <a:pt x="223946" y="219751"/>
                    </a:lnTo>
                    <a:lnTo>
                      <a:pt x="220877" y="222063"/>
                    </a:lnTo>
                    <a:lnTo>
                      <a:pt x="219601" y="224265"/>
                    </a:lnTo>
                    <a:lnTo>
                      <a:pt x="219938" y="229965"/>
                    </a:lnTo>
                    <a:lnTo>
                      <a:pt x="219305" y="232139"/>
                    </a:lnTo>
                    <a:lnTo>
                      <a:pt x="213486" y="236239"/>
                    </a:lnTo>
                    <a:lnTo>
                      <a:pt x="210428" y="240429"/>
                    </a:lnTo>
                    <a:lnTo>
                      <a:pt x="209668" y="242166"/>
                    </a:lnTo>
                    <a:lnTo>
                      <a:pt x="208498" y="244135"/>
                    </a:lnTo>
                    <a:lnTo>
                      <a:pt x="201149" y="244205"/>
                    </a:lnTo>
                    <a:lnTo>
                      <a:pt x="199409" y="241767"/>
                    </a:lnTo>
                    <a:lnTo>
                      <a:pt x="199348" y="238144"/>
                    </a:lnTo>
                    <a:lnTo>
                      <a:pt x="200611" y="235912"/>
                    </a:lnTo>
                    <a:lnTo>
                      <a:pt x="203313" y="234867"/>
                    </a:lnTo>
                    <a:lnTo>
                      <a:pt x="205135" y="230224"/>
                    </a:lnTo>
                    <a:lnTo>
                      <a:pt x="204563" y="226865"/>
                    </a:lnTo>
                    <a:lnTo>
                      <a:pt x="205626" y="225375"/>
                    </a:lnTo>
                    <a:lnTo>
                      <a:pt x="206630" y="224321"/>
                    </a:lnTo>
                    <a:lnTo>
                      <a:pt x="208690" y="223707"/>
                    </a:lnTo>
                    <a:lnTo>
                      <a:pt x="211592" y="223118"/>
                    </a:lnTo>
                    <a:lnTo>
                      <a:pt x="211883" y="218423"/>
                    </a:lnTo>
                    <a:lnTo>
                      <a:pt x="209616" y="216285"/>
                    </a:lnTo>
                    <a:lnTo>
                      <a:pt x="208821" y="213293"/>
                    </a:lnTo>
                    <a:lnTo>
                      <a:pt x="207763" y="207746"/>
                    </a:lnTo>
                    <a:lnTo>
                      <a:pt x="204021" y="200661"/>
                    </a:lnTo>
                    <a:lnTo>
                      <a:pt x="202015" y="194325"/>
                    </a:lnTo>
                    <a:lnTo>
                      <a:pt x="200447" y="191195"/>
                    </a:lnTo>
                    <a:lnTo>
                      <a:pt x="198068" y="189561"/>
                    </a:lnTo>
                    <a:lnTo>
                      <a:pt x="193773" y="189579"/>
                    </a:lnTo>
                    <a:lnTo>
                      <a:pt x="191641" y="189113"/>
                    </a:lnTo>
                    <a:lnTo>
                      <a:pt x="184043" y="184700"/>
                    </a:lnTo>
                    <a:lnTo>
                      <a:pt x="183513" y="184028"/>
                    </a:lnTo>
                    <a:lnTo>
                      <a:pt x="183561" y="182856"/>
                    </a:lnTo>
                    <a:lnTo>
                      <a:pt x="184822" y="181080"/>
                    </a:lnTo>
                    <a:lnTo>
                      <a:pt x="183971" y="178676"/>
                    </a:lnTo>
                    <a:lnTo>
                      <a:pt x="183071" y="176405"/>
                    </a:lnTo>
                    <a:lnTo>
                      <a:pt x="181581" y="174467"/>
                    </a:lnTo>
                    <a:lnTo>
                      <a:pt x="179948" y="173459"/>
                    </a:lnTo>
                    <a:lnTo>
                      <a:pt x="176532" y="174079"/>
                    </a:lnTo>
                    <a:lnTo>
                      <a:pt x="175331" y="174561"/>
                    </a:lnTo>
                    <a:lnTo>
                      <a:pt x="173174" y="174395"/>
                    </a:lnTo>
                    <a:lnTo>
                      <a:pt x="171479" y="175257"/>
                    </a:lnTo>
                    <a:lnTo>
                      <a:pt x="170533" y="175284"/>
                    </a:lnTo>
                    <a:lnTo>
                      <a:pt x="173200" y="171877"/>
                    </a:lnTo>
                    <a:lnTo>
                      <a:pt x="172483" y="171074"/>
                    </a:lnTo>
                    <a:lnTo>
                      <a:pt x="169847" y="169674"/>
                    </a:lnTo>
                    <a:lnTo>
                      <a:pt x="166271" y="169462"/>
                    </a:lnTo>
                    <a:lnTo>
                      <a:pt x="165280" y="169293"/>
                    </a:lnTo>
                    <a:lnTo>
                      <a:pt x="164694" y="170165"/>
                    </a:lnTo>
                    <a:lnTo>
                      <a:pt x="163997" y="169684"/>
                    </a:lnTo>
                    <a:lnTo>
                      <a:pt x="164070" y="168159"/>
                    </a:lnTo>
                    <a:lnTo>
                      <a:pt x="159916" y="161328"/>
                    </a:lnTo>
                    <a:lnTo>
                      <a:pt x="157121" y="158544"/>
                    </a:lnTo>
                    <a:lnTo>
                      <a:pt x="155714" y="158047"/>
                    </a:lnTo>
                    <a:lnTo>
                      <a:pt x="153172" y="158635"/>
                    </a:lnTo>
                    <a:lnTo>
                      <a:pt x="148907" y="157414"/>
                    </a:lnTo>
                    <a:lnTo>
                      <a:pt x="146363" y="157141"/>
                    </a:lnTo>
                    <a:lnTo>
                      <a:pt x="144960" y="157435"/>
                    </a:lnTo>
                    <a:lnTo>
                      <a:pt x="142865" y="158328"/>
                    </a:lnTo>
                    <a:lnTo>
                      <a:pt x="141811" y="157738"/>
                    </a:lnTo>
                    <a:lnTo>
                      <a:pt x="141440" y="156822"/>
                    </a:lnTo>
                    <a:lnTo>
                      <a:pt x="137570" y="153977"/>
                    </a:lnTo>
                    <a:lnTo>
                      <a:pt x="132742" y="152368"/>
                    </a:lnTo>
                    <a:lnTo>
                      <a:pt x="123340" y="143293"/>
                    </a:lnTo>
                    <a:lnTo>
                      <a:pt x="120457" y="139892"/>
                    </a:lnTo>
                    <a:lnTo>
                      <a:pt x="114525" y="136145"/>
                    </a:lnTo>
                    <a:lnTo>
                      <a:pt x="110772" y="130679"/>
                    </a:lnTo>
                    <a:lnTo>
                      <a:pt x="107702" y="128672"/>
                    </a:lnTo>
                    <a:lnTo>
                      <a:pt x="103232" y="127064"/>
                    </a:lnTo>
                    <a:lnTo>
                      <a:pt x="102202" y="127265"/>
                    </a:lnTo>
                    <a:lnTo>
                      <a:pt x="100857" y="127868"/>
                    </a:lnTo>
                    <a:lnTo>
                      <a:pt x="99803" y="127954"/>
                    </a:lnTo>
                    <a:lnTo>
                      <a:pt x="98963" y="127242"/>
                    </a:lnTo>
                    <a:lnTo>
                      <a:pt x="99815" y="126509"/>
                    </a:lnTo>
                    <a:lnTo>
                      <a:pt x="100766" y="126176"/>
                    </a:lnTo>
                    <a:lnTo>
                      <a:pt x="100390" y="124081"/>
                    </a:lnTo>
                    <a:lnTo>
                      <a:pt x="95305" y="118644"/>
                    </a:lnTo>
                    <a:lnTo>
                      <a:pt x="92327" y="116890"/>
                    </a:lnTo>
                    <a:lnTo>
                      <a:pt x="91487" y="115810"/>
                    </a:lnTo>
                    <a:lnTo>
                      <a:pt x="90867" y="114331"/>
                    </a:lnTo>
                    <a:lnTo>
                      <a:pt x="90232" y="113357"/>
                    </a:lnTo>
                    <a:lnTo>
                      <a:pt x="88822" y="112798"/>
                    </a:lnTo>
                    <a:lnTo>
                      <a:pt x="87619" y="112894"/>
                    </a:lnTo>
                    <a:lnTo>
                      <a:pt x="85952" y="112521"/>
                    </a:lnTo>
                    <a:lnTo>
                      <a:pt x="86006" y="109905"/>
                    </a:lnTo>
                    <a:lnTo>
                      <a:pt x="86339" y="107893"/>
                    </a:lnTo>
                    <a:lnTo>
                      <a:pt x="86084" y="106184"/>
                    </a:lnTo>
                    <a:lnTo>
                      <a:pt x="84464" y="101686"/>
                    </a:lnTo>
                    <a:lnTo>
                      <a:pt x="81655" y="97867"/>
                    </a:lnTo>
                    <a:lnTo>
                      <a:pt x="80003" y="88722"/>
                    </a:lnTo>
                    <a:lnTo>
                      <a:pt x="78727" y="86142"/>
                    </a:lnTo>
                    <a:lnTo>
                      <a:pt x="75622" y="84182"/>
                    </a:lnTo>
                    <a:lnTo>
                      <a:pt x="68617" y="81983"/>
                    </a:lnTo>
                    <a:lnTo>
                      <a:pt x="58854" y="76070"/>
                    </a:lnTo>
                    <a:lnTo>
                      <a:pt x="56790" y="75968"/>
                    </a:lnTo>
                    <a:lnTo>
                      <a:pt x="50917" y="73666"/>
                    </a:lnTo>
                    <a:lnTo>
                      <a:pt x="47278" y="73271"/>
                    </a:lnTo>
                    <a:lnTo>
                      <a:pt x="42549" y="75339"/>
                    </a:lnTo>
                    <a:lnTo>
                      <a:pt x="36809" y="81026"/>
                    </a:lnTo>
                    <a:lnTo>
                      <a:pt x="32149" y="86915"/>
                    </a:lnTo>
                    <a:lnTo>
                      <a:pt x="30454" y="88055"/>
                    </a:lnTo>
                    <a:lnTo>
                      <a:pt x="24446" y="90059"/>
                    </a:lnTo>
                    <a:lnTo>
                      <a:pt x="19137" y="91016"/>
                    </a:lnTo>
                    <a:lnTo>
                      <a:pt x="19078" y="89509"/>
                    </a:lnTo>
                    <a:lnTo>
                      <a:pt x="18891" y="88376"/>
                    </a:lnTo>
                    <a:lnTo>
                      <a:pt x="19789" y="87127"/>
                    </a:lnTo>
                    <a:lnTo>
                      <a:pt x="21270" y="85657"/>
                    </a:lnTo>
                    <a:lnTo>
                      <a:pt x="22637" y="83812"/>
                    </a:lnTo>
                    <a:lnTo>
                      <a:pt x="23205" y="82471"/>
                    </a:lnTo>
                    <a:lnTo>
                      <a:pt x="22937" y="81581"/>
                    </a:lnTo>
                    <a:lnTo>
                      <a:pt x="22322" y="80258"/>
                    </a:lnTo>
                    <a:lnTo>
                      <a:pt x="21486" y="80162"/>
                    </a:lnTo>
                    <a:lnTo>
                      <a:pt x="16433" y="81273"/>
                    </a:lnTo>
                    <a:lnTo>
                      <a:pt x="15276" y="80986"/>
                    </a:lnTo>
                    <a:lnTo>
                      <a:pt x="11536" y="79259"/>
                    </a:lnTo>
                    <a:lnTo>
                      <a:pt x="7508" y="77134"/>
                    </a:lnTo>
                    <a:lnTo>
                      <a:pt x="6025" y="75622"/>
                    </a:lnTo>
                    <a:lnTo>
                      <a:pt x="5463" y="74093"/>
                    </a:lnTo>
                    <a:lnTo>
                      <a:pt x="5884" y="73111"/>
                    </a:lnTo>
                    <a:lnTo>
                      <a:pt x="5548" y="72157"/>
                    </a:lnTo>
                    <a:lnTo>
                      <a:pt x="4760" y="70868"/>
                    </a:lnTo>
                    <a:lnTo>
                      <a:pt x="5472" y="69403"/>
                    </a:lnTo>
                    <a:lnTo>
                      <a:pt x="6727" y="67576"/>
                    </a:lnTo>
                    <a:lnTo>
                      <a:pt x="7355" y="66337"/>
                    </a:lnTo>
                    <a:lnTo>
                      <a:pt x="8407" y="66015"/>
                    </a:lnTo>
                    <a:lnTo>
                      <a:pt x="8910" y="65259"/>
                    </a:lnTo>
                    <a:lnTo>
                      <a:pt x="8070" y="62243"/>
                    </a:lnTo>
                    <a:lnTo>
                      <a:pt x="7632" y="61760"/>
                    </a:lnTo>
                    <a:lnTo>
                      <a:pt x="6902" y="61385"/>
                    </a:lnTo>
                    <a:lnTo>
                      <a:pt x="5785" y="61343"/>
                    </a:lnTo>
                    <a:lnTo>
                      <a:pt x="3833" y="60719"/>
                    </a:lnTo>
                    <a:lnTo>
                      <a:pt x="2442" y="59675"/>
                    </a:lnTo>
                    <a:lnTo>
                      <a:pt x="2144" y="58265"/>
                    </a:lnTo>
                    <a:lnTo>
                      <a:pt x="1408" y="56909"/>
                    </a:lnTo>
                    <a:lnTo>
                      <a:pt x="156" y="55663"/>
                    </a:lnTo>
                    <a:lnTo>
                      <a:pt x="0" y="54301"/>
                    </a:lnTo>
                    <a:lnTo>
                      <a:pt x="1428" y="53580"/>
                    </a:lnTo>
                    <a:lnTo>
                      <a:pt x="3375" y="53552"/>
                    </a:lnTo>
                    <a:lnTo>
                      <a:pt x="4745" y="53817"/>
                    </a:lnTo>
                    <a:lnTo>
                      <a:pt x="7817" y="51629"/>
                    </a:lnTo>
                    <a:lnTo>
                      <a:pt x="8949" y="51436"/>
                    </a:lnTo>
                    <a:lnTo>
                      <a:pt x="9964" y="50961"/>
                    </a:lnTo>
                    <a:lnTo>
                      <a:pt x="10814" y="47971"/>
                    </a:lnTo>
                    <a:lnTo>
                      <a:pt x="11469" y="47073"/>
                    </a:lnTo>
                    <a:lnTo>
                      <a:pt x="11624" y="46546"/>
                    </a:lnTo>
                    <a:lnTo>
                      <a:pt x="11019" y="45922"/>
                    </a:lnTo>
                    <a:lnTo>
                      <a:pt x="8534" y="43813"/>
                    </a:lnTo>
                    <a:lnTo>
                      <a:pt x="7401" y="41612"/>
                    </a:lnTo>
                    <a:lnTo>
                      <a:pt x="5610" y="39142"/>
                    </a:lnTo>
                    <a:lnTo>
                      <a:pt x="3948" y="38050"/>
                    </a:lnTo>
                    <a:lnTo>
                      <a:pt x="3609" y="37201"/>
                    </a:lnTo>
                    <a:lnTo>
                      <a:pt x="3570" y="36121"/>
                    </a:lnTo>
                    <a:lnTo>
                      <a:pt x="3909" y="35171"/>
                    </a:lnTo>
                    <a:lnTo>
                      <a:pt x="6923" y="33687"/>
                    </a:lnTo>
                    <a:lnTo>
                      <a:pt x="8698" y="32103"/>
                    </a:lnTo>
                    <a:lnTo>
                      <a:pt x="9465" y="32710"/>
                    </a:lnTo>
                    <a:lnTo>
                      <a:pt x="11084" y="33354"/>
                    </a:lnTo>
                    <a:lnTo>
                      <a:pt x="15483" y="32473"/>
                    </a:lnTo>
                    <a:lnTo>
                      <a:pt x="18217" y="31588"/>
                    </a:lnTo>
                    <a:lnTo>
                      <a:pt x="20141" y="30657"/>
                    </a:lnTo>
                    <a:lnTo>
                      <a:pt x="21335" y="30822"/>
                    </a:lnTo>
                    <a:lnTo>
                      <a:pt x="25654" y="32212"/>
                    </a:lnTo>
                    <a:lnTo>
                      <a:pt x="27079" y="31505"/>
                    </a:lnTo>
                    <a:lnTo>
                      <a:pt x="30193" y="29615"/>
                    </a:lnTo>
                    <a:lnTo>
                      <a:pt x="30659" y="28621"/>
                    </a:lnTo>
                    <a:lnTo>
                      <a:pt x="33112" y="25606"/>
                    </a:lnTo>
                    <a:lnTo>
                      <a:pt x="33158" y="24869"/>
                    </a:lnTo>
                    <a:lnTo>
                      <a:pt x="32147" y="22975"/>
                    </a:lnTo>
                    <a:lnTo>
                      <a:pt x="32460" y="22559"/>
                    </a:lnTo>
                    <a:lnTo>
                      <a:pt x="35473" y="20615"/>
                    </a:lnTo>
                    <a:lnTo>
                      <a:pt x="36945" y="18890"/>
                    </a:lnTo>
                    <a:lnTo>
                      <a:pt x="38541" y="17734"/>
                    </a:lnTo>
                    <a:lnTo>
                      <a:pt x="39687" y="17708"/>
                    </a:lnTo>
                    <a:lnTo>
                      <a:pt x="40003" y="18101"/>
                    </a:lnTo>
                    <a:lnTo>
                      <a:pt x="40139" y="18908"/>
                    </a:lnTo>
                    <a:lnTo>
                      <a:pt x="40040" y="22232"/>
                    </a:lnTo>
                    <a:lnTo>
                      <a:pt x="40480" y="23255"/>
                    </a:lnTo>
                    <a:lnTo>
                      <a:pt x="42847" y="25637"/>
                    </a:lnTo>
                    <a:lnTo>
                      <a:pt x="44533" y="26993"/>
                    </a:lnTo>
                    <a:lnTo>
                      <a:pt x="48444" y="27923"/>
                    </a:lnTo>
                    <a:lnTo>
                      <a:pt x="48625" y="28368"/>
                    </a:lnTo>
                    <a:lnTo>
                      <a:pt x="47548" y="30160"/>
                    </a:lnTo>
                    <a:lnTo>
                      <a:pt x="49917" y="32299"/>
                    </a:lnTo>
                    <a:lnTo>
                      <a:pt x="50340" y="33864"/>
                    </a:lnTo>
                    <a:lnTo>
                      <a:pt x="51432" y="34744"/>
                    </a:lnTo>
                    <a:lnTo>
                      <a:pt x="52981" y="34312"/>
                    </a:lnTo>
                    <a:lnTo>
                      <a:pt x="53488" y="33488"/>
                    </a:lnTo>
                    <a:lnTo>
                      <a:pt x="52879" y="32039"/>
                    </a:lnTo>
                    <a:lnTo>
                      <a:pt x="52432" y="30521"/>
                    </a:lnTo>
                    <a:lnTo>
                      <a:pt x="52523" y="29643"/>
                    </a:lnTo>
                    <a:lnTo>
                      <a:pt x="52951" y="28633"/>
                    </a:lnTo>
                    <a:lnTo>
                      <a:pt x="54026" y="27224"/>
                    </a:lnTo>
                    <a:lnTo>
                      <a:pt x="56954" y="23993"/>
                    </a:lnTo>
                    <a:lnTo>
                      <a:pt x="58008" y="22123"/>
                    </a:lnTo>
                    <a:lnTo>
                      <a:pt x="58200" y="19228"/>
                    </a:lnTo>
                    <a:lnTo>
                      <a:pt x="58209" y="16899"/>
                    </a:lnTo>
                    <a:lnTo>
                      <a:pt x="59187" y="16334"/>
                    </a:lnTo>
                    <a:lnTo>
                      <a:pt x="61286" y="16747"/>
                    </a:lnTo>
                    <a:lnTo>
                      <a:pt x="61912" y="16701"/>
                    </a:lnTo>
                    <a:lnTo>
                      <a:pt x="62199" y="18131"/>
                    </a:lnTo>
                    <a:lnTo>
                      <a:pt x="63093" y="20405"/>
                    </a:lnTo>
                    <a:lnTo>
                      <a:pt x="64147" y="21585"/>
                    </a:lnTo>
                    <a:lnTo>
                      <a:pt x="65272" y="21865"/>
                    </a:lnTo>
                    <a:lnTo>
                      <a:pt x="66596" y="21871"/>
                    </a:lnTo>
                    <a:lnTo>
                      <a:pt x="69876" y="20481"/>
                    </a:lnTo>
                    <a:lnTo>
                      <a:pt x="72014" y="19879"/>
                    </a:lnTo>
                    <a:lnTo>
                      <a:pt x="73225" y="20044"/>
                    </a:lnTo>
                    <a:lnTo>
                      <a:pt x="73942" y="20990"/>
                    </a:lnTo>
                    <a:lnTo>
                      <a:pt x="75475" y="23471"/>
                    </a:lnTo>
                    <a:lnTo>
                      <a:pt x="76349" y="23751"/>
                    </a:lnTo>
                    <a:lnTo>
                      <a:pt x="77406" y="23467"/>
                    </a:lnTo>
                    <a:lnTo>
                      <a:pt x="77779" y="23044"/>
                    </a:lnTo>
                    <a:lnTo>
                      <a:pt x="77440" y="22090"/>
                    </a:lnTo>
                    <a:lnTo>
                      <a:pt x="76993" y="20015"/>
                    </a:lnTo>
                    <a:lnTo>
                      <a:pt x="76380" y="18410"/>
                    </a:lnTo>
                    <a:lnTo>
                      <a:pt x="75577" y="17657"/>
                    </a:lnTo>
                    <a:lnTo>
                      <a:pt x="75415" y="16677"/>
                    </a:lnTo>
                    <a:lnTo>
                      <a:pt x="75922" y="14912"/>
                    </a:lnTo>
                    <a:lnTo>
                      <a:pt x="76492" y="13436"/>
                    </a:lnTo>
                    <a:lnTo>
                      <a:pt x="77609" y="13034"/>
                    </a:lnTo>
                    <a:lnTo>
                      <a:pt x="78891" y="12847"/>
                    </a:lnTo>
                    <a:lnTo>
                      <a:pt x="80588" y="14410"/>
                    </a:lnTo>
                    <a:lnTo>
                      <a:pt x="82597" y="14904"/>
                    </a:lnTo>
                    <a:lnTo>
                      <a:pt x="84091" y="14821"/>
                    </a:lnTo>
                    <a:lnTo>
                      <a:pt x="84352" y="13909"/>
                    </a:lnTo>
                    <a:lnTo>
                      <a:pt x="84259" y="12909"/>
                    </a:lnTo>
                    <a:lnTo>
                      <a:pt x="83368" y="11625"/>
                    </a:lnTo>
                    <a:lnTo>
                      <a:pt x="83547" y="9683"/>
                    </a:lnTo>
                    <a:lnTo>
                      <a:pt x="84581" y="6060"/>
                    </a:lnTo>
                    <a:lnTo>
                      <a:pt x="85169" y="6334"/>
                    </a:lnTo>
                    <a:lnTo>
                      <a:pt x="87388" y="6373"/>
                    </a:lnTo>
                    <a:lnTo>
                      <a:pt x="89809" y="6577"/>
                    </a:lnTo>
                    <a:lnTo>
                      <a:pt x="91368" y="8056"/>
                    </a:lnTo>
                    <a:lnTo>
                      <a:pt x="92897" y="8559"/>
                    </a:lnTo>
                    <a:lnTo>
                      <a:pt x="95074" y="8719"/>
                    </a:lnTo>
                    <a:lnTo>
                      <a:pt x="96531" y="8510"/>
                    </a:lnTo>
                    <a:lnTo>
                      <a:pt x="97235" y="7954"/>
                    </a:lnTo>
                    <a:lnTo>
                      <a:pt x="98084" y="6222"/>
                    </a:lnTo>
                    <a:lnTo>
                      <a:pt x="99641" y="4074"/>
                    </a:lnTo>
                    <a:lnTo>
                      <a:pt x="102085" y="2972"/>
                    </a:lnTo>
                    <a:lnTo>
                      <a:pt x="106259" y="2766"/>
                    </a:lnTo>
                    <a:lnTo>
                      <a:pt x="108345" y="2366"/>
                    </a:lnTo>
                    <a:lnTo>
                      <a:pt x="110511" y="2389"/>
                    </a:lnTo>
                    <a:lnTo>
                      <a:pt x="112146" y="2721"/>
                    </a:lnTo>
                    <a:lnTo>
                      <a:pt x="113832" y="2682"/>
                    </a:lnTo>
                    <a:lnTo>
                      <a:pt x="118119" y="1185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2" name="ee4p_RS_1_15912">
                <a:extLst>
                  <a:ext uri="{FF2B5EF4-FFF2-40B4-BE49-F238E27FC236}">
                    <a16:creationId xmlns:a16="http://schemas.microsoft.com/office/drawing/2014/main" id="{4497EA58-841D-5BE6-9F56-9D6AE9730D15}"/>
                  </a:ext>
                </a:extLst>
              </p:cNvPr>
              <p:cNvSpPr>
                <a:spLocks noChangeAspect="1"/>
              </p:cNvSpPr>
              <p:nvPr>
                <p:custDataLst>
                  <p:tags r:id="rId273"/>
                </p:custDataLst>
              </p:nvPr>
            </p:nvSpPr>
            <p:spPr>
              <a:xfrm>
                <a:off x="5423094" y="4960605"/>
                <a:ext cx="362715" cy="422234"/>
              </a:xfrm>
              <a:custGeom>
                <a:avLst/>
                <a:gdLst/>
                <a:ahLst/>
                <a:cxnLst/>
                <a:rect l="0" t="0" r="0" b="0"/>
                <a:pathLst>
                  <a:path w="91497" h="106511">
                    <a:moveTo>
                      <a:pt x="19580" y="478"/>
                    </a:moveTo>
                    <a:lnTo>
                      <a:pt x="22231" y="644"/>
                    </a:lnTo>
                    <a:lnTo>
                      <a:pt x="24214" y="213"/>
                    </a:lnTo>
                    <a:lnTo>
                      <a:pt x="29241" y="755"/>
                    </a:lnTo>
                    <a:lnTo>
                      <a:pt x="30318" y="1194"/>
                    </a:lnTo>
                    <a:lnTo>
                      <a:pt x="31018" y="1676"/>
                    </a:lnTo>
                    <a:lnTo>
                      <a:pt x="32335" y="3276"/>
                    </a:lnTo>
                    <a:lnTo>
                      <a:pt x="33601" y="5353"/>
                    </a:lnTo>
                    <a:lnTo>
                      <a:pt x="35356" y="6311"/>
                    </a:lnTo>
                    <a:lnTo>
                      <a:pt x="37448" y="7450"/>
                    </a:lnTo>
                    <a:lnTo>
                      <a:pt x="38522" y="8278"/>
                    </a:lnTo>
                    <a:lnTo>
                      <a:pt x="40104" y="10762"/>
                    </a:lnTo>
                    <a:lnTo>
                      <a:pt x="41355" y="11977"/>
                    </a:lnTo>
                    <a:lnTo>
                      <a:pt x="41765" y="11918"/>
                    </a:lnTo>
                    <a:lnTo>
                      <a:pt x="42186" y="11599"/>
                    </a:lnTo>
                    <a:lnTo>
                      <a:pt x="42480" y="11348"/>
                    </a:lnTo>
                    <a:lnTo>
                      <a:pt x="42808" y="11577"/>
                    </a:lnTo>
                    <a:lnTo>
                      <a:pt x="42825" y="12328"/>
                    </a:lnTo>
                    <a:lnTo>
                      <a:pt x="42903" y="13994"/>
                    </a:lnTo>
                    <a:lnTo>
                      <a:pt x="42605" y="15769"/>
                    </a:lnTo>
                    <a:lnTo>
                      <a:pt x="43052" y="17446"/>
                    </a:lnTo>
                    <a:lnTo>
                      <a:pt x="43063" y="17968"/>
                    </a:lnTo>
                    <a:lnTo>
                      <a:pt x="42752" y="18445"/>
                    </a:lnTo>
                    <a:lnTo>
                      <a:pt x="42791" y="18876"/>
                    </a:lnTo>
                    <a:lnTo>
                      <a:pt x="43229" y="19330"/>
                    </a:lnTo>
                    <a:lnTo>
                      <a:pt x="44927" y="20438"/>
                    </a:lnTo>
                    <a:lnTo>
                      <a:pt x="46496" y="22145"/>
                    </a:lnTo>
                    <a:lnTo>
                      <a:pt x="48310" y="23346"/>
                    </a:lnTo>
                    <a:lnTo>
                      <a:pt x="49992" y="24113"/>
                    </a:lnTo>
                    <a:lnTo>
                      <a:pt x="51053" y="24163"/>
                    </a:lnTo>
                    <a:lnTo>
                      <a:pt x="52791" y="25546"/>
                    </a:lnTo>
                    <a:lnTo>
                      <a:pt x="56224" y="26538"/>
                    </a:lnTo>
                    <a:lnTo>
                      <a:pt x="57324" y="26881"/>
                    </a:lnTo>
                    <a:lnTo>
                      <a:pt x="58075" y="27447"/>
                    </a:lnTo>
                    <a:lnTo>
                      <a:pt x="58623" y="28103"/>
                    </a:lnTo>
                    <a:lnTo>
                      <a:pt x="58658" y="28805"/>
                    </a:lnTo>
                    <a:lnTo>
                      <a:pt x="58129" y="29145"/>
                    </a:lnTo>
                    <a:lnTo>
                      <a:pt x="57391" y="30094"/>
                    </a:lnTo>
                    <a:lnTo>
                      <a:pt x="57086" y="31248"/>
                    </a:lnTo>
                    <a:lnTo>
                      <a:pt x="56538" y="31542"/>
                    </a:lnTo>
                    <a:lnTo>
                      <a:pt x="55989" y="31565"/>
                    </a:lnTo>
                    <a:lnTo>
                      <a:pt x="55587" y="31903"/>
                    </a:lnTo>
                    <a:lnTo>
                      <a:pt x="55678" y="32401"/>
                    </a:lnTo>
                    <a:lnTo>
                      <a:pt x="56136" y="32875"/>
                    </a:lnTo>
                    <a:lnTo>
                      <a:pt x="56848" y="33304"/>
                    </a:lnTo>
                    <a:lnTo>
                      <a:pt x="58220" y="33734"/>
                    </a:lnTo>
                    <a:lnTo>
                      <a:pt x="59573" y="34366"/>
                    </a:lnTo>
                    <a:lnTo>
                      <a:pt x="59554" y="34862"/>
                    </a:lnTo>
                    <a:lnTo>
                      <a:pt x="59280" y="35405"/>
                    </a:lnTo>
                    <a:lnTo>
                      <a:pt x="57561" y="35607"/>
                    </a:lnTo>
                    <a:lnTo>
                      <a:pt x="56282" y="35698"/>
                    </a:lnTo>
                    <a:lnTo>
                      <a:pt x="55697" y="35923"/>
                    </a:lnTo>
                    <a:lnTo>
                      <a:pt x="55745" y="36882"/>
                    </a:lnTo>
                    <a:lnTo>
                      <a:pt x="59351" y="37880"/>
                    </a:lnTo>
                    <a:lnTo>
                      <a:pt x="60986" y="38826"/>
                    </a:lnTo>
                    <a:lnTo>
                      <a:pt x="61850" y="40052"/>
                    </a:lnTo>
                    <a:lnTo>
                      <a:pt x="64151" y="40863"/>
                    </a:lnTo>
                    <a:lnTo>
                      <a:pt x="67889" y="41259"/>
                    </a:lnTo>
                    <a:lnTo>
                      <a:pt x="70491" y="42519"/>
                    </a:lnTo>
                    <a:lnTo>
                      <a:pt x="71953" y="44640"/>
                    </a:lnTo>
                    <a:lnTo>
                      <a:pt x="74340" y="44130"/>
                    </a:lnTo>
                    <a:lnTo>
                      <a:pt x="77650" y="40987"/>
                    </a:lnTo>
                    <a:lnTo>
                      <a:pt x="80900" y="40166"/>
                    </a:lnTo>
                    <a:lnTo>
                      <a:pt x="84093" y="41672"/>
                    </a:lnTo>
                    <a:lnTo>
                      <a:pt x="85836" y="42910"/>
                    </a:lnTo>
                    <a:lnTo>
                      <a:pt x="86134" y="43878"/>
                    </a:lnTo>
                    <a:lnTo>
                      <a:pt x="85391" y="44270"/>
                    </a:lnTo>
                    <a:lnTo>
                      <a:pt x="83608" y="44084"/>
                    </a:lnTo>
                    <a:lnTo>
                      <a:pt x="82146" y="44683"/>
                    </a:lnTo>
                    <a:lnTo>
                      <a:pt x="81003" y="46063"/>
                    </a:lnTo>
                    <a:lnTo>
                      <a:pt x="80831" y="47536"/>
                    </a:lnTo>
                    <a:lnTo>
                      <a:pt x="81629" y="49097"/>
                    </a:lnTo>
                    <a:lnTo>
                      <a:pt x="82761" y="50173"/>
                    </a:lnTo>
                    <a:lnTo>
                      <a:pt x="84223" y="50768"/>
                    </a:lnTo>
                    <a:lnTo>
                      <a:pt x="85005" y="51581"/>
                    </a:lnTo>
                    <a:lnTo>
                      <a:pt x="85106" y="52617"/>
                    </a:lnTo>
                    <a:lnTo>
                      <a:pt x="85486" y="52902"/>
                    </a:lnTo>
                    <a:lnTo>
                      <a:pt x="84655" y="53379"/>
                    </a:lnTo>
                    <a:lnTo>
                      <a:pt x="83750" y="54087"/>
                    </a:lnTo>
                    <a:lnTo>
                      <a:pt x="83238" y="55320"/>
                    </a:lnTo>
                    <a:lnTo>
                      <a:pt x="83106" y="57306"/>
                    </a:lnTo>
                    <a:lnTo>
                      <a:pt x="80267" y="58857"/>
                    </a:lnTo>
                    <a:lnTo>
                      <a:pt x="79200" y="59143"/>
                    </a:lnTo>
                    <a:lnTo>
                      <a:pt x="78719" y="60169"/>
                    </a:lnTo>
                    <a:lnTo>
                      <a:pt x="77976" y="63073"/>
                    </a:lnTo>
                    <a:lnTo>
                      <a:pt x="78069" y="65256"/>
                    </a:lnTo>
                    <a:lnTo>
                      <a:pt x="78451" y="66367"/>
                    </a:lnTo>
                    <a:lnTo>
                      <a:pt x="78626" y="67271"/>
                    </a:lnTo>
                    <a:lnTo>
                      <a:pt x="79543" y="68382"/>
                    </a:lnTo>
                    <a:lnTo>
                      <a:pt x="80379" y="70087"/>
                    </a:lnTo>
                    <a:lnTo>
                      <a:pt x="80932" y="72334"/>
                    </a:lnTo>
                    <a:lnTo>
                      <a:pt x="82158" y="74067"/>
                    </a:lnTo>
                    <a:lnTo>
                      <a:pt x="85307" y="75773"/>
                    </a:lnTo>
                    <a:lnTo>
                      <a:pt x="86868" y="76766"/>
                    </a:lnTo>
                    <a:lnTo>
                      <a:pt x="88021" y="78202"/>
                    </a:lnTo>
                    <a:lnTo>
                      <a:pt x="88902" y="79502"/>
                    </a:lnTo>
                    <a:lnTo>
                      <a:pt x="91496" y="81230"/>
                    </a:lnTo>
                    <a:lnTo>
                      <a:pt x="91299" y="82464"/>
                    </a:lnTo>
                    <a:lnTo>
                      <a:pt x="90732" y="83670"/>
                    </a:lnTo>
                    <a:lnTo>
                      <a:pt x="90133" y="84236"/>
                    </a:lnTo>
                    <a:lnTo>
                      <a:pt x="88842" y="85783"/>
                    </a:lnTo>
                    <a:lnTo>
                      <a:pt x="87583" y="86655"/>
                    </a:lnTo>
                    <a:lnTo>
                      <a:pt x="85510" y="89382"/>
                    </a:lnTo>
                    <a:lnTo>
                      <a:pt x="82236" y="89528"/>
                    </a:lnTo>
                    <a:lnTo>
                      <a:pt x="81455" y="89746"/>
                    </a:lnTo>
                    <a:lnTo>
                      <a:pt x="80217" y="90491"/>
                    </a:lnTo>
                    <a:lnTo>
                      <a:pt x="79608" y="91851"/>
                    </a:lnTo>
                    <a:lnTo>
                      <a:pt x="80191" y="92944"/>
                    </a:lnTo>
                    <a:lnTo>
                      <a:pt x="80140" y="94048"/>
                    </a:lnTo>
                    <a:lnTo>
                      <a:pt x="79542" y="96195"/>
                    </a:lnTo>
                    <a:lnTo>
                      <a:pt x="80334" y="98485"/>
                    </a:lnTo>
                    <a:lnTo>
                      <a:pt x="81487" y="99536"/>
                    </a:lnTo>
                    <a:lnTo>
                      <a:pt x="81669" y="100142"/>
                    </a:lnTo>
                    <a:lnTo>
                      <a:pt x="81472" y="101215"/>
                    </a:lnTo>
                    <a:lnTo>
                      <a:pt x="79751" y="103395"/>
                    </a:lnTo>
                    <a:lnTo>
                      <a:pt x="79228" y="104202"/>
                    </a:lnTo>
                    <a:lnTo>
                      <a:pt x="77503" y="104598"/>
                    </a:lnTo>
                    <a:lnTo>
                      <a:pt x="76913" y="104391"/>
                    </a:lnTo>
                    <a:lnTo>
                      <a:pt x="76022" y="103642"/>
                    </a:lnTo>
                    <a:lnTo>
                      <a:pt x="75197" y="103421"/>
                    </a:lnTo>
                    <a:lnTo>
                      <a:pt x="73139" y="104304"/>
                    </a:lnTo>
                    <a:lnTo>
                      <a:pt x="71046" y="104846"/>
                    </a:lnTo>
                    <a:lnTo>
                      <a:pt x="69399" y="104436"/>
                    </a:lnTo>
                    <a:lnTo>
                      <a:pt x="67775" y="104382"/>
                    </a:lnTo>
                    <a:lnTo>
                      <a:pt x="66645" y="104746"/>
                    </a:lnTo>
                    <a:lnTo>
                      <a:pt x="65797" y="104887"/>
                    </a:lnTo>
                    <a:lnTo>
                      <a:pt x="64130" y="105829"/>
                    </a:lnTo>
                    <a:lnTo>
                      <a:pt x="61454" y="106510"/>
                    </a:lnTo>
                    <a:lnTo>
                      <a:pt x="60221" y="106367"/>
                    </a:lnTo>
                    <a:lnTo>
                      <a:pt x="59759" y="105481"/>
                    </a:lnTo>
                    <a:lnTo>
                      <a:pt x="59258" y="104213"/>
                    </a:lnTo>
                    <a:lnTo>
                      <a:pt x="59502" y="103638"/>
                    </a:lnTo>
                    <a:lnTo>
                      <a:pt x="61269" y="102641"/>
                    </a:lnTo>
                    <a:lnTo>
                      <a:pt x="61472" y="101687"/>
                    </a:lnTo>
                    <a:lnTo>
                      <a:pt x="63940" y="97093"/>
                    </a:lnTo>
                    <a:lnTo>
                      <a:pt x="64415" y="95596"/>
                    </a:lnTo>
                    <a:lnTo>
                      <a:pt x="64432" y="95107"/>
                    </a:lnTo>
                    <a:lnTo>
                      <a:pt x="63789" y="94782"/>
                    </a:lnTo>
                    <a:lnTo>
                      <a:pt x="62433" y="94796"/>
                    </a:lnTo>
                    <a:lnTo>
                      <a:pt x="56421" y="92927"/>
                    </a:lnTo>
                    <a:lnTo>
                      <a:pt x="56695" y="90784"/>
                    </a:lnTo>
                    <a:lnTo>
                      <a:pt x="54929" y="89628"/>
                    </a:lnTo>
                    <a:lnTo>
                      <a:pt x="53026" y="88597"/>
                    </a:lnTo>
                    <a:lnTo>
                      <a:pt x="52707" y="87446"/>
                    </a:lnTo>
                    <a:lnTo>
                      <a:pt x="50593" y="85120"/>
                    </a:lnTo>
                    <a:lnTo>
                      <a:pt x="49045" y="83814"/>
                    </a:lnTo>
                    <a:lnTo>
                      <a:pt x="47069" y="83162"/>
                    </a:lnTo>
                    <a:lnTo>
                      <a:pt x="45367" y="82206"/>
                    </a:lnTo>
                    <a:lnTo>
                      <a:pt x="44343" y="81621"/>
                    </a:lnTo>
                    <a:lnTo>
                      <a:pt x="43888" y="80533"/>
                    </a:lnTo>
                    <a:lnTo>
                      <a:pt x="43888" y="79889"/>
                    </a:lnTo>
                    <a:lnTo>
                      <a:pt x="43374" y="79267"/>
                    </a:lnTo>
                    <a:lnTo>
                      <a:pt x="42551" y="79334"/>
                    </a:lnTo>
                    <a:lnTo>
                      <a:pt x="41162" y="80200"/>
                    </a:lnTo>
                    <a:lnTo>
                      <a:pt x="39450" y="80945"/>
                    </a:lnTo>
                    <a:lnTo>
                      <a:pt x="39152" y="81487"/>
                    </a:lnTo>
                    <a:lnTo>
                      <a:pt x="39770" y="82777"/>
                    </a:lnTo>
                    <a:lnTo>
                      <a:pt x="40213" y="83595"/>
                    </a:lnTo>
                    <a:lnTo>
                      <a:pt x="40012" y="84371"/>
                    </a:lnTo>
                    <a:lnTo>
                      <a:pt x="39470" y="85357"/>
                    </a:lnTo>
                    <a:lnTo>
                      <a:pt x="36177" y="87531"/>
                    </a:lnTo>
                    <a:lnTo>
                      <a:pt x="35807" y="88294"/>
                    </a:lnTo>
                    <a:lnTo>
                      <a:pt x="36436" y="89512"/>
                    </a:lnTo>
                    <a:lnTo>
                      <a:pt x="36038" y="90078"/>
                    </a:lnTo>
                    <a:lnTo>
                      <a:pt x="33285" y="90880"/>
                    </a:lnTo>
                    <a:lnTo>
                      <a:pt x="33359" y="90215"/>
                    </a:lnTo>
                    <a:lnTo>
                      <a:pt x="33188" y="89142"/>
                    </a:lnTo>
                    <a:lnTo>
                      <a:pt x="31607" y="88002"/>
                    </a:lnTo>
                    <a:lnTo>
                      <a:pt x="29383" y="87117"/>
                    </a:lnTo>
                    <a:lnTo>
                      <a:pt x="24434" y="84084"/>
                    </a:lnTo>
                    <a:lnTo>
                      <a:pt x="22531" y="83685"/>
                    </a:lnTo>
                    <a:lnTo>
                      <a:pt x="20832" y="83330"/>
                    </a:lnTo>
                    <a:lnTo>
                      <a:pt x="18396" y="81875"/>
                    </a:lnTo>
                    <a:lnTo>
                      <a:pt x="17146" y="81621"/>
                    </a:lnTo>
                    <a:lnTo>
                      <a:pt x="15756" y="80579"/>
                    </a:lnTo>
                    <a:lnTo>
                      <a:pt x="12728" y="77071"/>
                    </a:lnTo>
                    <a:lnTo>
                      <a:pt x="10154" y="75157"/>
                    </a:lnTo>
                    <a:lnTo>
                      <a:pt x="8396" y="74189"/>
                    </a:lnTo>
                    <a:lnTo>
                      <a:pt x="7904" y="73245"/>
                    </a:lnTo>
                    <a:lnTo>
                      <a:pt x="7796" y="72274"/>
                    </a:lnTo>
                    <a:lnTo>
                      <a:pt x="7856" y="71944"/>
                    </a:lnTo>
                    <a:lnTo>
                      <a:pt x="9187" y="70568"/>
                    </a:lnTo>
                    <a:lnTo>
                      <a:pt x="10210" y="70368"/>
                    </a:lnTo>
                    <a:lnTo>
                      <a:pt x="11527" y="70323"/>
                    </a:lnTo>
                    <a:lnTo>
                      <a:pt x="12395" y="71021"/>
                    </a:lnTo>
                    <a:lnTo>
                      <a:pt x="13537" y="71169"/>
                    </a:lnTo>
                    <a:lnTo>
                      <a:pt x="14173" y="70277"/>
                    </a:lnTo>
                    <a:lnTo>
                      <a:pt x="14507" y="68991"/>
                    </a:lnTo>
                    <a:lnTo>
                      <a:pt x="14354" y="67354"/>
                    </a:lnTo>
                    <a:lnTo>
                      <a:pt x="11609" y="63541"/>
                    </a:lnTo>
                    <a:lnTo>
                      <a:pt x="9247" y="60878"/>
                    </a:lnTo>
                    <a:lnTo>
                      <a:pt x="8977" y="60290"/>
                    </a:lnTo>
                    <a:lnTo>
                      <a:pt x="9487" y="59792"/>
                    </a:lnTo>
                    <a:lnTo>
                      <a:pt x="10309" y="59524"/>
                    </a:lnTo>
                    <a:lnTo>
                      <a:pt x="11193" y="59747"/>
                    </a:lnTo>
                    <a:lnTo>
                      <a:pt x="13497" y="59939"/>
                    </a:lnTo>
                    <a:lnTo>
                      <a:pt x="15710" y="59693"/>
                    </a:lnTo>
                    <a:lnTo>
                      <a:pt x="16466" y="59044"/>
                    </a:lnTo>
                    <a:lnTo>
                      <a:pt x="16468" y="58168"/>
                    </a:lnTo>
                    <a:lnTo>
                      <a:pt x="15658" y="57355"/>
                    </a:lnTo>
                    <a:lnTo>
                      <a:pt x="13071" y="55160"/>
                    </a:lnTo>
                    <a:lnTo>
                      <a:pt x="11052" y="53226"/>
                    </a:lnTo>
                    <a:lnTo>
                      <a:pt x="8679" y="51742"/>
                    </a:lnTo>
                    <a:lnTo>
                      <a:pt x="6917" y="51145"/>
                    </a:lnTo>
                    <a:lnTo>
                      <a:pt x="6396" y="50392"/>
                    </a:lnTo>
                    <a:lnTo>
                      <a:pt x="6179" y="49586"/>
                    </a:lnTo>
                    <a:lnTo>
                      <a:pt x="6375" y="48103"/>
                    </a:lnTo>
                    <a:lnTo>
                      <a:pt x="6487" y="46221"/>
                    </a:lnTo>
                    <a:lnTo>
                      <a:pt x="6906" y="45037"/>
                    </a:lnTo>
                    <a:lnTo>
                      <a:pt x="8493" y="42799"/>
                    </a:lnTo>
                    <a:lnTo>
                      <a:pt x="10014" y="40424"/>
                    </a:lnTo>
                    <a:lnTo>
                      <a:pt x="10955" y="38137"/>
                    </a:lnTo>
                    <a:lnTo>
                      <a:pt x="11450" y="36012"/>
                    </a:lnTo>
                    <a:lnTo>
                      <a:pt x="11268" y="35402"/>
                    </a:lnTo>
                    <a:lnTo>
                      <a:pt x="10473" y="34950"/>
                    </a:lnTo>
                    <a:lnTo>
                      <a:pt x="8795" y="34491"/>
                    </a:lnTo>
                    <a:lnTo>
                      <a:pt x="6468" y="34891"/>
                    </a:lnTo>
                    <a:lnTo>
                      <a:pt x="4490" y="35663"/>
                    </a:lnTo>
                    <a:lnTo>
                      <a:pt x="3717" y="35722"/>
                    </a:lnTo>
                    <a:lnTo>
                      <a:pt x="3460" y="34771"/>
                    </a:lnTo>
                    <a:lnTo>
                      <a:pt x="3771" y="34352"/>
                    </a:lnTo>
                    <a:lnTo>
                      <a:pt x="4390" y="34402"/>
                    </a:lnTo>
                    <a:lnTo>
                      <a:pt x="4898" y="34581"/>
                    </a:lnTo>
                    <a:lnTo>
                      <a:pt x="5444" y="34150"/>
                    </a:lnTo>
                    <a:lnTo>
                      <a:pt x="5770" y="32866"/>
                    </a:lnTo>
                    <a:lnTo>
                      <a:pt x="4950" y="28396"/>
                    </a:lnTo>
                    <a:lnTo>
                      <a:pt x="6427" y="27999"/>
                    </a:lnTo>
                    <a:lnTo>
                      <a:pt x="6451" y="27348"/>
                    </a:lnTo>
                    <a:lnTo>
                      <a:pt x="6587" y="26780"/>
                    </a:lnTo>
                    <a:lnTo>
                      <a:pt x="8113" y="27559"/>
                    </a:lnTo>
                    <a:lnTo>
                      <a:pt x="10260" y="27573"/>
                    </a:lnTo>
                    <a:lnTo>
                      <a:pt x="12141" y="27416"/>
                    </a:lnTo>
                    <a:lnTo>
                      <a:pt x="12425" y="26976"/>
                    </a:lnTo>
                    <a:lnTo>
                      <a:pt x="12404" y="26335"/>
                    </a:lnTo>
                    <a:lnTo>
                      <a:pt x="12013" y="25839"/>
                    </a:lnTo>
                    <a:lnTo>
                      <a:pt x="11348" y="25433"/>
                    </a:lnTo>
                    <a:lnTo>
                      <a:pt x="10862" y="24812"/>
                    </a:lnTo>
                    <a:lnTo>
                      <a:pt x="9592" y="24541"/>
                    </a:lnTo>
                    <a:lnTo>
                      <a:pt x="5617" y="22925"/>
                    </a:lnTo>
                    <a:lnTo>
                      <a:pt x="3663" y="21207"/>
                    </a:lnTo>
                    <a:lnTo>
                      <a:pt x="3728" y="19387"/>
                    </a:lnTo>
                    <a:lnTo>
                      <a:pt x="4295" y="18388"/>
                    </a:lnTo>
                    <a:lnTo>
                      <a:pt x="4980" y="18036"/>
                    </a:lnTo>
                    <a:lnTo>
                      <a:pt x="4777" y="17699"/>
                    </a:lnTo>
                    <a:lnTo>
                      <a:pt x="2535" y="16854"/>
                    </a:lnTo>
                    <a:lnTo>
                      <a:pt x="1743" y="15677"/>
                    </a:lnTo>
                    <a:lnTo>
                      <a:pt x="2393" y="14164"/>
                    </a:lnTo>
                    <a:lnTo>
                      <a:pt x="1227" y="11100"/>
                    </a:lnTo>
                    <a:lnTo>
                      <a:pt x="0" y="9209"/>
                    </a:lnTo>
                    <a:lnTo>
                      <a:pt x="1205" y="8387"/>
                    </a:lnTo>
                    <a:lnTo>
                      <a:pt x="1372" y="7226"/>
                    </a:lnTo>
                    <a:lnTo>
                      <a:pt x="1467" y="6561"/>
                    </a:lnTo>
                    <a:lnTo>
                      <a:pt x="1963" y="6570"/>
                    </a:lnTo>
                    <a:lnTo>
                      <a:pt x="3907" y="5789"/>
                    </a:lnTo>
                    <a:lnTo>
                      <a:pt x="4613" y="5155"/>
                    </a:lnTo>
                    <a:lnTo>
                      <a:pt x="5023" y="4413"/>
                    </a:lnTo>
                    <a:lnTo>
                      <a:pt x="5489" y="4230"/>
                    </a:lnTo>
                    <a:lnTo>
                      <a:pt x="6794" y="5035"/>
                    </a:lnTo>
                    <a:lnTo>
                      <a:pt x="8167" y="5106"/>
                    </a:lnTo>
                    <a:lnTo>
                      <a:pt x="9709" y="4597"/>
                    </a:lnTo>
                    <a:lnTo>
                      <a:pt x="10862" y="3889"/>
                    </a:lnTo>
                    <a:lnTo>
                      <a:pt x="12246" y="3301"/>
                    </a:lnTo>
                    <a:lnTo>
                      <a:pt x="12875" y="2896"/>
                    </a:lnTo>
                    <a:lnTo>
                      <a:pt x="13676" y="2263"/>
                    </a:lnTo>
                    <a:lnTo>
                      <a:pt x="15295" y="388"/>
                    </a:lnTo>
                    <a:lnTo>
                      <a:pt x="17124" y="0"/>
                    </a:lnTo>
                    <a:close/>
                  </a:path>
                </a:pathLst>
              </a:custGeom>
              <a:solidFill>
                <a:srgbClr val="FDDEBE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3" name="ee4p_SK_1_15912">
                <a:extLst>
                  <a:ext uri="{FF2B5EF4-FFF2-40B4-BE49-F238E27FC236}">
                    <a16:creationId xmlns:a16="http://schemas.microsoft.com/office/drawing/2014/main" id="{0A5AAF99-12A2-78DC-3361-37A08392FC5E}"/>
                  </a:ext>
                </a:extLst>
              </p:cNvPr>
              <p:cNvSpPr>
                <a:spLocks noChangeAspect="1"/>
              </p:cNvSpPr>
              <p:nvPr>
                <p:custDataLst>
                  <p:tags r:id="rId274"/>
                </p:custDataLst>
              </p:nvPr>
            </p:nvSpPr>
            <p:spPr>
              <a:xfrm>
                <a:off x="5249854" y="4577530"/>
                <a:ext cx="497547" cy="206750"/>
              </a:xfrm>
              <a:custGeom>
                <a:avLst/>
                <a:gdLst/>
                <a:ahLst/>
                <a:cxnLst/>
                <a:rect l="0" t="0" r="0" b="0"/>
                <a:pathLst>
                  <a:path w="125509" h="52154">
                    <a:moveTo>
                      <a:pt x="125508" y="15038"/>
                    </a:moveTo>
                    <a:lnTo>
                      <a:pt x="125186" y="16218"/>
                    </a:lnTo>
                    <a:lnTo>
                      <a:pt x="124281" y="17591"/>
                    </a:lnTo>
                    <a:lnTo>
                      <a:pt x="123150" y="19009"/>
                    </a:lnTo>
                    <a:lnTo>
                      <a:pt x="122208" y="20721"/>
                    </a:lnTo>
                    <a:lnTo>
                      <a:pt x="120951" y="24378"/>
                    </a:lnTo>
                    <a:lnTo>
                      <a:pt x="120124" y="26062"/>
                    </a:lnTo>
                    <a:lnTo>
                      <a:pt x="116756" y="29396"/>
                    </a:lnTo>
                    <a:lnTo>
                      <a:pt x="116512" y="34025"/>
                    </a:lnTo>
                    <a:lnTo>
                      <a:pt x="116058" y="34364"/>
                    </a:lnTo>
                    <a:lnTo>
                      <a:pt x="108444" y="35930"/>
                    </a:lnTo>
                    <a:lnTo>
                      <a:pt x="107438" y="35690"/>
                    </a:lnTo>
                    <a:lnTo>
                      <a:pt x="106401" y="34789"/>
                    </a:lnTo>
                    <a:lnTo>
                      <a:pt x="105827" y="34134"/>
                    </a:lnTo>
                    <a:lnTo>
                      <a:pt x="105471" y="33651"/>
                    </a:lnTo>
                    <a:lnTo>
                      <a:pt x="104810" y="32371"/>
                    </a:lnTo>
                    <a:lnTo>
                      <a:pt x="103938" y="31462"/>
                    </a:lnTo>
                    <a:lnTo>
                      <a:pt x="102644" y="30720"/>
                    </a:lnTo>
                    <a:lnTo>
                      <a:pt x="101465" y="29857"/>
                    </a:lnTo>
                    <a:lnTo>
                      <a:pt x="99940" y="29823"/>
                    </a:lnTo>
                    <a:lnTo>
                      <a:pt x="95827" y="31039"/>
                    </a:lnTo>
                    <a:lnTo>
                      <a:pt x="92972" y="31172"/>
                    </a:lnTo>
                    <a:lnTo>
                      <a:pt x="91067" y="30782"/>
                    </a:lnTo>
                    <a:lnTo>
                      <a:pt x="88535" y="30045"/>
                    </a:lnTo>
                    <a:lnTo>
                      <a:pt x="83594" y="29929"/>
                    </a:lnTo>
                    <a:lnTo>
                      <a:pt x="80208" y="30577"/>
                    </a:lnTo>
                    <a:lnTo>
                      <a:pt x="79875" y="31479"/>
                    </a:lnTo>
                    <a:lnTo>
                      <a:pt x="76753" y="37134"/>
                    </a:lnTo>
                    <a:lnTo>
                      <a:pt x="72216" y="39215"/>
                    </a:lnTo>
                    <a:lnTo>
                      <a:pt x="68275" y="41347"/>
                    </a:lnTo>
                    <a:lnTo>
                      <a:pt x="67131" y="41778"/>
                    </a:lnTo>
                    <a:lnTo>
                      <a:pt x="65172" y="41109"/>
                    </a:lnTo>
                    <a:lnTo>
                      <a:pt x="62942" y="39843"/>
                    </a:lnTo>
                    <a:lnTo>
                      <a:pt x="61089" y="39185"/>
                    </a:lnTo>
                    <a:lnTo>
                      <a:pt x="59737" y="39475"/>
                    </a:lnTo>
                    <a:lnTo>
                      <a:pt x="58260" y="40909"/>
                    </a:lnTo>
                    <a:lnTo>
                      <a:pt x="57586" y="42362"/>
                    </a:lnTo>
                    <a:lnTo>
                      <a:pt x="53123" y="43425"/>
                    </a:lnTo>
                    <a:lnTo>
                      <a:pt x="45362" y="44053"/>
                    </a:lnTo>
                    <a:lnTo>
                      <a:pt x="42658" y="45479"/>
                    </a:lnTo>
                    <a:lnTo>
                      <a:pt x="41734" y="47195"/>
                    </a:lnTo>
                    <a:lnTo>
                      <a:pt x="41695" y="48514"/>
                    </a:lnTo>
                    <a:lnTo>
                      <a:pt x="42352" y="49635"/>
                    </a:lnTo>
                    <a:lnTo>
                      <a:pt x="41525" y="50941"/>
                    </a:lnTo>
                    <a:lnTo>
                      <a:pt x="41162" y="51486"/>
                    </a:lnTo>
                    <a:lnTo>
                      <a:pt x="35679" y="51772"/>
                    </a:lnTo>
                    <a:lnTo>
                      <a:pt x="28368" y="52153"/>
                    </a:lnTo>
                    <a:lnTo>
                      <a:pt x="23997" y="52056"/>
                    </a:lnTo>
                    <a:lnTo>
                      <a:pt x="19883" y="51964"/>
                    </a:lnTo>
                    <a:lnTo>
                      <a:pt x="17083" y="50845"/>
                    </a:lnTo>
                    <a:lnTo>
                      <a:pt x="13664" y="48657"/>
                    </a:lnTo>
                    <a:lnTo>
                      <a:pt x="10052" y="45743"/>
                    </a:lnTo>
                    <a:lnTo>
                      <a:pt x="9704" y="45675"/>
                    </a:lnTo>
                    <a:lnTo>
                      <a:pt x="9167" y="45365"/>
                    </a:lnTo>
                    <a:lnTo>
                      <a:pt x="6897" y="45147"/>
                    </a:lnTo>
                    <a:lnTo>
                      <a:pt x="6294" y="45319"/>
                    </a:lnTo>
                    <a:lnTo>
                      <a:pt x="4936" y="44371"/>
                    </a:lnTo>
                    <a:lnTo>
                      <a:pt x="4537" y="43137"/>
                    </a:lnTo>
                    <a:lnTo>
                      <a:pt x="2431" y="39892"/>
                    </a:lnTo>
                    <a:lnTo>
                      <a:pt x="60" y="34547"/>
                    </a:lnTo>
                    <a:lnTo>
                      <a:pt x="0" y="33002"/>
                    </a:lnTo>
                    <a:lnTo>
                      <a:pt x="924" y="31241"/>
                    </a:lnTo>
                    <a:lnTo>
                      <a:pt x="1783" y="29895"/>
                    </a:lnTo>
                    <a:lnTo>
                      <a:pt x="1904" y="28826"/>
                    </a:lnTo>
                    <a:lnTo>
                      <a:pt x="2000" y="28535"/>
                    </a:lnTo>
                    <a:lnTo>
                      <a:pt x="2710" y="26316"/>
                    </a:lnTo>
                    <a:lnTo>
                      <a:pt x="4435" y="23362"/>
                    </a:lnTo>
                    <a:lnTo>
                      <a:pt x="6035" y="21645"/>
                    </a:lnTo>
                    <a:lnTo>
                      <a:pt x="7203" y="21078"/>
                    </a:lnTo>
                    <a:lnTo>
                      <a:pt x="9600" y="21595"/>
                    </a:lnTo>
                    <a:lnTo>
                      <a:pt x="13708" y="22023"/>
                    </a:lnTo>
                    <a:lnTo>
                      <a:pt x="16865" y="21622"/>
                    </a:lnTo>
                    <a:lnTo>
                      <a:pt x="19808" y="20304"/>
                    </a:lnTo>
                    <a:lnTo>
                      <a:pt x="21408" y="19150"/>
                    </a:lnTo>
                    <a:lnTo>
                      <a:pt x="22775" y="17937"/>
                    </a:lnTo>
                    <a:lnTo>
                      <a:pt x="23230" y="17150"/>
                    </a:lnTo>
                    <a:lnTo>
                      <a:pt x="23837" y="16772"/>
                    </a:lnTo>
                    <a:lnTo>
                      <a:pt x="26273" y="16071"/>
                    </a:lnTo>
                    <a:lnTo>
                      <a:pt x="27048" y="15254"/>
                    </a:lnTo>
                    <a:lnTo>
                      <a:pt x="27368" y="13706"/>
                    </a:lnTo>
                    <a:lnTo>
                      <a:pt x="27579" y="11978"/>
                    </a:lnTo>
                    <a:lnTo>
                      <a:pt x="28081" y="10698"/>
                    </a:lnTo>
                    <a:lnTo>
                      <a:pt x="28707" y="9759"/>
                    </a:lnTo>
                    <a:lnTo>
                      <a:pt x="33215" y="7501"/>
                    </a:lnTo>
                    <a:lnTo>
                      <a:pt x="33619" y="6708"/>
                    </a:lnTo>
                    <a:lnTo>
                      <a:pt x="34343" y="5934"/>
                    </a:lnTo>
                    <a:lnTo>
                      <a:pt x="35675" y="5069"/>
                    </a:lnTo>
                    <a:lnTo>
                      <a:pt x="36968" y="3819"/>
                    </a:lnTo>
                    <a:lnTo>
                      <a:pt x="38338" y="3051"/>
                    </a:lnTo>
                    <a:lnTo>
                      <a:pt x="40100" y="3137"/>
                    </a:lnTo>
                    <a:lnTo>
                      <a:pt x="41725" y="2978"/>
                    </a:lnTo>
                    <a:lnTo>
                      <a:pt x="42993" y="2541"/>
                    </a:lnTo>
                    <a:lnTo>
                      <a:pt x="43550" y="2496"/>
                    </a:lnTo>
                    <a:lnTo>
                      <a:pt x="45893" y="2855"/>
                    </a:lnTo>
                    <a:lnTo>
                      <a:pt x="46314" y="4290"/>
                    </a:lnTo>
                    <a:lnTo>
                      <a:pt x="46560" y="5782"/>
                    </a:lnTo>
                    <a:lnTo>
                      <a:pt x="50564" y="5674"/>
                    </a:lnTo>
                    <a:lnTo>
                      <a:pt x="52793" y="2478"/>
                    </a:lnTo>
                    <a:lnTo>
                      <a:pt x="53946" y="2092"/>
                    </a:lnTo>
                    <a:lnTo>
                      <a:pt x="55801" y="979"/>
                    </a:lnTo>
                    <a:lnTo>
                      <a:pt x="57025" y="0"/>
                    </a:lnTo>
                    <a:lnTo>
                      <a:pt x="57867" y="613"/>
                    </a:lnTo>
                    <a:lnTo>
                      <a:pt x="59085" y="2669"/>
                    </a:lnTo>
                    <a:lnTo>
                      <a:pt x="60374" y="4323"/>
                    </a:lnTo>
                    <a:lnTo>
                      <a:pt x="61117" y="4976"/>
                    </a:lnTo>
                    <a:lnTo>
                      <a:pt x="61197" y="5484"/>
                    </a:lnTo>
                    <a:lnTo>
                      <a:pt x="61946" y="5788"/>
                    </a:lnTo>
                    <a:lnTo>
                      <a:pt x="63404" y="5972"/>
                    </a:lnTo>
                    <a:lnTo>
                      <a:pt x="64373" y="6472"/>
                    </a:lnTo>
                    <a:lnTo>
                      <a:pt x="64663" y="8008"/>
                    </a:lnTo>
                    <a:lnTo>
                      <a:pt x="64684" y="9399"/>
                    </a:lnTo>
                    <a:lnTo>
                      <a:pt x="64229" y="10393"/>
                    </a:lnTo>
                    <a:lnTo>
                      <a:pt x="63991" y="11275"/>
                    </a:lnTo>
                    <a:lnTo>
                      <a:pt x="65000" y="11620"/>
                    </a:lnTo>
                    <a:lnTo>
                      <a:pt x="66474" y="11286"/>
                    </a:lnTo>
                    <a:lnTo>
                      <a:pt x="67517" y="10789"/>
                    </a:lnTo>
                    <a:lnTo>
                      <a:pt x="70646" y="11935"/>
                    </a:lnTo>
                    <a:lnTo>
                      <a:pt x="71752" y="9376"/>
                    </a:lnTo>
                    <a:lnTo>
                      <a:pt x="72991" y="8069"/>
                    </a:lnTo>
                    <a:lnTo>
                      <a:pt x="74602" y="7461"/>
                    </a:lnTo>
                    <a:lnTo>
                      <a:pt x="76062" y="6662"/>
                    </a:lnTo>
                    <a:lnTo>
                      <a:pt x="77399" y="6097"/>
                    </a:lnTo>
                    <a:lnTo>
                      <a:pt x="78321" y="6130"/>
                    </a:lnTo>
                    <a:lnTo>
                      <a:pt x="78718" y="5894"/>
                    </a:lnTo>
                    <a:lnTo>
                      <a:pt x="79865" y="5955"/>
                    </a:lnTo>
                    <a:lnTo>
                      <a:pt x="81193" y="6213"/>
                    </a:lnTo>
                    <a:lnTo>
                      <a:pt x="82996" y="5912"/>
                    </a:lnTo>
                    <a:lnTo>
                      <a:pt x="85492" y="6536"/>
                    </a:lnTo>
                    <a:lnTo>
                      <a:pt x="87051" y="7718"/>
                    </a:lnTo>
                    <a:lnTo>
                      <a:pt x="88576" y="8118"/>
                    </a:lnTo>
                    <a:lnTo>
                      <a:pt x="90318" y="8049"/>
                    </a:lnTo>
                    <a:lnTo>
                      <a:pt x="91510" y="7398"/>
                    </a:lnTo>
                    <a:lnTo>
                      <a:pt x="93240" y="5150"/>
                    </a:lnTo>
                    <a:lnTo>
                      <a:pt x="94495" y="5186"/>
                    </a:lnTo>
                    <a:lnTo>
                      <a:pt x="96460" y="4830"/>
                    </a:lnTo>
                    <a:lnTo>
                      <a:pt x="99234" y="4850"/>
                    </a:lnTo>
                    <a:lnTo>
                      <a:pt x="105628" y="5331"/>
                    </a:lnTo>
                    <a:lnTo>
                      <a:pt x="107231" y="6192"/>
                    </a:lnTo>
                    <a:lnTo>
                      <a:pt x="111167" y="7294"/>
                    </a:lnTo>
                    <a:lnTo>
                      <a:pt x="112882" y="8565"/>
                    </a:lnTo>
                    <a:lnTo>
                      <a:pt x="113644" y="10082"/>
                    </a:lnTo>
                    <a:lnTo>
                      <a:pt x="114041" y="11128"/>
                    </a:lnTo>
                    <a:lnTo>
                      <a:pt x="118075" y="12738"/>
                    </a:lnTo>
                    <a:lnTo>
                      <a:pt x="124056" y="14793"/>
                    </a:lnTo>
                    <a:close/>
                  </a:path>
                </a:pathLst>
              </a:custGeom>
              <a:solidFill>
                <a:srgbClr val="AB5905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4" name="ee4p_SI_1_15912">
                <a:extLst>
                  <a:ext uri="{FF2B5EF4-FFF2-40B4-BE49-F238E27FC236}">
                    <a16:creationId xmlns:a16="http://schemas.microsoft.com/office/drawing/2014/main" id="{02D2803C-4210-8109-C823-7525A6C6E753}"/>
                  </a:ext>
                </a:extLst>
              </p:cNvPr>
              <p:cNvSpPr>
                <a:spLocks noChangeAspect="1"/>
              </p:cNvSpPr>
              <p:nvPr>
                <p:custDataLst>
                  <p:tags r:id="rId275"/>
                </p:custDataLst>
              </p:nvPr>
            </p:nvSpPr>
            <p:spPr>
              <a:xfrm>
                <a:off x="4944414" y="4884207"/>
                <a:ext cx="275070" cy="157332"/>
              </a:xfrm>
              <a:custGeom>
                <a:avLst/>
                <a:gdLst/>
                <a:ahLst/>
                <a:cxnLst/>
                <a:rect l="0" t="0" r="0" b="0"/>
                <a:pathLst>
                  <a:path w="69388" h="39688">
                    <a:moveTo>
                      <a:pt x="69387" y="10107"/>
                    </a:moveTo>
                    <a:lnTo>
                      <a:pt x="67429" y="9427"/>
                    </a:lnTo>
                    <a:lnTo>
                      <a:pt x="65075" y="9143"/>
                    </a:lnTo>
                    <a:lnTo>
                      <a:pt x="64632" y="9511"/>
                    </a:lnTo>
                    <a:lnTo>
                      <a:pt x="63686" y="9885"/>
                    </a:lnTo>
                    <a:lnTo>
                      <a:pt x="63207" y="10553"/>
                    </a:lnTo>
                    <a:lnTo>
                      <a:pt x="63574" y="13181"/>
                    </a:lnTo>
                    <a:lnTo>
                      <a:pt x="63002" y="13632"/>
                    </a:lnTo>
                    <a:lnTo>
                      <a:pt x="60326" y="13372"/>
                    </a:lnTo>
                    <a:lnTo>
                      <a:pt x="59443" y="13674"/>
                    </a:lnTo>
                    <a:lnTo>
                      <a:pt x="57988" y="15502"/>
                    </a:lnTo>
                    <a:lnTo>
                      <a:pt x="56498" y="16270"/>
                    </a:lnTo>
                    <a:lnTo>
                      <a:pt x="54602" y="16818"/>
                    </a:lnTo>
                    <a:lnTo>
                      <a:pt x="53203" y="17479"/>
                    </a:lnTo>
                    <a:lnTo>
                      <a:pt x="51432" y="18053"/>
                    </a:lnTo>
                    <a:lnTo>
                      <a:pt x="49922" y="18399"/>
                    </a:lnTo>
                    <a:lnTo>
                      <a:pt x="49327" y="19197"/>
                    </a:lnTo>
                    <a:lnTo>
                      <a:pt x="48964" y="20080"/>
                    </a:lnTo>
                    <a:lnTo>
                      <a:pt x="49059" y="20930"/>
                    </a:lnTo>
                    <a:lnTo>
                      <a:pt x="50592" y="22609"/>
                    </a:lnTo>
                    <a:lnTo>
                      <a:pt x="50799" y="24399"/>
                    </a:lnTo>
                    <a:lnTo>
                      <a:pt x="50633" y="26586"/>
                    </a:lnTo>
                    <a:lnTo>
                      <a:pt x="50281" y="27752"/>
                    </a:lnTo>
                    <a:lnTo>
                      <a:pt x="49676" y="28527"/>
                    </a:lnTo>
                    <a:lnTo>
                      <a:pt x="45902" y="29532"/>
                    </a:lnTo>
                    <a:lnTo>
                      <a:pt x="41987" y="31322"/>
                    </a:lnTo>
                    <a:lnTo>
                      <a:pt x="41896" y="31732"/>
                    </a:lnTo>
                    <a:lnTo>
                      <a:pt x="43682" y="33323"/>
                    </a:lnTo>
                    <a:lnTo>
                      <a:pt x="43753" y="33720"/>
                    </a:lnTo>
                    <a:lnTo>
                      <a:pt x="42276" y="34624"/>
                    </a:lnTo>
                    <a:lnTo>
                      <a:pt x="42131" y="35530"/>
                    </a:lnTo>
                    <a:lnTo>
                      <a:pt x="42300" y="36578"/>
                    </a:lnTo>
                    <a:lnTo>
                      <a:pt x="43084" y="37657"/>
                    </a:lnTo>
                    <a:lnTo>
                      <a:pt x="43367" y="38625"/>
                    </a:lnTo>
                    <a:lnTo>
                      <a:pt x="41214" y="39329"/>
                    </a:lnTo>
                    <a:lnTo>
                      <a:pt x="38303" y="39072"/>
                    </a:lnTo>
                    <a:lnTo>
                      <a:pt x="34857" y="37723"/>
                    </a:lnTo>
                    <a:lnTo>
                      <a:pt x="33649" y="37921"/>
                    </a:lnTo>
                    <a:lnTo>
                      <a:pt x="32479" y="38617"/>
                    </a:lnTo>
                    <a:lnTo>
                      <a:pt x="31285" y="38318"/>
                    </a:lnTo>
                    <a:lnTo>
                      <a:pt x="29970" y="37487"/>
                    </a:lnTo>
                    <a:lnTo>
                      <a:pt x="28111" y="35756"/>
                    </a:lnTo>
                    <a:lnTo>
                      <a:pt x="27206" y="34693"/>
                    </a:lnTo>
                    <a:lnTo>
                      <a:pt x="26834" y="33561"/>
                    </a:lnTo>
                    <a:lnTo>
                      <a:pt x="26327" y="33397"/>
                    </a:lnTo>
                    <a:lnTo>
                      <a:pt x="25556" y="33726"/>
                    </a:lnTo>
                    <a:lnTo>
                      <a:pt x="24919" y="35103"/>
                    </a:lnTo>
                    <a:lnTo>
                      <a:pt x="23198" y="37562"/>
                    </a:lnTo>
                    <a:lnTo>
                      <a:pt x="21928" y="38230"/>
                    </a:lnTo>
                    <a:lnTo>
                      <a:pt x="20006" y="38088"/>
                    </a:lnTo>
                    <a:lnTo>
                      <a:pt x="17314" y="38128"/>
                    </a:lnTo>
                    <a:lnTo>
                      <a:pt x="15640" y="38329"/>
                    </a:lnTo>
                    <a:lnTo>
                      <a:pt x="13589" y="37461"/>
                    </a:lnTo>
                    <a:lnTo>
                      <a:pt x="13092" y="37628"/>
                    </a:lnTo>
                    <a:lnTo>
                      <a:pt x="13088" y="38198"/>
                    </a:lnTo>
                    <a:lnTo>
                      <a:pt x="12325" y="39098"/>
                    </a:lnTo>
                    <a:lnTo>
                      <a:pt x="11067" y="39687"/>
                    </a:lnTo>
                    <a:lnTo>
                      <a:pt x="5241" y="38359"/>
                    </a:lnTo>
                    <a:lnTo>
                      <a:pt x="4416" y="37256"/>
                    </a:lnTo>
                    <a:lnTo>
                      <a:pt x="5729" y="36732"/>
                    </a:lnTo>
                    <a:lnTo>
                      <a:pt x="7553" y="35312"/>
                    </a:lnTo>
                    <a:lnTo>
                      <a:pt x="8795" y="35467"/>
                    </a:lnTo>
                    <a:lnTo>
                      <a:pt x="10315" y="35167"/>
                    </a:lnTo>
                    <a:lnTo>
                      <a:pt x="10978" y="34563"/>
                    </a:lnTo>
                    <a:lnTo>
                      <a:pt x="10015" y="32759"/>
                    </a:lnTo>
                    <a:lnTo>
                      <a:pt x="7594" y="30532"/>
                    </a:lnTo>
                    <a:lnTo>
                      <a:pt x="6307" y="29686"/>
                    </a:lnTo>
                    <a:lnTo>
                      <a:pt x="4536" y="29125"/>
                    </a:lnTo>
                    <a:lnTo>
                      <a:pt x="4232" y="28525"/>
                    </a:lnTo>
                    <a:lnTo>
                      <a:pt x="5212" y="25007"/>
                    </a:lnTo>
                    <a:lnTo>
                      <a:pt x="4917" y="24507"/>
                    </a:lnTo>
                    <a:lnTo>
                      <a:pt x="2895" y="24672"/>
                    </a:lnTo>
                    <a:lnTo>
                      <a:pt x="2420" y="24304"/>
                    </a:lnTo>
                    <a:lnTo>
                      <a:pt x="2256" y="23694"/>
                    </a:lnTo>
                    <a:lnTo>
                      <a:pt x="2392" y="22856"/>
                    </a:lnTo>
                    <a:lnTo>
                      <a:pt x="3755" y="21486"/>
                    </a:lnTo>
                    <a:lnTo>
                      <a:pt x="5271" y="20270"/>
                    </a:lnTo>
                    <a:lnTo>
                      <a:pt x="5677" y="19588"/>
                    </a:lnTo>
                    <a:lnTo>
                      <a:pt x="5623" y="19055"/>
                    </a:lnTo>
                    <a:lnTo>
                      <a:pt x="3681" y="18514"/>
                    </a:lnTo>
                    <a:lnTo>
                      <a:pt x="2511" y="17960"/>
                    </a:lnTo>
                    <a:lnTo>
                      <a:pt x="1583" y="17768"/>
                    </a:lnTo>
                    <a:lnTo>
                      <a:pt x="946" y="18079"/>
                    </a:lnTo>
                    <a:lnTo>
                      <a:pt x="473" y="17729"/>
                    </a:lnTo>
                    <a:lnTo>
                      <a:pt x="0" y="16714"/>
                    </a:lnTo>
                    <a:lnTo>
                      <a:pt x="470" y="15165"/>
                    </a:lnTo>
                    <a:lnTo>
                      <a:pt x="2218" y="13733"/>
                    </a:lnTo>
                    <a:lnTo>
                      <a:pt x="4092" y="12461"/>
                    </a:lnTo>
                    <a:lnTo>
                      <a:pt x="5724" y="11533"/>
                    </a:lnTo>
                    <a:lnTo>
                      <a:pt x="6666" y="11135"/>
                    </a:lnTo>
                    <a:lnTo>
                      <a:pt x="7115" y="9542"/>
                    </a:lnTo>
                    <a:lnTo>
                      <a:pt x="8087" y="9708"/>
                    </a:lnTo>
                    <a:lnTo>
                      <a:pt x="10019" y="9793"/>
                    </a:lnTo>
                    <a:lnTo>
                      <a:pt x="12174" y="10155"/>
                    </a:lnTo>
                    <a:lnTo>
                      <a:pt x="14183" y="10599"/>
                    </a:lnTo>
                    <a:lnTo>
                      <a:pt x="15949" y="11162"/>
                    </a:lnTo>
                    <a:lnTo>
                      <a:pt x="19659" y="11750"/>
                    </a:lnTo>
                    <a:lnTo>
                      <a:pt x="23034" y="12105"/>
                    </a:lnTo>
                    <a:lnTo>
                      <a:pt x="24051" y="12432"/>
                    </a:lnTo>
                    <a:lnTo>
                      <a:pt x="24882" y="12407"/>
                    </a:lnTo>
                    <a:lnTo>
                      <a:pt x="25906" y="12887"/>
                    </a:lnTo>
                    <a:lnTo>
                      <a:pt x="26511" y="12520"/>
                    </a:lnTo>
                    <a:lnTo>
                      <a:pt x="26949" y="11878"/>
                    </a:lnTo>
                    <a:lnTo>
                      <a:pt x="28789" y="11120"/>
                    </a:lnTo>
                    <a:lnTo>
                      <a:pt x="30482" y="10129"/>
                    </a:lnTo>
                    <a:lnTo>
                      <a:pt x="31672" y="8867"/>
                    </a:lnTo>
                    <a:lnTo>
                      <a:pt x="32337" y="7870"/>
                    </a:lnTo>
                    <a:lnTo>
                      <a:pt x="33501" y="7163"/>
                    </a:lnTo>
                    <a:lnTo>
                      <a:pt x="34742" y="6959"/>
                    </a:lnTo>
                    <a:lnTo>
                      <a:pt x="35876" y="6605"/>
                    </a:lnTo>
                    <a:lnTo>
                      <a:pt x="40659" y="6133"/>
                    </a:lnTo>
                    <a:lnTo>
                      <a:pt x="45573" y="6503"/>
                    </a:lnTo>
                    <a:lnTo>
                      <a:pt x="47919" y="5808"/>
                    </a:lnTo>
                    <a:lnTo>
                      <a:pt x="49849" y="4590"/>
                    </a:lnTo>
                    <a:lnTo>
                      <a:pt x="52671" y="4248"/>
                    </a:lnTo>
                    <a:lnTo>
                      <a:pt x="52818" y="4233"/>
                    </a:lnTo>
                    <a:lnTo>
                      <a:pt x="57036" y="5169"/>
                    </a:lnTo>
                    <a:lnTo>
                      <a:pt x="57360" y="4624"/>
                    </a:lnTo>
                    <a:lnTo>
                      <a:pt x="57541" y="4384"/>
                    </a:lnTo>
                    <a:lnTo>
                      <a:pt x="57461" y="1725"/>
                    </a:lnTo>
                    <a:lnTo>
                      <a:pt x="58796" y="514"/>
                    </a:lnTo>
                    <a:lnTo>
                      <a:pt x="60031" y="0"/>
                    </a:lnTo>
                    <a:lnTo>
                      <a:pt x="64244" y="168"/>
                    </a:lnTo>
                    <a:lnTo>
                      <a:pt x="64794" y="984"/>
                    </a:lnTo>
                    <a:lnTo>
                      <a:pt x="65015" y="2250"/>
                    </a:lnTo>
                    <a:lnTo>
                      <a:pt x="65390" y="3945"/>
                    </a:lnTo>
                    <a:lnTo>
                      <a:pt x="66092" y="4413"/>
                    </a:lnTo>
                    <a:lnTo>
                      <a:pt x="66476" y="5080"/>
                    </a:lnTo>
                    <a:lnTo>
                      <a:pt x="66403" y="6252"/>
                    </a:lnTo>
                    <a:lnTo>
                      <a:pt x="67226" y="7126"/>
                    </a:lnTo>
                    <a:lnTo>
                      <a:pt x="69154" y="9492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5" name="ee4p_SE_1_15912">
                <a:extLst>
                  <a:ext uri="{FF2B5EF4-FFF2-40B4-BE49-F238E27FC236}">
                    <a16:creationId xmlns:a16="http://schemas.microsoft.com/office/drawing/2014/main" id="{843F2816-CF16-6CDD-9BF4-DA02E867C2E7}"/>
                  </a:ext>
                </a:extLst>
              </p:cNvPr>
              <p:cNvSpPr>
                <a:spLocks noChangeAspect="1"/>
              </p:cNvSpPr>
              <p:nvPr>
                <p:custDataLst>
                  <p:tags r:id="rId276"/>
                </p:custDataLst>
              </p:nvPr>
            </p:nvSpPr>
            <p:spPr>
              <a:xfrm>
                <a:off x="4748846" y="2030905"/>
                <a:ext cx="1140275" cy="1868306"/>
              </a:xfrm>
              <a:custGeom>
                <a:avLst/>
                <a:gdLst>
                  <a:gd name="connsiteX0" fmla="*/ 129980 w 287641"/>
                  <a:gd name="connsiteY0" fmla="*/ 408700 h 471291"/>
                  <a:gd name="connsiteX1" fmla="*/ 131392 w 287641"/>
                  <a:gd name="connsiteY1" fmla="*/ 409106 h 471291"/>
                  <a:gd name="connsiteX2" fmla="*/ 132021 w 287641"/>
                  <a:gd name="connsiteY2" fmla="*/ 409502 h 471291"/>
                  <a:gd name="connsiteX3" fmla="*/ 130533 w 287641"/>
                  <a:gd name="connsiteY3" fmla="*/ 410751 h 471291"/>
                  <a:gd name="connsiteX4" fmla="*/ 130706 w 287641"/>
                  <a:gd name="connsiteY4" fmla="*/ 412376 h 471291"/>
                  <a:gd name="connsiteX5" fmla="*/ 130602 w 287641"/>
                  <a:gd name="connsiteY5" fmla="*/ 413049 h 471291"/>
                  <a:gd name="connsiteX6" fmla="*/ 126847 w 287641"/>
                  <a:gd name="connsiteY6" fmla="*/ 420100 h 471291"/>
                  <a:gd name="connsiteX7" fmla="*/ 125843 w 287641"/>
                  <a:gd name="connsiteY7" fmla="*/ 424667 h 471291"/>
                  <a:gd name="connsiteX8" fmla="*/ 124511 w 287641"/>
                  <a:gd name="connsiteY8" fmla="*/ 425780 h 471291"/>
                  <a:gd name="connsiteX9" fmla="*/ 118993 w 287641"/>
                  <a:gd name="connsiteY9" fmla="*/ 441942 h 471291"/>
                  <a:gd name="connsiteX10" fmla="*/ 117858 w 287641"/>
                  <a:gd name="connsiteY10" fmla="*/ 443517 h 471291"/>
                  <a:gd name="connsiteX11" fmla="*/ 116851 w 287641"/>
                  <a:gd name="connsiteY11" fmla="*/ 443406 h 471291"/>
                  <a:gd name="connsiteX12" fmla="*/ 116180 w 287641"/>
                  <a:gd name="connsiteY12" fmla="*/ 441305 h 471291"/>
                  <a:gd name="connsiteX13" fmla="*/ 116022 w 287641"/>
                  <a:gd name="connsiteY13" fmla="*/ 435892 h 471291"/>
                  <a:gd name="connsiteX14" fmla="*/ 116424 w 287641"/>
                  <a:gd name="connsiteY14" fmla="*/ 433213 h 471291"/>
                  <a:gd name="connsiteX15" fmla="*/ 121246 w 287641"/>
                  <a:gd name="connsiteY15" fmla="*/ 423521 h 471291"/>
                  <a:gd name="connsiteX16" fmla="*/ 123398 w 287641"/>
                  <a:gd name="connsiteY16" fmla="*/ 422728 h 471291"/>
                  <a:gd name="connsiteX17" fmla="*/ 126426 w 287641"/>
                  <a:gd name="connsiteY17" fmla="*/ 416765 h 471291"/>
                  <a:gd name="connsiteX18" fmla="*/ 127242 w 287641"/>
                  <a:gd name="connsiteY18" fmla="*/ 414108 h 471291"/>
                  <a:gd name="connsiteX19" fmla="*/ 128555 w 287641"/>
                  <a:gd name="connsiteY19" fmla="*/ 411712 h 471291"/>
                  <a:gd name="connsiteX20" fmla="*/ 129330 w 287641"/>
                  <a:gd name="connsiteY20" fmla="*/ 409567 h 471291"/>
                  <a:gd name="connsiteX21" fmla="*/ 171445 w 287641"/>
                  <a:gd name="connsiteY21" fmla="*/ 390509 h 471291"/>
                  <a:gd name="connsiteX22" fmla="*/ 172680 w 287641"/>
                  <a:gd name="connsiteY22" fmla="*/ 391004 h 471291"/>
                  <a:gd name="connsiteX23" fmla="*/ 175334 w 287641"/>
                  <a:gd name="connsiteY23" fmla="*/ 393055 h 471291"/>
                  <a:gd name="connsiteX24" fmla="*/ 173505 w 287641"/>
                  <a:gd name="connsiteY24" fmla="*/ 393817 h 471291"/>
                  <a:gd name="connsiteX25" fmla="*/ 172429 w 287641"/>
                  <a:gd name="connsiteY25" fmla="*/ 396070 h 471291"/>
                  <a:gd name="connsiteX26" fmla="*/ 170948 w 287641"/>
                  <a:gd name="connsiteY26" fmla="*/ 396450 h 471291"/>
                  <a:gd name="connsiteX27" fmla="*/ 169527 w 287641"/>
                  <a:gd name="connsiteY27" fmla="*/ 397201 h 471291"/>
                  <a:gd name="connsiteX28" fmla="*/ 169020 w 287641"/>
                  <a:gd name="connsiteY28" fmla="*/ 404312 h 471291"/>
                  <a:gd name="connsiteX29" fmla="*/ 171607 w 287641"/>
                  <a:gd name="connsiteY29" fmla="*/ 407008 h 471291"/>
                  <a:gd name="connsiteX30" fmla="*/ 170186 w 287641"/>
                  <a:gd name="connsiteY30" fmla="*/ 407385 h 471291"/>
                  <a:gd name="connsiteX31" fmla="*/ 168886 w 287641"/>
                  <a:gd name="connsiteY31" fmla="*/ 408192 h 471291"/>
                  <a:gd name="connsiteX32" fmla="*/ 167957 w 287641"/>
                  <a:gd name="connsiteY32" fmla="*/ 409384 h 471291"/>
                  <a:gd name="connsiteX33" fmla="*/ 167007 w 287641"/>
                  <a:gd name="connsiteY33" fmla="*/ 411948 h 471291"/>
                  <a:gd name="connsiteX34" fmla="*/ 163438 w 287641"/>
                  <a:gd name="connsiteY34" fmla="*/ 413400 h 471291"/>
                  <a:gd name="connsiteX35" fmla="*/ 162086 w 287641"/>
                  <a:gd name="connsiteY35" fmla="*/ 414474 h 471291"/>
                  <a:gd name="connsiteX36" fmla="*/ 160093 w 287641"/>
                  <a:gd name="connsiteY36" fmla="*/ 416861 h 471291"/>
                  <a:gd name="connsiteX37" fmla="*/ 159054 w 287641"/>
                  <a:gd name="connsiteY37" fmla="*/ 420321 h 471291"/>
                  <a:gd name="connsiteX38" fmla="*/ 157035 w 287641"/>
                  <a:gd name="connsiteY38" fmla="*/ 421795 h 471291"/>
                  <a:gd name="connsiteX39" fmla="*/ 154768 w 287641"/>
                  <a:gd name="connsiteY39" fmla="*/ 422144 h 471291"/>
                  <a:gd name="connsiteX40" fmla="*/ 156098 w 287641"/>
                  <a:gd name="connsiteY40" fmla="*/ 419312 h 471291"/>
                  <a:gd name="connsiteX41" fmla="*/ 157841 w 287641"/>
                  <a:gd name="connsiteY41" fmla="*/ 417002 h 471291"/>
                  <a:gd name="connsiteX42" fmla="*/ 156165 w 287641"/>
                  <a:gd name="connsiteY42" fmla="*/ 415416 h 471291"/>
                  <a:gd name="connsiteX43" fmla="*/ 155156 w 287641"/>
                  <a:gd name="connsiteY43" fmla="*/ 412931 h 471291"/>
                  <a:gd name="connsiteX44" fmla="*/ 153855 w 287641"/>
                  <a:gd name="connsiteY44" fmla="*/ 411024 h 471291"/>
                  <a:gd name="connsiteX45" fmla="*/ 154891 w 287641"/>
                  <a:gd name="connsiteY45" fmla="*/ 408891 h 471291"/>
                  <a:gd name="connsiteX46" fmla="*/ 154381 w 287641"/>
                  <a:gd name="connsiteY46" fmla="*/ 405391 h 471291"/>
                  <a:gd name="connsiteX47" fmla="*/ 154550 w 287641"/>
                  <a:gd name="connsiteY47" fmla="*/ 401970 h 471291"/>
                  <a:gd name="connsiteX48" fmla="*/ 156061 w 287641"/>
                  <a:gd name="connsiteY48" fmla="*/ 400241 h 471291"/>
                  <a:gd name="connsiteX49" fmla="*/ 157793 w 287641"/>
                  <a:gd name="connsiteY49" fmla="*/ 398831 h 471291"/>
                  <a:gd name="connsiteX50" fmla="*/ 160490 w 287641"/>
                  <a:gd name="connsiteY50" fmla="*/ 395583 h 471291"/>
                  <a:gd name="connsiteX51" fmla="*/ 163414 w 287641"/>
                  <a:gd name="connsiteY51" fmla="*/ 393226 h 471291"/>
                  <a:gd name="connsiteX52" fmla="*/ 167493 w 287641"/>
                  <a:gd name="connsiteY52" fmla="*/ 392166 h 471291"/>
                  <a:gd name="connsiteX53" fmla="*/ 169335 w 287641"/>
                  <a:gd name="connsiteY53" fmla="*/ 393143 h 471291"/>
                  <a:gd name="connsiteX54" fmla="*/ 170130 w 287641"/>
                  <a:gd name="connsiteY54" fmla="*/ 390998 h 471291"/>
                  <a:gd name="connsiteX55" fmla="*/ 176625 w 287641"/>
                  <a:gd name="connsiteY55" fmla="*/ 388398 h 471291"/>
                  <a:gd name="connsiteX56" fmla="*/ 179860 w 287641"/>
                  <a:gd name="connsiteY56" fmla="*/ 388520 h 471291"/>
                  <a:gd name="connsiteX57" fmla="*/ 180972 w 287641"/>
                  <a:gd name="connsiteY57" fmla="*/ 388990 h 471291"/>
                  <a:gd name="connsiteX58" fmla="*/ 177100 w 287641"/>
                  <a:gd name="connsiteY58" fmla="*/ 390280 h 471291"/>
                  <a:gd name="connsiteX59" fmla="*/ 176703 w 287641"/>
                  <a:gd name="connsiteY59" fmla="*/ 392277 h 471291"/>
                  <a:gd name="connsiteX60" fmla="*/ 175556 w 287641"/>
                  <a:gd name="connsiteY60" fmla="*/ 392125 h 471291"/>
                  <a:gd name="connsiteX61" fmla="*/ 174511 w 287641"/>
                  <a:gd name="connsiteY61" fmla="*/ 390651 h 471291"/>
                  <a:gd name="connsiteX62" fmla="*/ 161812 w 287641"/>
                  <a:gd name="connsiteY62" fmla="*/ 351984 h 471291"/>
                  <a:gd name="connsiteX63" fmla="*/ 162267 w 287641"/>
                  <a:gd name="connsiteY63" fmla="*/ 352091 h 471291"/>
                  <a:gd name="connsiteX64" fmla="*/ 160734 w 287641"/>
                  <a:gd name="connsiteY64" fmla="*/ 354550 h 471291"/>
                  <a:gd name="connsiteX65" fmla="*/ 159754 w 287641"/>
                  <a:gd name="connsiteY65" fmla="*/ 354860 h 471291"/>
                  <a:gd name="connsiteX66" fmla="*/ 159268 w 287641"/>
                  <a:gd name="connsiteY66" fmla="*/ 354762 h 471291"/>
                  <a:gd name="connsiteX67" fmla="*/ 159873 w 287641"/>
                  <a:gd name="connsiteY67" fmla="*/ 353249 h 471291"/>
                  <a:gd name="connsiteX68" fmla="*/ 160322 w 287641"/>
                  <a:gd name="connsiteY68" fmla="*/ 352596 h 471291"/>
                  <a:gd name="connsiteX69" fmla="*/ 165261 w 287641"/>
                  <a:gd name="connsiteY69" fmla="*/ 337596 h 471291"/>
                  <a:gd name="connsiteX70" fmla="*/ 166975 w 287641"/>
                  <a:gd name="connsiteY70" fmla="*/ 338028 h 471291"/>
                  <a:gd name="connsiteX71" fmla="*/ 166964 w 287641"/>
                  <a:gd name="connsiteY71" fmla="*/ 338356 h 471291"/>
                  <a:gd name="connsiteX72" fmla="*/ 165325 w 287641"/>
                  <a:gd name="connsiteY72" fmla="*/ 339420 h 471291"/>
                  <a:gd name="connsiteX73" fmla="*/ 164697 w 287641"/>
                  <a:gd name="connsiteY73" fmla="*/ 340135 h 471291"/>
                  <a:gd name="connsiteX74" fmla="*/ 164142 w 287641"/>
                  <a:gd name="connsiteY74" fmla="*/ 341220 h 471291"/>
                  <a:gd name="connsiteX75" fmla="*/ 163585 w 287641"/>
                  <a:gd name="connsiteY75" fmla="*/ 339890 h 471291"/>
                  <a:gd name="connsiteX76" fmla="*/ 163807 w 287641"/>
                  <a:gd name="connsiteY76" fmla="*/ 339630 h 471291"/>
                  <a:gd name="connsiteX77" fmla="*/ 164187 w 287641"/>
                  <a:gd name="connsiteY77" fmla="*/ 338316 h 471291"/>
                  <a:gd name="connsiteX78" fmla="*/ 209512 w 287641"/>
                  <a:gd name="connsiteY78" fmla="*/ 0 h 471291"/>
                  <a:gd name="connsiteX79" fmla="*/ 215548 w 287641"/>
                  <a:gd name="connsiteY79" fmla="*/ 2210 h 471291"/>
                  <a:gd name="connsiteX80" fmla="*/ 215812 w 287641"/>
                  <a:gd name="connsiteY80" fmla="*/ 2688 h 471291"/>
                  <a:gd name="connsiteX81" fmla="*/ 215855 w 287641"/>
                  <a:gd name="connsiteY81" fmla="*/ 3839 h 471291"/>
                  <a:gd name="connsiteX82" fmla="*/ 216066 w 287641"/>
                  <a:gd name="connsiteY82" fmla="*/ 5031 h 471291"/>
                  <a:gd name="connsiteX83" fmla="*/ 221923 w 287641"/>
                  <a:gd name="connsiteY83" fmla="*/ 8050 h 471291"/>
                  <a:gd name="connsiteX84" fmla="*/ 223611 w 287641"/>
                  <a:gd name="connsiteY84" fmla="*/ 9646 h 471291"/>
                  <a:gd name="connsiteX85" fmla="*/ 227207 w 287641"/>
                  <a:gd name="connsiteY85" fmla="*/ 12069 h 471291"/>
                  <a:gd name="connsiteX86" fmla="*/ 228159 w 287641"/>
                  <a:gd name="connsiteY86" fmla="*/ 13376 h 471291"/>
                  <a:gd name="connsiteX87" fmla="*/ 231489 w 287641"/>
                  <a:gd name="connsiteY87" fmla="*/ 14904 h 471291"/>
                  <a:gd name="connsiteX88" fmla="*/ 233877 w 287641"/>
                  <a:gd name="connsiteY88" fmla="*/ 16536 h 471291"/>
                  <a:gd name="connsiteX89" fmla="*/ 236667 w 287641"/>
                  <a:gd name="connsiteY89" fmla="*/ 17859 h 471291"/>
                  <a:gd name="connsiteX90" fmla="*/ 239923 w 287641"/>
                  <a:gd name="connsiteY90" fmla="*/ 19914 h 471291"/>
                  <a:gd name="connsiteX91" fmla="*/ 244294 w 287641"/>
                  <a:gd name="connsiteY91" fmla="*/ 21549 h 471291"/>
                  <a:gd name="connsiteX92" fmla="*/ 247986 w 287641"/>
                  <a:gd name="connsiteY92" fmla="*/ 22082 h 471291"/>
                  <a:gd name="connsiteX93" fmla="*/ 257280 w 287641"/>
                  <a:gd name="connsiteY93" fmla="*/ 24881 h 471291"/>
                  <a:gd name="connsiteX94" fmla="*/ 258865 w 287641"/>
                  <a:gd name="connsiteY94" fmla="*/ 25787 h 471291"/>
                  <a:gd name="connsiteX95" fmla="*/ 261547 w 287641"/>
                  <a:gd name="connsiteY95" fmla="*/ 27732 h 471291"/>
                  <a:gd name="connsiteX96" fmla="*/ 264255 w 287641"/>
                  <a:gd name="connsiteY96" fmla="*/ 29982 h 471291"/>
                  <a:gd name="connsiteX97" fmla="*/ 266127 w 287641"/>
                  <a:gd name="connsiteY97" fmla="*/ 34594 h 471291"/>
                  <a:gd name="connsiteX98" fmla="*/ 269136 w 287641"/>
                  <a:gd name="connsiteY98" fmla="*/ 34834 h 471291"/>
                  <a:gd name="connsiteX99" fmla="*/ 269952 w 287641"/>
                  <a:gd name="connsiteY99" fmla="*/ 36419 h 471291"/>
                  <a:gd name="connsiteX100" fmla="*/ 272578 w 287641"/>
                  <a:gd name="connsiteY100" fmla="*/ 39132 h 471291"/>
                  <a:gd name="connsiteX101" fmla="*/ 276218 w 287641"/>
                  <a:gd name="connsiteY101" fmla="*/ 41522 h 471291"/>
                  <a:gd name="connsiteX102" fmla="*/ 276087 w 287641"/>
                  <a:gd name="connsiteY102" fmla="*/ 42326 h 471291"/>
                  <a:gd name="connsiteX103" fmla="*/ 273189 w 287641"/>
                  <a:gd name="connsiteY103" fmla="*/ 44525 h 471291"/>
                  <a:gd name="connsiteX104" fmla="*/ 272878 w 287641"/>
                  <a:gd name="connsiteY104" fmla="*/ 47502 h 471291"/>
                  <a:gd name="connsiteX105" fmla="*/ 273152 w 287641"/>
                  <a:gd name="connsiteY105" fmla="*/ 51297 h 471291"/>
                  <a:gd name="connsiteX106" fmla="*/ 274061 w 287641"/>
                  <a:gd name="connsiteY106" fmla="*/ 54386 h 471291"/>
                  <a:gd name="connsiteX107" fmla="*/ 273966 w 287641"/>
                  <a:gd name="connsiteY107" fmla="*/ 55288 h 471291"/>
                  <a:gd name="connsiteX108" fmla="*/ 273247 w 287641"/>
                  <a:gd name="connsiteY108" fmla="*/ 56351 h 471291"/>
                  <a:gd name="connsiteX109" fmla="*/ 272383 w 287641"/>
                  <a:gd name="connsiteY109" fmla="*/ 58019 h 471291"/>
                  <a:gd name="connsiteX110" fmla="*/ 272075 w 287641"/>
                  <a:gd name="connsiteY110" fmla="*/ 59473 h 471291"/>
                  <a:gd name="connsiteX111" fmla="*/ 272150 w 287641"/>
                  <a:gd name="connsiteY111" fmla="*/ 60186 h 471291"/>
                  <a:gd name="connsiteX112" fmla="*/ 272442 w 287641"/>
                  <a:gd name="connsiteY112" fmla="*/ 60573 h 471291"/>
                  <a:gd name="connsiteX113" fmla="*/ 273968 w 287641"/>
                  <a:gd name="connsiteY113" fmla="*/ 60602 h 471291"/>
                  <a:gd name="connsiteX114" fmla="*/ 276704 w 287641"/>
                  <a:gd name="connsiteY114" fmla="*/ 60945 h 471291"/>
                  <a:gd name="connsiteX115" fmla="*/ 278313 w 287641"/>
                  <a:gd name="connsiteY115" fmla="*/ 61590 h 471291"/>
                  <a:gd name="connsiteX116" fmla="*/ 279226 w 287641"/>
                  <a:gd name="connsiteY116" fmla="*/ 65128 h 471291"/>
                  <a:gd name="connsiteX117" fmla="*/ 278918 w 287641"/>
                  <a:gd name="connsiteY117" fmla="*/ 65807 h 471291"/>
                  <a:gd name="connsiteX118" fmla="*/ 276611 w 287641"/>
                  <a:gd name="connsiteY118" fmla="*/ 67406 h 471291"/>
                  <a:gd name="connsiteX119" fmla="*/ 275935 w 287641"/>
                  <a:gd name="connsiteY119" fmla="*/ 68675 h 471291"/>
                  <a:gd name="connsiteX120" fmla="*/ 275869 w 287641"/>
                  <a:gd name="connsiteY120" fmla="*/ 70538 h 471291"/>
                  <a:gd name="connsiteX121" fmla="*/ 276277 w 287641"/>
                  <a:gd name="connsiteY121" fmla="*/ 72584 h 471291"/>
                  <a:gd name="connsiteX122" fmla="*/ 277069 w 287641"/>
                  <a:gd name="connsiteY122" fmla="*/ 74871 h 471291"/>
                  <a:gd name="connsiteX123" fmla="*/ 278874 w 287641"/>
                  <a:gd name="connsiteY123" fmla="*/ 77315 h 471291"/>
                  <a:gd name="connsiteX124" fmla="*/ 281314 w 287641"/>
                  <a:gd name="connsiteY124" fmla="*/ 79867 h 471291"/>
                  <a:gd name="connsiteX125" fmla="*/ 282917 w 287641"/>
                  <a:gd name="connsiteY125" fmla="*/ 81958 h 471291"/>
                  <a:gd name="connsiteX126" fmla="*/ 283675 w 287641"/>
                  <a:gd name="connsiteY126" fmla="*/ 83430 h 471291"/>
                  <a:gd name="connsiteX127" fmla="*/ 283951 w 287641"/>
                  <a:gd name="connsiteY127" fmla="*/ 84458 h 471291"/>
                  <a:gd name="connsiteX128" fmla="*/ 282852 w 287641"/>
                  <a:gd name="connsiteY128" fmla="*/ 85750 h 471291"/>
                  <a:gd name="connsiteX129" fmla="*/ 281863 w 287641"/>
                  <a:gd name="connsiteY129" fmla="*/ 88303 h 471291"/>
                  <a:gd name="connsiteX130" fmla="*/ 281679 w 287641"/>
                  <a:gd name="connsiteY130" fmla="*/ 91223 h 471291"/>
                  <a:gd name="connsiteX131" fmla="*/ 281230 w 287641"/>
                  <a:gd name="connsiteY131" fmla="*/ 93125 h 471291"/>
                  <a:gd name="connsiteX132" fmla="*/ 279081 w 287641"/>
                  <a:gd name="connsiteY132" fmla="*/ 95739 h 471291"/>
                  <a:gd name="connsiteX133" fmla="*/ 277596 w 287641"/>
                  <a:gd name="connsiteY133" fmla="*/ 96665 h 471291"/>
                  <a:gd name="connsiteX134" fmla="*/ 277173 w 287641"/>
                  <a:gd name="connsiteY134" fmla="*/ 98043 h 471291"/>
                  <a:gd name="connsiteX135" fmla="*/ 276991 w 287641"/>
                  <a:gd name="connsiteY135" fmla="*/ 100353 h 471291"/>
                  <a:gd name="connsiteX136" fmla="*/ 277427 w 287641"/>
                  <a:gd name="connsiteY136" fmla="*/ 103166 h 471291"/>
                  <a:gd name="connsiteX137" fmla="*/ 277577 w 287641"/>
                  <a:gd name="connsiteY137" fmla="*/ 105065 h 471291"/>
                  <a:gd name="connsiteX138" fmla="*/ 278034 w 287641"/>
                  <a:gd name="connsiteY138" fmla="*/ 106431 h 471291"/>
                  <a:gd name="connsiteX139" fmla="*/ 278708 w 287641"/>
                  <a:gd name="connsiteY139" fmla="*/ 107322 h 471291"/>
                  <a:gd name="connsiteX140" fmla="*/ 282155 w 287641"/>
                  <a:gd name="connsiteY140" fmla="*/ 108897 h 471291"/>
                  <a:gd name="connsiteX141" fmla="*/ 284085 w 287641"/>
                  <a:gd name="connsiteY141" fmla="*/ 112118 h 471291"/>
                  <a:gd name="connsiteX142" fmla="*/ 285288 w 287641"/>
                  <a:gd name="connsiteY142" fmla="*/ 114698 h 471291"/>
                  <a:gd name="connsiteX143" fmla="*/ 287641 w 287641"/>
                  <a:gd name="connsiteY143" fmla="*/ 121435 h 471291"/>
                  <a:gd name="connsiteX144" fmla="*/ 281783 w 287641"/>
                  <a:gd name="connsiteY144" fmla="*/ 122275 h 471291"/>
                  <a:gd name="connsiteX145" fmla="*/ 277380 w 287641"/>
                  <a:gd name="connsiteY145" fmla="*/ 120588 h 471291"/>
                  <a:gd name="connsiteX146" fmla="*/ 275184 w 287641"/>
                  <a:gd name="connsiteY146" fmla="*/ 121433 h 471291"/>
                  <a:gd name="connsiteX147" fmla="*/ 271342 w 287641"/>
                  <a:gd name="connsiteY147" fmla="*/ 121469 h 471291"/>
                  <a:gd name="connsiteX148" fmla="*/ 266980 w 287641"/>
                  <a:gd name="connsiteY148" fmla="*/ 122133 h 471291"/>
                  <a:gd name="connsiteX149" fmla="*/ 265510 w 287641"/>
                  <a:gd name="connsiteY149" fmla="*/ 123452 h 471291"/>
                  <a:gd name="connsiteX150" fmla="*/ 264354 w 287641"/>
                  <a:gd name="connsiteY150" fmla="*/ 123982 h 471291"/>
                  <a:gd name="connsiteX151" fmla="*/ 260308 w 287641"/>
                  <a:gd name="connsiteY151" fmla="*/ 122120 h 471291"/>
                  <a:gd name="connsiteX152" fmla="*/ 256488 w 287641"/>
                  <a:gd name="connsiteY152" fmla="*/ 119040 h 471291"/>
                  <a:gd name="connsiteX153" fmla="*/ 253696 w 287641"/>
                  <a:gd name="connsiteY153" fmla="*/ 121389 h 471291"/>
                  <a:gd name="connsiteX154" fmla="*/ 251889 w 287641"/>
                  <a:gd name="connsiteY154" fmla="*/ 121834 h 471291"/>
                  <a:gd name="connsiteX155" fmla="*/ 250265 w 287641"/>
                  <a:gd name="connsiteY155" fmla="*/ 119708 h 471291"/>
                  <a:gd name="connsiteX156" fmla="*/ 248846 w 287641"/>
                  <a:gd name="connsiteY156" fmla="*/ 119363 h 471291"/>
                  <a:gd name="connsiteX157" fmla="*/ 248079 w 287641"/>
                  <a:gd name="connsiteY157" fmla="*/ 120072 h 471291"/>
                  <a:gd name="connsiteX158" fmla="*/ 247408 w 287641"/>
                  <a:gd name="connsiteY158" fmla="*/ 121949 h 471291"/>
                  <a:gd name="connsiteX159" fmla="*/ 246339 w 287641"/>
                  <a:gd name="connsiteY159" fmla="*/ 123425 h 471291"/>
                  <a:gd name="connsiteX160" fmla="*/ 246060 w 287641"/>
                  <a:gd name="connsiteY160" fmla="*/ 124359 h 471291"/>
                  <a:gd name="connsiteX161" fmla="*/ 245875 w 287641"/>
                  <a:gd name="connsiteY161" fmla="*/ 128120 h 471291"/>
                  <a:gd name="connsiteX162" fmla="*/ 245596 w 287641"/>
                  <a:gd name="connsiteY162" fmla="*/ 128991 h 471291"/>
                  <a:gd name="connsiteX163" fmla="*/ 241886 w 287641"/>
                  <a:gd name="connsiteY163" fmla="*/ 128505 h 471291"/>
                  <a:gd name="connsiteX164" fmla="*/ 242109 w 287641"/>
                  <a:gd name="connsiteY164" fmla="*/ 129491 h 471291"/>
                  <a:gd name="connsiteX165" fmla="*/ 242916 w 287641"/>
                  <a:gd name="connsiteY165" fmla="*/ 129987 h 471291"/>
                  <a:gd name="connsiteX166" fmla="*/ 243242 w 287641"/>
                  <a:gd name="connsiteY166" fmla="*/ 130612 h 471291"/>
                  <a:gd name="connsiteX167" fmla="*/ 241897 w 287641"/>
                  <a:gd name="connsiteY167" fmla="*/ 131433 h 471291"/>
                  <a:gd name="connsiteX168" fmla="*/ 238213 w 287641"/>
                  <a:gd name="connsiteY168" fmla="*/ 131356 h 471291"/>
                  <a:gd name="connsiteX169" fmla="*/ 237837 w 287641"/>
                  <a:gd name="connsiteY169" fmla="*/ 132227 h 471291"/>
                  <a:gd name="connsiteX170" fmla="*/ 238874 w 287641"/>
                  <a:gd name="connsiteY170" fmla="*/ 133603 h 471291"/>
                  <a:gd name="connsiteX171" fmla="*/ 238066 w 287641"/>
                  <a:gd name="connsiteY171" fmla="*/ 134807 h 471291"/>
                  <a:gd name="connsiteX172" fmla="*/ 237317 w 287641"/>
                  <a:gd name="connsiteY172" fmla="*/ 135281 h 471291"/>
                  <a:gd name="connsiteX173" fmla="*/ 232918 w 287641"/>
                  <a:gd name="connsiteY173" fmla="*/ 136028 h 471291"/>
                  <a:gd name="connsiteX174" fmla="*/ 230372 w 287641"/>
                  <a:gd name="connsiteY174" fmla="*/ 135857 h 471291"/>
                  <a:gd name="connsiteX175" fmla="*/ 229645 w 287641"/>
                  <a:gd name="connsiteY175" fmla="*/ 136636 h 471291"/>
                  <a:gd name="connsiteX176" fmla="*/ 229441 w 287641"/>
                  <a:gd name="connsiteY176" fmla="*/ 137647 h 471291"/>
                  <a:gd name="connsiteX177" fmla="*/ 229923 w 287641"/>
                  <a:gd name="connsiteY177" fmla="*/ 138639 h 471291"/>
                  <a:gd name="connsiteX178" fmla="*/ 231046 w 287641"/>
                  <a:gd name="connsiteY178" fmla="*/ 139167 h 471291"/>
                  <a:gd name="connsiteX179" fmla="*/ 231415 w 287641"/>
                  <a:gd name="connsiteY179" fmla="*/ 139796 h 471291"/>
                  <a:gd name="connsiteX180" fmla="*/ 231338 w 287641"/>
                  <a:gd name="connsiteY180" fmla="*/ 141158 h 471291"/>
                  <a:gd name="connsiteX181" fmla="*/ 230403 w 287641"/>
                  <a:gd name="connsiteY181" fmla="*/ 141405 h 471291"/>
                  <a:gd name="connsiteX182" fmla="*/ 227749 w 287641"/>
                  <a:gd name="connsiteY182" fmla="*/ 139012 h 471291"/>
                  <a:gd name="connsiteX183" fmla="*/ 226941 w 287641"/>
                  <a:gd name="connsiteY183" fmla="*/ 139135 h 471291"/>
                  <a:gd name="connsiteX184" fmla="*/ 227548 w 287641"/>
                  <a:gd name="connsiteY184" fmla="*/ 140380 h 471291"/>
                  <a:gd name="connsiteX185" fmla="*/ 229064 w 287641"/>
                  <a:gd name="connsiteY185" fmla="*/ 141736 h 471291"/>
                  <a:gd name="connsiteX186" fmla="*/ 229940 w 287641"/>
                  <a:gd name="connsiteY186" fmla="*/ 143120 h 471291"/>
                  <a:gd name="connsiteX187" fmla="*/ 230707 w 287641"/>
                  <a:gd name="connsiteY187" fmla="*/ 144785 h 471291"/>
                  <a:gd name="connsiteX188" fmla="*/ 230558 w 287641"/>
                  <a:gd name="connsiteY188" fmla="*/ 146046 h 471291"/>
                  <a:gd name="connsiteX189" fmla="*/ 227263 w 287641"/>
                  <a:gd name="connsiteY189" fmla="*/ 150112 h 471291"/>
                  <a:gd name="connsiteX190" fmla="*/ 224363 w 287641"/>
                  <a:gd name="connsiteY190" fmla="*/ 152677 h 471291"/>
                  <a:gd name="connsiteX191" fmla="*/ 222199 w 287641"/>
                  <a:gd name="connsiteY191" fmla="*/ 154984 h 471291"/>
                  <a:gd name="connsiteX192" fmla="*/ 220923 w 287641"/>
                  <a:gd name="connsiteY192" fmla="*/ 157427 h 471291"/>
                  <a:gd name="connsiteX193" fmla="*/ 222400 w 287641"/>
                  <a:gd name="connsiteY193" fmla="*/ 158658 h 471291"/>
                  <a:gd name="connsiteX194" fmla="*/ 224043 w 287641"/>
                  <a:gd name="connsiteY194" fmla="*/ 160431 h 471291"/>
                  <a:gd name="connsiteX195" fmla="*/ 225198 w 287641"/>
                  <a:gd name="connsiteY195" fmla="*/ 163837 h 471291"/>
                  <a:gd name="connsiteX196" fmla="*/ 226576 w 287641"/>
                  <a:gd name="connsiteY196" fmla="*/ 166868 h 471291"/>
                  <a:gd name="connsiteX197" fmla="*/ 229357 w 287641"/>
                  <a:gd name="connsiteY197" fmla="*/ 169760 h 471291"/>
                  <a:gd name="connsiteX198" fmla="*/ 228798 w 287641"/>
                  <a:gd name="connsiteY198" fmla="*/ 171430 h 471291"/>
                  <a:gd name="connsiteX199" fmla="*/ 228150 w 287641"/>
                  <a:gd name="connsiteY199" fmla="*/ 172728 h 471291"/>
                  <a:gd name="connsiteX200" fmla="*/ 223523 w 287641"/>
                  <a:gd name="connsiteY200" fmla="*/ 175583 h 471291"/>
                  <a:gd name="connsiteX201" fmla="*/ 218276 w 287641"/>
                  <a:gd name="connsiteY201" fmla="*/ 179878 h 471291"/>
                  <a:gd name="connsiteX202" fmla="*/ 212620 w 287641"/>
                  <a:gd name="connsiteY202" fmla="*/ 190827 h 471291"/>
                  <a:gd name="connsiteX203" fmla="*/ 210739 w 287641"/>
                  <a:gd name="connsiteY203" fmla="*/ 192290 h 471291"/>
                  <a:gd name="connsiteX204" fmla="*/ 205788 w 287641"/>
                  <a:gd name="connsiteY204" fmla="*/ 194137 h 471291"/>
                  <a:gd name="connsiteX205" fmla="*/ 203967 w 287641"/>
                  <a:gd name="connsiteY205" fmla="*/ 195923 h 471291"/>
                  <a:gd name="connsiteX206" fmla="*/ 200281 w 287641"/>
                  <a:gd name="connsiteY206" fmla="*/ 198045 h 471291"/>
                  <a:gd name="connsiteX207" fmla="*/ 193846 w 287641"/>
                  <a:gd name="connsiteY207" fmla="*/ 199865 h 471291"/>
                  <a:gd name="connsiteX208" fmla="*/ 190927 w 287641"/>
                  <a:gd name="connsiteY208" fmla="*/ 202400 h 471291"/>
                  <a:gd name="connsiteX209" fmla="*/ 189609 w 287641"/>
                  <a:gd name="connsiteY209" fmla="*/ 205019 h 471291"/>
                  <a:gd name="connsiteX210" fmla="*/ 188143 w 287641"/>
                  <a:gd name="connsiteY210" fmla="*/ 205205 h 471291"/>
                  <a:gd name="connsiteX211" fmla="*/ 186690 w 287641"/>
                  <a:gd name="connsiteY211" fmla="*/ 204182 h 471291"/>
                  <a:gd name="connsiteX212" fmla="*/ 184751 w 287641"/>
                  <a:gd name="connsiteY212" fmla="*/ 203420 h 471291"/>
                  <a:gd name="connsiteX213" fmla="*/ 184498 w 287641"/>
                  <a:gd name="connsiteY213" fmla="*/ 205128 h 471291"/>
                  <a:gd name="connsiteX214" fmla="*/ 184580 w 287641"/>
                  <a:gd name="connsiteY214" fmla="*/ 206381 h 471291"/>
                  <a:gd name="connsiteX215" fmla="*/ 181477 w 287641"/>
                  <a:gd name="connsiteY215" fmla="*/ 204524 h 471291"/>
                  <a:gd name="connsiteX216" fmla="*/ 180013 w 287641"/>
                  <a:gd name="connsiteY216" fmla="*/ 206227 h 471291"/>
                  <a:gd name="connsiteX217" fmla="*/ 178869 w 287641"/>
                  <a:gd name="connsiteY217" fmla="*/ 209070 h 471291"/>
                  <a:gd name="connsiteX218" fmla="*/ 174403 w 287641"/>
                  <a:gd name="connsiteY218" fmla="*/ 212891 h 471291"/>
                  <a:gd name="connsiteX219" fmla="*/ 169590 w 287641"/>
                  <a:gd name="connsiteY219" fmla="*/ 212204 h 471291"/>
                  <a:gd name="connsiteX220" fmla="*/ 169050 w 287641"/>
                  <a:gd name="connsiteY220" fmla="*/ 212878 h 471291"/>
                  <a:gd name="connsiteX221" fmla="*/ 170331 w 287641"/>
                  <a:gd name="connsiteY221" fmla="*/ 213366 h 471291"/>
                  <a:gd name="connsiteX222" fmla="*/ 170525 w 287641"/>
                  <a:gd name="connsiteY222" fmla="*/ 213976 h 471291"/>
                  <a:gd name="connsiteX223" fmla="*/ 169651 w 287641"/>
                  <a:gd name="connsiteY223" fmla="*/ 214301 h 471291"/>
                  <a:gd name="connsiteX224" fmla="*/ 168327 w 287641"/>
                  <a:gd name="connsiteY224" fmla="*/ 214267 h 471291"/>
                  <a:gd name="connsiteX225" fmla="*/ 166284 w 287641"/>
                  <a:gd name="connsiteY225" fmla="*/ 215021 h 471291"/>
                  <a:gd name="connsiteX226" fmla="*/ 164941 w 287641"/>
                  <a:gd name="connsiteY226" fmla="*/ 214962 h 471291"/>
                  <a:gd name="connsiteX227" fmla="*/ 164304 w 287641"/>
                  <a:gd name="connsiteY227" fmla="*/ 216765 h 471291"/>
                  <a:gd name="connsiteX228" fmla="*/ 163265 w 287641"/>
                  <a:gd name="connsiteY228" fmla="*/ 218950 h 471291"/>
                  <a:gd name="connsiteX229" fmla="*/ 160546 w 287641"/>
                  <a:gd name="connsiteY229" fmla="*/ 219854 h 471291"/>
                  <a:gd name="connsiteX230" fmla="*/ 159143 w 287641"/>
                  <a:gd name="connsiteY230" fmla="*/ 220040 h 471291"/>
                  <a:gd name="connsiteX231" fmla="*/ 158450 w 287641"/>
                  <a:gd name="connsiteY231" fmla="*/ 221281 h 471291"/>
                  <a:gd name="connsiteX232" fmla="*/ 162632 w 287641"/>
                  <a:gd name="connsiteY232" fmla="*/ 221541 h 471291"/>
                  <a:gd name="connsiteX233" fmla="*/ 162298 w 287641"/>
                  <a:gd name="connsiteY233" fmla="*/ 222591 h 471291"/>
                  <a:gd name="connsiteX234" fmla="*/ 162203 w 287641"/>
                  <a:gd name="connsiteY234" fmla="*/ 223640 h 471291"/>
                  <a:gd name="connsiteX235" fmla="*/ 161771 w 287641"/>
                  <a:gd name="connsiteY235" fmla="*/ 224765 h 471291"/>
                  <a:gd name="connsiteX236" fmla="*/ 157016 w 287641"/>
                  <a:gd name="connsiteY236" fmla="*/ 226384 h 471291"/>
                  <a:gd name="connsiteX237" fmla="*/ 156284 w 287641"/>
                  <a:gd name="connsiteY237" fmla="*/ 227659 h 471291"/>
                  <a:gd name="connsiteX238" fmla="*/ 155291 w 287641"/>
                  <a:gd name="connsiteY238" fmla="*/ 228449 h 471291"/>
                  <a:gd name="connsiteX239" fmla="*/ 153176 w 287641"/>
                  <a:gd name="connsiteY239" fmla="*/ 228404 h 471291"/>
                  <a:gd name="connsiteX240" fmla="*/ 153254 w 287641"/>
                  <a:gd name="connsiteY240" fmla="*/ 227668 h 471291"/>
                  <a:gd name="connsiteX241" fmla="*/ 153600 w 287641"/>
                  <a:gd name="connsiteY241" fmla="*/ 226835 h 471291"/>
                  <a:gd name="connsiteX242" fmla="*/ 150449 w 287641"/>
                  <a:gd name="connsiteY242" fmla="*/ 226910 h 471291"/>
                  <a:gd name="connsiteX243" fmla="*/ 149467 w 287641"/>
                  <a:gd name="connsiteY243" fmla="*/ 225080 h 471291"/>
                  <a:gd name="connsiteX244" fmla="*/ 148869 w 287641"/>
                  <a:gd name="connsiteY244" fmla="*/ 225549 h 471291"/>
                  <a:gd name="connsiteX245" fmla="*/ 149223 w 287641"/>
                  <a:gd name="connsiteY245" fmla="*/ 227026 h 471291"/>
                  <a:gd name="connsiteX246" fmla="*/ 150048 w 287641"/>
                  <a:gd name="connsiteY246" fmla="*/ 228561 h 471291"/>
                  <a:gd name="connsiteX247" fmla="*/ 150965 w 287641"/>
                  <a:gd name="connsiteY247" fmla="*/ 230809 h 471291"/>
                  <a:gd name="connsiteX248" fmla="*/ 150220 w 287641"/>
                  <a:gd name="connsiteY248" fmla="*/ 232230 h 471291"/>
                  <a:gd name="connsiteX249" fmla="*/ 149387 w 287641"/>
                  <a:gd name="connsiteY249" fmla="*/ 232934 h 471291"/>
                  <a:gd name="connsiteX250" fmla="*/ 149994 w 287641"/>
                  <a:gd name="connsiteY250" fmla="*/ 233584 h 471291"/>
                  <a:gd name="connsiteX251" fmla="*/ 151676 w 287641"/>
                  <a:gd name="connsiteY251" fmla="*/ 234079 h 471291"/>
                  <a:gd name="connsiteX252" fmla="*/ 152356 w 287641"/>
                  <a:gd name="connsiteY252" fmla="*/ 234966 h 471291"/>
                  <a:gd name="connsiteX253" fmla="*/ 150361 w 287641"/>
                  <a:gd name="connsiteY253" fmla="*/ 235726 h 471291"/>
                  <a:gd name="connsiteX254" fmla="*/ 147871 w 287641"/>
                  <a:gd name="connsiteY254" fmla="*/ 238333 h 471291"/>
                  <a:gd name="connsiteX255" fmla="*/ 145290 w 287641"/>
                  <a:gd name="connsiteY255" fmla="*/ 238397 h 471291"/>
                  <a:gd name="connsiteX256" fmla="*/ 143712 w 287641"/>
                  <a:gd name="connsiteY256" fmla="*/ 240117 h 471291"/>
                  <a:gd name="connsiteX257" fmla="*/ 142036 w 287641"/>
                  <a:gd name="connsiteY257" fmla="*/ 240111 h 471291"/>
                  <a:gd name="connsiteX258" fmla="*/ 140674 w 287641"/>
                  <a:gd name="connsiteY258" fmla="*/ 239028 h 471291"/>
                  <a:gd name="connsiteX259" fmla="*/ 138490 w 287641"/>
                  <a:gd name="connsiteY259" fmla="*/ 238138 h 471291"/>
                  <a:gd name="connsiteX260" fmla="*/ 137787 w 287641"/>
                  <a:gd name="connsiteY260" fmla="*/ 239707 h 471291"/>
                  <a:gd name="connsiteX261" fmla="*/ 137674 w 287641"/>
                  <a:gd name="connsiteY261" fmla="*/ 240954 h 471291"/>
                  <a:gd name="connsiteX262" fmla="*/ 138905 w 287641"/>
                  <a:gd name="connsiteY262" fmla="*/ 244105 h 471291"/>
                  <a:gd name="connsiteX263" fmla="*/ 141255 w 287641"/>
                  <a:gd name="connsiteY263" fmla="*/ 246541 h 471291"/>
                  <a:gd name="connsiteX264" fmla="*/ 143431 w 287641"/>
                  <a:gd name="connsiteY264" fmla="*/ 247592 h 471291"/>
                  <a:gd name="connsiteX265" fmla="*/ 141865 w 287641"/>
                  <a:gd name="connsiteY265" fmla="*/ 248301 h 471291"/>
                  <a:gd name="connsiteX266" fmla="*/ 140700 w 287641"/>
                  <a:gd name="connsiteY266" fmla="*/ 249875 h 471291"/>
                  <a:gd name="connsiteX267" fmla="*/ 139294 w 287641"/>
                  <a:gd name="connsiteY267" fmla="*/ 254783 h 471291"/>
                  <a:gd name="connsiteX268" fmla="*/ 138529 w 287641"/>
                  <a:gd name="connsiteY268" fmla="*/ 256712 h 471291"/>
                  <a:gd name="connsiteX269" fmla="*/ 137700 w 287641"/>
                  <a:gd name="connsiteY269" fmla="*/ 260113 h 471291"/>
                  <a:gd name="connsiteX270" fmla="*/ 138225 w 287641"/>
                  <a:gd name="connsiteY270" fmla="*/ 262978 h 471291"/>
                  <a:gd name="connsiteX271" fmla="*/ 138646 w 287641"/>
                  <a:gd name="connsiteY271" fmla="*/ 264385 h 471291"/>
                  <a:gd name="connsiteX272" fmla="*/ 139711 w 287641"/>
                  <a:gd name="connsiteY272" fmla="*/ 266294 h 471291"/>
                  <a:gd name="connsiteX273" fmla="*/ 136817 w 287641"/>
                  <a:gd name="connsiteY273" fmla="*/ 266048 h 471291"/>
                  <a:gd name="connsiteX274" fmla="*/ 133761 w 287641"/>
                  <a:gd name="connsiteY274" fmla="*/ 264933 h 471291"/>
                  <a:gd name="connsiteX275" fmla="*/ 134187 w 287641"/>
                  <a:gd name="connsiteY275" fmla="*/ 267248 h 471291"/>
                  <a:gd name="connsiteX276" fmla="*/ 132310 w 287641"/>
                  <a:gd name="connsiteY276" fmla="*/ 269981 h 471291"/>
                  <a:gd name="connsiteX277" fmla="*/ 132660 w 287641"/>
                  <a:gd name="connsiteY277" fmla="*/ 272389 h 471291"/>
                  <a:gd name="connsiteX278" fmla="*/ 133051 w 287641"/>
                  <a:gd name="connsiteY278" fmla="*/ 273956 h 471291"/>
                  <a:gd name="connsiteX279" fmla="*/ 132470 w 287641"/>
                  <a:gd name="connsiteY279" fmla="*/ 276546 h 471291"/>
                  <a:gd name="connsiteX280" fmla="*/ 133353 w 287641"/>
                  <a:gd name="connsiteY280" fmla="*/ 277359 h 471291"/>
                  <a:gd name="connsiteX281" fmla="*/ 133833 w 287641"/>
                  <a:gd name="connsiteY281" fmla="*/ 278899 h 471291"/>
                  <a:gd name="connsiteX282" fmla="*/ 133042 w 287641"/>
                  <a:gd name="connsiteY282" fmla="*/ 280036 h 471291"/>
                  <a:gd name="connsiteX283" fmla="*/ 133394 w 287641"/>
                  <a:gd name="connsiteY283" fmla="*/ 281014 h 471291"/>
                  <a:gd name="connsiteX284" fmla="*/ 133526 w 287641"/>
                  <a:gd name="connsiteY284" fmla="*/ 284473 h 471291"/>
                  <a:gd name="connsiteX285" fmla="*/ 134126 w 287641"/>
                  <a:gd name="connsiteY285" fmla="*/ 289873 h 471291"/>
                  <a:gd name="connsiteX286" fmla="*/ 133906 w 287641"/>
                  <a:gd name="connsiteY286" fmla="*/ 291014 h 471291"/>
                  <a:gd name="connsiteX287" fmla="*/ 135586 w 287641"/>
                  <a:gd name="connsiteY287" fmla="*/ 295695 h 471291"/>
                  <a:gd name="connsiteX288" fmla="*/ 135195 w 287641"/>
                  <a:gd name="connsiteY288" fmla="*/ 297333 h 471291"/>
                  <a:gd name="connsiteX289" fmla="*/ 134969 w 287641"/>
                  <a:gd name="connsiteY289" fmla="*/ 299419 h 471291"/>
                  <a:gd name="connsiteX290" fmla="*/ 137376 w 287641"/>
                  <a:gd name="connsiteY290" fmla="*/ 301421 h 471291"/>
                  <a:gd name="connsiteX291" fmla="*/ 139525 w 287641"/>
                  <a:gd name="connsiteY291" fmla="*/ 301389 h 471291"/>
                  <a:gd name="connsiteX292" fmla="*/ 141702 w 287641"/>
                  <a:gd name="connsiteY292" fmla="*/ 301358 h 471291"/>
                  <a:gd name="connsiteX293" fmla="*/ 142533 w 287641"/>
                  <a:gd name="connsiteY293" fmla="*/ 301860 h 471291"/>
                  <a:gd name="connsiteX294" fmla="*/ 143367 w 287641"/>
                  <a:gd name="connsiteY294" fmla="*/ 303275 h 471291"/>
                  <a:gd name="connsiteX295" fmla="*/ 144038 w 287641"/>
                  <a:gd name="connsiteY295" fmla="*/ 304945 h 471291"/>
                  <a:gd name="connsiteX296" fmla="*/ 145830 w 287641"/>
                  <a:gd name="connsiteY296" fmla="*/ 304807 h 471291"/>
                  <a:gd name="connsiteX297" fmla="*/ 148691 w 287641"/>
                  <a:gd name="connsiteY297" fmla="*/ 303448 h 471291"/>
                  <a:gd name="connsiteX298" fmla="*/ 150553 w 287641"/>
                  <a:gd name="connsiteY298" fmla="*/ 303124 h 471291"/>
                  <a:gd name="connsiteX299" fmla="*/ 151782 w 287641"/>
                  <a:gd name="connsiteY299" fmla="*/ 305736 h 471291"/>
                  <a:gd name="connsiteX300" fmla="*/ 155124 w 287641"/>
                  <a:gd name="connsiteY300" fmla="*/ 309182 h 471291"/>
                  <a:gd name="connsiteX301" fmla="*/ 157070 w 287641"/>
                  <a:gd name="connsiteY301" fmla="*/ 310724 h 471291"/>
                  <a:gd name="connsiteX302" fmla="*/ 160376 w 287641"/>
                  <a:gd name="connsiteY302" fmla="*/ 311535 h 471291"/>
                  <a:gd name="connsiteX303" fmla="*/ 163859 w 287641"/>
                  <a:gd name="connsiteY303" fmla="*/ 314308 h 471291"/>
                  <a:gd name="connsiteX304" fmla="*/ 163371 w 287641"/>
                  <a:gd name="connsiteY304" fmla="*/ 317646 h 471291"/>
                  <a:gd name="connsiteX305" fmla="*/ 164824 w 287641"/>
                  <a:gd name="connsiteY305" fmla="*/ 318760 h 471291"/>
                  <a:gd name="connsiteX306" fmla="*/ 168934 w 287641"/>
                  <a:gd name="connsiteY306" fmla="*/ 320076 h 471291"/>
                  <a:gd name="connsiteX307" fmla="*/ 170387 w 287641"/>
                  <a:gd name="connsiteY307" fmla="*/ 321849 h 471291"/>
                  <a:gd name="connsiteX308" fmla="*/ 171084 w 287641"/>
                  <a:gd name="connsiteY308" fmla="*/ 323359 h 471291"/>
                  <a:gd name="connsiteX309" fmla="*/ 172166 w 287641"/>
                  <a:gd name="connsiteY309" fmla="*/ 324611 h 471291"/>
                  <a:gd name="connsiteX310" fmla="*/ 173431 w 287641"/>
                  <a:gd name="connsiteY310" fmla="*/ 328388 h 471291"/>
                  <a:gd name="connsiteX311" fmla="*/ 172991 w 287641"/>
                  <a:gd name="connsiteY311" fmla="*/ 330712 h 471291"/>
                  <a:gd name="connsiteX312" fmla="*/ 171335 w 287641"/>
                  <a:gd name="connsiteY312" fmla="*/ 331510 h 471291"/>
                  <a:gd name="connsiteX313" fmla="*/ 167424 w 287641"/>
                  <a:gd name="connsiteY313" fmla="*/ 333997 h 471291"/>
                  <a:gd name="connsiteX314" fmla="*/ 165681 w 287641"/>
                  <a:gd name="connsiteY314" fmla="*/ 335851 h 471291"/>
                  <a:gd name="connsiteX315" fmla="*/ 164314 w 287641"/>
                  <a:gd name="connsiteY315" fmla="*/ 337006 h 471291"/>
                  <a:gd name="connsiteX316" fmla="*/ 160430 w 287641"/>
                  <a:gd name="connsiteY316" fmla="*/ 339479 h 471291"/>
                  <a:gd name="connsiteX317" fmla="*/ 159007 w 287641"/>
                  <a:gd name="connsiteY317" fmla="*/ 339923 h 471291"/>
                  <a:gd name="connsiteX318" fmla="*/ 157644 w 287641"/>
                  <a:gd name="connsiteY318" fmla="*/ 341207 h 471291"/>
                  <a:gd name="connsiteX319" fmla="*/ 156327 w 287641"/>
                  <a:gd name="connsiteY319" fmla="*/ 341769 h 471291"/>
                  <a:gd name="connsiteX320" fmla="*/ 155148 w 287641"/>
                  <a:gd name="connsiteY320" fmla="*/ 341446 h 471291"/>
                  <a:gd name="connsiteX321" fmla="*/ 150740 w 287641"/>
                  <a:gd name="connsiteY321" fmla="*/ 343770 h 471291"/>
                  <a:gd name="connsiteX322" fmla="*/ 151084 w 287641"/>
                  <a:gd name="connsiteY322" fmla="*/ 344762 h 471291"/>
                  <a:gd name="connsiteX323" fmla="*/ 154464 w 287641"/>
                  <a:gd name="connsiteY323" fmla="*/ 345182 h 471291"/>
                  <a:gd name="connsiteX324" fmla="*/ 156187 w 287641"/>
                  <a:gd name="connsiteY324" fmla="*/ 344684 h 471291"/>
                  <a:gd name="connsiteX325" fmla="*/ 157513 w 287641"/>
                  <a:gd name="connsiteY325" fmla="*/ 343516 h 471291"/>
                  <a:gd name="connsiteX326" fmla="*/ 158961 w 287641"/>
                  <a:gd name="connsiteY326" fmla="*/ 343248 h 471291"/>
                  <a:gd name="connsiteX327" fmla="*/ 160283 w 287641"/>
                  <a:gd name="connsiteY327" fmla="*/ 343468 h 471291"/>
                  <a:gd name="connsiteX328" fmla="*/ 161684 w 287641"/>
                  <a:gd name="connsiteY328" fmla="*/ 342548 h 471291"/>
                  <a:gd name="connsiteX329" fmla="*/ 162784 w 287641"/>
                  <a:gd name="connsiteY329" fmla="*/ 342180 h 471291"/>
                  <a:gd name="connsiteX330" fmla="*/ 163920 w 287641"/>
                  <a:gd name="connsiteY330" fmla="*/ 342621 h 471291"/>
                  <a:gd name="connsiteX331" fmla="*/ 165187 w 287641"/>
                  <a:gd name="connsiteY331" fmla="*/ 344828 h 471291"/>
                  <a:gd name="connsiteX332" fmla="*/ 162557 w 287641"/>
                  <a:gd name="connsiteY332" fmla="*/ 345976 h 471291"/>
                  <a:gd name="connsiteX333" fmla="*/ 160691 w 287641"/>
                  <a:gd name="connsiteY333" fmla="*/ 346028 h 471291"/>
                  <a:gd name="connsiteX334" fmla="*/ 159780 w 287641"/>
                  <a:gd name="connsiteY334" fmla="*/ 349640 h 471291"/>
                  <a:gd name="connsiteX335" fmla="*/ 158650 w 287641"/>
                  <a:gd name="connsiteY335" fmla="*/ 351190 h 471291"/>
                  <a:gd name="connsiteX336" fmla="*/ 157841 w 287641"/>
                  <a:gd name="connsiteY336" fmla="*/ 351935 h 471291"/>
                  <a:gd name="connsiteX337" fmla="*/ 153701 w 287641"/>
                  <a:gd name="connsiteY337" fmla="*/ 353469 h 471291"/>
                  <a:gd name="connsiteX338" fmla="*/ 150970 w 287641"/>
                  <a:gd name="connsiteY338" fmla="*/ 355412 h 471291"/>
                  <a:gd name="connsiteX339" fmla="*/ 147750 w 287641"/>
                  <a:gd name="connsiteY339" fmla="*/ 356975 h 471291"/>
                  <a:gd name="connsiteX340" fmla="*/ 146344 w 287641"/>
                  <a:gd name="connsiteY340" fmla="*/ 356635 h 471291"/>
                  <a:gd name="connsiteX341" fmla="*/ 144226 w 287641"/>
                  <a:gd name="connsiteY341" fmla="*/ 358223 h 471291"/>
                  <a:gd name="connsiteX342" fmla="*/ 139518 w 287641"/>
                  <a:gd name="connsiteY342" fmla="*/ 360101 h 471291"/>
                  <a:gd name="connsiteX343" fmla="*/ 137106 w 287641"/>
                  <a:gd name="connsiteY343" fmla="*/ 362629 h 471291"/>
                  <a:gd name="connsiteX344" fmla="*/ 131693 w 287641"/>
                  <a:gd name="connsiteY344" fmla="*/ 364888 h 471291"/>
                  <a:gd name="connsiteX345" fmla="*/ 128935 w 287641"/>
                  <a:gd name="connsiteY345" fmla="*/ 366724 h 471291"/>
                  <a:gd name="connsiteX346" fmla="*/ 121444 w 287641"/>
                  <a:gd name="connsiteY346" fmla="*/ 366820 h 471291"/>
                  <a:gd name="connsiteX347" fmla="*/ 114290 w 287641"/>
                  <a:gd name="connsiteY347" fmla="*/ 366417 h 471291"/>
                  <a:gd name="connsiteX348" fmla="*/ 112044 w 287641"/>
                  <a:gd name="connsiteY348" fmla="*/ 367290 h 471291"/>
                  <a:gd name="connsiteX349" fmla="*/ 114340 w 287641"/>
                  <a:gd name="connsiteY349" fmla="*/ 367560 h 471291"/>
                  <a:gd name="connsiteX350" fmla="*/ 115948 w 287641"/>
                  <a:gd name="connsiteY350" fmla="*/ 368416 h 471291"/>
                  <a:gd name="connsiteX351" fmla="*/ 117877 w 287641"/>
                  <a:gd name="connsiteY351" fmla="*/ 368059 h 471291"/>
                  <a:gd name="connsiteX352" fmla="*/ 122410 w 287641"/>
                  <a:gd name="connsiteY352" fmla="*/ 368487 h 471291"/>
                  <a:gd name="connsiteX353" fmla="*/ 124742 w 287641"/>
                  <a:gd name="connsiteY353" fmla="*/ 368953 h 471291"/>
                  <a:gd name="connsiteX354" fmla="*/ 127735 w 287641"/>
                  <a:gd name="connsiteY354" fmla="*/ 371949 h 471291"/>
                  <a:gd name="connsiteX355" fmla="*/ 125534 w 287641"/>
                  <a:gd name="connsiteY355" fmla="*/ 373013 h 471291"/>
                  <a:gd name="connsiteX356" fmla="*/ 121723 w 287641"/>
                  <a:gd name="connsiteY356" fmla="*/ 373829 h 471291"/>
                  <a:gd name="connsiteX357" fmla="*/ 123152 w 287641"/>
                  <a:gd name="connsiteY357" fmla="*/ 378067 h 471291"/>
                  <a:gd name="connsiteX358" fmla="*/ 124331 w 287641"/>
                  <a:gd name="connsiteY358" fmla="*/ 380919 h 471291"/>
                  <a:gd name="connsiteX359" fmla="*/ 122788 w 287641"/>
                  <a:gd name="connsiteY359" fmla="*/ 382639 h 471291"/>
                  <a:gd name="connsiteX360" fmla="*/ 122673 w 287641"/>
                  <a:gd name="connsiteY360" fmla="*/ 390443 h 471291"/>
                  <a:gd name="connsiteX361" fmla="*/ 120507 w 287641"/>
                  <a:gd name="connsiteY361" fmla="*/ 390592 h 471291"/>
                  <a:gd name="connsiteX362" fmla="*/ 119587 w 287641"/>
                  <a:gd name="connsiteY362" fmla="*/ 393812 h 471291"/>
                  <a:gd name="connsiteX363" fmla="*/ 120269 w 287641"/>
                  <a:gd name="connsiteY363" fmla="*/ 395452 h 471291"/>
                  <a:gd name="connsiteX364" fmla="*/ 120216 w 287641"/>
                  <a:gd name="connsiteY364" fmla="*/ 399257 h 471291"/>
                  <a:gd name="connsiteX365" fmla="*/ 120667 w 287641"/>
                  <a:gd name="connsiteY365" fmla="*/ 401599 h 471291"/>
                  <a:gd name="connsiteX366" fmla="*/ 121729 w 287641"/>
                  <a:gd name="connsiteY366" fmla="*/ 403752 h 471291"/>
                  <a:gd name="connsiteX367" fmla="*/ 121256 w 287641"/>
                  <a:gd name="connsiteY367" fmla="*/ 405996 h 471291"/>
                  <a:gd name="connsiteX368" fmla="*/ 117832 w 287641"/>
                  <a:gd name="connsiteY368" fmla="*/ 411238 h 471291"/>
                  <a:gd name="connsiteX369" fmla="*/ 117910 w 287641"/>
                  <a:gd name="connsiteY369" fmla="*/ 413693 h 471291"/>
                  <a:gd name="connsiteX370" fmla="*/ 118525 w 287641"/>
                  <a:gd name="connsiteY370" fmla="*/ 415150 h 471291"/>
                  <a:gd name="connsiteX371" fmla="*/ 118980 w 287641"/>
                  <a:gd name="connsiteY371" fmla="*/ 417477 h 471291"/>
                  <a:gd name="connsiteX372" fmla="*/ 117424 w 287641"/>
                  <a:gd name="connsiteY372" fmla="*/ 421945 h 471291"/>
                  <a:gd name="connsiteX373" fmla="*/ 116324 w 287641"/>
                  <a:gd name="connsiteY373" fmla="*/ 425671 h 471291"/>
                  <a:gd name="connsiteX374" fmla="*/ 115018 w 287641"/>
                  <a:gd name="connsiteY374" fmla="*/ 428802 h 471291"/>
                  <a:gd name="connsiteX375" fmla="*/ 112094 w 287641"/>
                  <a:gd name="connsiteY375" fmla="*/ 432553 h 471291"/>
                  <a:gd name="connsiteX376" fmla="*/ 110639 w 287641"/>
                  <a:gd name="connsiteY376" fmla="*/ 435353 h 471291"/>
                  <a:gd name="connsiteX377" fmla="*/ 107233 w 287641"/>
                  <a:gd name="connsiteY377" fmla="*/ 444067 h 471291"/>
                  <a:gd name="connsiteX378" fmla="*/ 105545 w 287641"/>
                  <a:gd name="connsiteY378" fmla="*/ 445792 h 471291"/>
                  <a:gd name="connsiteX379" fmla="*/ 103474 w 287641"/>
                  <a:gd name="connsiteY379" fmla="*/ 447117 h 471291"/>
                  <a:gd name="connsiteX380" fmla="*/ 101166 w 287641"/>
                  <a:gd name="connsiteY380" fmla="*/ 445891 h 471291"/>
                  <a:gd name="connsiteX381" fmla="*/ 99049 w 287641"/>
                  <a:gd name="connsiteY381" fmla="*/ 445223 h 471291"/>
                  <a:gd name="connsiteX382" fmla="*/ 96464 w 287641"/>
                  <a:gd name="connsiteY382" fmla="*/ 445304 h 471291"/>
                  <a:gd name="connsiteX383" fmla="*/ 92416 w 287641"/>
                  <a:gd name="connsiteY383" fmla="*/ 446309 h 471291"/>
                  <a:gd name="connsiteX384" fmla="*/ 86326 w 287641"/>
                  <a:gd name="connsiteY384" fmla="*/ 445641 h 471291"/>
                  <a:gd name="connsiteX385" fmla="*/ 80375 w 287641"/>
                  <a:gd name="connsiteY385" fmla="*/ 445963 h 471291"/>
                  <a:gd name="connsiteX386" fmla="*/ 78870 w 287641"/>
                  <a:gd name="connsiteY386" fmla="*/ 446831 h 471291"/>
                  <a:gd name="connsiteX387" fmla="*/ 79772 w 287641"/>
                  <a:gd name="connsiteY387" fmla="*/ 449981 h 471291"/>
                  <a:gd name="connsiteX388" fmla="*/ 77579 w 287641"/>
                  <a:gd name="connsiteY388" fmla="*/ 450394 h 471291"/>
                  <a:gd name="connsiteX389" fmla="*/ 75434 w 287641"/>
                  <a:gd name="connsiteY389" fmla="*/ 449498 h 471291"/>
                  <a:gd name="connsiteX390" fmla="*/ 73547 w 287641"/>
                  <a:gd name="connsiteY390" fmla="*/ 450567 h 471291"/>
                  <a:gd name="connsiteX391" fmla="*/ 71970 w 287641"/>
                  <a:gd name="connsiteY391" fmla="*/ 451739 h 471291"/>
                  <a:gd name="connsiteX392" fmla="*/ 68874 w 287641"/>
                  <a:gd name="connsiteY392" fmla="*/ 454516 h 471291"/>
                  <a:gd name="connsiteX393" fmla="*/ 67837 w 287641"/>
                  <a:gd name="connsiteY393" fmla="*/ 456225 h 471291"/>
                  <a:gd name="connsiteX394" fmla="*/ 67570 w 287641"/>
                  <a:gd name="connsiteY394" fmla="*/ 459439 h 471291"/>
                  <a:gd name="connsiteX395" fmla="*/ 69196 w 287641"/>
                  <a:gd name="connsiteY395" fmla="*/ 462318 h 471291"/>
                  <a:gd name="connsiteX396" fmla="*/ 70638 w 287641"/>
                  <a:gd name="connsiteY396" fmla="*/ 465684 h 471291"/>
                  <a:gd name="connsiteX397" fmla="*/ 66924 w 287641"/>
                  <a:gd name="connsiteY397" fmla="*/ 469739 h 471291"/>
                  <a:gd name="connsiteX398" fmla="*/ 64851 w 287641"/>
                  <a:gd name="connsiteY398" fmla="*/ 469876 h 471291"/>
                  <a:gd name="connsiteX399" fmla="*/ 58800 w 287641"/>
                  <a:gd name="connsiteY399" fmla="*/ 468752 h 471291"/>
                  <a:gd name="connsiteX400" fmla="*/ 48077 w 287641"/>
                  <a:gd name="connsiteY400" fmla="*/ 471291 h 471291"/>
                  <a:gd name="connsiteX401" fmla="*/ 38446 w 287641"/>
                  <a:gd name="connsiteY401" fmla="*/ 469283 h 471291"/>
                  <a:gd name="connsiteX402" fmla="*/ 39657 w 287641"/>
                  <a:gd name="connsiteY402" fmla="*/ 467112 h 471291"/>
                  <a:gd name="connsiteX403" fmla="*/ 39617 w 287641"/>
                  <a:gd name="connsiteY403" fmla="*/ 465514 h 471291"/>
                  <a:gd name="connsiteX404" fmla="*/ 40161 w 287641"/>
                  <a:gd name="connsiteY404" fmla="*/ 463055 h 471291"/>
                  <a:gd name="connsiteX405" fmla="*/ 40484 w 287641"/>
                  <a:gd name="connsiteY405" fmla="*/ 460536 h 471291"/>
                  <a:gd name="connsiteX406" fmla="*/ 40394 w 287641"/>
                  <a:gd name="connsiteY406" fmla="*/ 458849 h 471291"/>
                  <a:gd name="connsiteX407" fmla="*/ 39688 w 287641"/>
                  <a:gd name="connsiteY407" fmla="*/ 457050 h 471291"/>
                  <a:gd name="connsiteX408" fmla="*/ 37313 w 287641"/>
                  <a:gd name="connsiteY408" fmla="*/ 454694 h 471291"/>
                  <a:gd name="connsiteX409" fmla="*/ 31961 w 287641"/>
                  <a:gd name="connsiteY409" fmla="*/ 446722 h 471291"/>
                  <a:gd name="connsiteX410" fmla="*/ 30378 w 287641"/>
                  <a:gd name="connsiteY410" fmla="*/ 443349 h 471291"/>
                  <a:gd name="connsiteX411" fmla="*/ 29277 w 287641"/>
                  <a:gd name="connsiteY411" fmla="*/ 441942 h 471291"/>
                  <a:gd name="connsiteX412" fmla="*/ 30070 w 287641"/>
                  <a:gd name="connsiteY412" fmla="*/ 441866 h 471291"/>
                  <a:gd name="connsiteX413" fmla="*/ 34477 w 287641"/>
                  <a:gd name="connsiteY413" fmla="*/ 443679 h 471291"/>
                  <a:gd name="connsiteX414" fmla="*/ 35505 w 287641"/>
                  <a:gd name="connsiteY414" fmla="*/ 443456 h 471291"/>
                  <a:gd name="connsiteX415" fmla="*/ 36585 w 287641"/>
                  <a:gd name="connsiteY415" fmla="*/ 442775 h 471291"/>
                  <a:gd name="connsiteX416" fmla="*/ 35270 w 287641"/>
                  <a:gd name="connsiteY416" fmla="*/ 440179 h 471291"/>
                  <a:gd name="connsiteX417" fmla="*/ 34140 w 287641"/>
                  <a:gd name="connsiteY417" fmla="*/ 439003 h 471291"/>
                  <a:gd name="connsiteX418" fmla="*/ 33374 w 287641"/>
                  <a:gd name="connsiteY418" fmla="*/ 437243 h 471291"/>
                  <a:gd name="connsiteX419" fmla="*/ 35954 w 287641"/>
                  <a:gd name="connsiteY419" fmla="*/ 436767 h 471291"/>
                  <a:gd name="connsiteX420" fmla="*/ 37818 w 287641"/>
                  <a:gd name="connsiteY420" fmla="*/ 436872 h 471291"/>
                  <a:gd name="connsiteX421" fmla="*/ 39191 w 287641"/>
                  <a:gd name="connsiteY421" fmla="*/ 434890 h 471291"/>
                  <a:gd name="connsiteX422" fmla="*/ 38399 w 287641"/>
                  <a:gd name="connsiteY422" fmla="*/ 431681 h 471291"/>
                  <a:gd name="connsiteX423" fmla="*/ 36397 w 287641"/>
                  <a:gd name="connsiteY423" fmla="*/ 430693 h 471291"/>
                  <a:gd name="connsiteX424" fmla="*/ 34725 w 287641"/>
                  <a:gd name="connsiteY424" fmla="*/ 430263 h 471291"/>
                  <a:gd name="connsiteX425" fmla="*/ 31521 w 287641"/>
                  <a:gd name="connsiteY425" fmla="*/ 425210 h 471291"/>
                  <a:gd name="connsiteX426" fmla="*/ 28178 w 287641"/>
                  <a:gd name="connsiteY426" fmla="*/ 422589 h 471291"/>
                  <a:gd name="connsiteX427" fmla="*/ 22216 w 287641"/>
                  <a:gd name="connsiteY427" fmla="*/ 412449 h 471291"/>
                  <a:gd name="connsiteX428" fmla="*/ 20035 w 287641"/>
                  <a:gd name="connsiteY428" fmla="*/ 405461 h 471291"/>
                  <a:gd name="connsiteX429" fmla="*/ 18008 w 287641"/>
                  <a:gd name="connsiteY429" fmla="*/ 406126 h 471291"/>
                  <a:gd name="connsiteX430" fmla="*/ 17023 w 287641"/>
                  <a:gd name="connsiteY430" fmla="*/ 403076 h 471291"/>
                  <a:gd name="connsiteX431" fmla="*/ 16317 w 287641"/>
                  <a:gd name="connsiteY431" fmla="*/ 400184 h 471291"/>
                  <a:gd name="connsiteX432" fmla="*/ 16176 w 287641"/>
                  <a:gd name="connsiteY432" fmla="*/ 398055 h 471291"/>
                  <a:gd name="connsiteX433" fmla="*/ 12998 w 287641"/>
                  <a:gd name="connsiteY433" fmla="*/ 396834 h 471291"/>
                  <a:gd name="connsiteX434" fmla="*/ 12868 w 287641"/>
                  <a:gd name="connsiteY434" fmla="*/ 395340 h 471291"/>
                  <a:gd name="connsiteX435" fmla="*/ 12296 w 287641"/>
                  <a:gd name="connsiteY435" fmla="*/ 388660 h 471291"/>
                  <a:gd name="connsiteX436" fmla="*/ 8886 w 287641"/>
                  <a:gd name="connsiteY436" fmla="*/ 387761 h 471291"/>
                  <a:gd name="connsiteX437" fmla="*/ 6681 w 287641"/>
                  <a:gd name="connsiteY437" fmla="*/ 384002 h 471291"/>
                  <a:gd name="connsiteX438" fmla="*/ 6288 w 287641"/>
                  <a:gd name="connsiteY438" fmla="*/ 376872 h 471291"/>
                  <a:gd name="connsiteX439" fmla="*/ 4043 w 287641"/>
                  <a:gd name="connsiteY439" fmla="*/ 375571 h 471291"/>
                  <a:gd name="connsiteX440" fmla="*/ 2235 w 287641"/>
                  <a:gd name="connsiteY440" fmla="*/ 375932 h 471291"/>
                  <a:gd name="connsiteX441" fmla="*/ 2320 w 287641"/>
                  <a:gd name="connsiteY441" fmla="*/ 374160 h 471291"/>
                  <a:gd name="connsiteX442" fmla="*/ 2751 w 287641"/>
                  <a:gd name="connsiteY442" fmla="*/ 372496 h 471291"/>
                  <a:gd name="connsiteX443" fmla="*/ 1696 w 287641"/>
                  <a:gd name="connsiteY443" fmla="*/ 365889 h 471291"/>
                  <a:gd name="connsiteX444" fmla="*/ 1343 w 287641"/>
                  <a:gd name="connsiteY444" fmla="*/ 359841 h 471291"/>
                  <a:gd name="connsiteX445" fmla="*/ 486 w 287641"/>
                  <a:gd name="connsiteY445" fmla="*/ 358012 h 471291"/>
                  <a:gd name="connsiteX446" fmla="*/ 0 w 287641"/>
                  <a:gd name="connsiteY446" fmla="*/ 355868 h 471291"/>
                  <a:gd name="connsiteX447" fmla="*/ 436 w 287641"/>
                  <a:gd name="connsiteY447" fmla="*/ 354014 h 471291"/>
                  <a:gd name="connsiteX448" fmla="*/ 1076 w 287641"/>
                  <a:gd name="connsiteY448" fmla="*/ 352949 h 471291"/>
                  <a:gd name="connsiteX449" fmla="*/ 3276 w 287641"/>
                  <a:gd name="connsiteY449" fmla="*/ 352669 h 471291"/>
                  <a:gd name="connsiteX450" fmla="*/ 5332 w 287641"/>
                  <a:gd name="connsiteY450" fmla="*/ 354309 h 471291"/>
                  <a:gd name="connsiteX451" fmla="*/ 7154 w 287641"/>
                  <a:gd name="connsiteY451" fmla="*/ 358440 h 471291"/>
                  <a:gd name="connsiteX452" fmla="*/ 8765 w 287641"/>
                  <a:gd name="connsiteY452" fmla="*/ 358977 h 471291"/>
                  <a:gd name="connsiteX453" fmla="*/ 10959 w 287641"/>
                  <a:gd name="connsiteY453" fmla="*/ 357902 h 471291"/>
                  <a:gd name="connsiteX454" fmla="*/ 12495 w 287641"/>
                  <a:gd name="connsiteY454" fmla="*/ 354890 h 471291"/>
                  <a:gd name="connsiteX455" fmla="*/ 13371 w 287641"/>
                  <a:gd name="connsiteY455" fmla="*/ 350363 h 471291"/>
                  <a:gd name="connsiteX456" fmla="*/ 14395 w 287641"/>
                  <a:gd name="connsiteY456" fmla="*/ 346042 h 471291"/>
                  <a:gd name="connsiteX457" fmla="*/ 13183 w 287641"/>
                  <a:gd name="connsiteY457" fmla="*/ 341411 h 471291"/>
                  <a:gd name="connsiteX458" fmla="*/ 11890 w 287641"/>
                  <a:gd name="connsiteY458" fmla="*/ 337334 h 471291"/>
                  <a:gd name="connsiteX459" fmla="*/ 11799 w 287641"/>
                  <a:gd name="connsiteY459" fmla="*/ 336135 h 471291"/>
                  <a:gd name="connsiteX460" fmla="*/ 15194 w 287641"/>
                  <a:gd name="connsiteY460" fmla="*/ 332688 h 471291"/>
                  <a:gd name="connsiteX461" fmla="*/ 16232 w 287641"/>
                  <a:gd name="connsiteY461" fmla="*/ 329881 h 471291"/>
                  <a:gd name="connsiteX462" fmla="*/ 17358 w 287641"/>
                  <a:gd name="connsiteY462" fmla="*/ 327204 h 471291"/>
                  <a:gd name="connsiteX463" fmla="*/ 18599 w 287641"/>
                  <a:gd name="connsiteY463" fmla="*/ 326293 h 471291"/>
                  <a:gd name="connsiteX464" fmla="*/ 20448 w 287641"/>
                  <a:gd name="connsiteY464" fmla="*/ 326085 h 471291"/>
                  <a:gd name="connsiteX465" fmla="*/ 22601 w 287641"/>
                  <a:gd name="connsiteY465" fmla="*/ 325581 h 471291"/>
                  <a:gd name="connsiteX466" fmla="*/ 25315 w 287641"/>
                  <a:gd name="connsiteY466" fmla="*/ 323786 h 471291"/>
                  <a:gd name="connsiteX467" fmla="*/ 27748 w 287641"/>
                  <a:gd name="connsiteY467" fmla="*/ 321381 h 471291"/>
                  <a:gd name="connsiteX468" fmla="*/ 29608 w 287641"/>
                  <a:gd name="connsiteY468" fmla="*/ 319172 h 471291"/>
                  <a:gd name="connsiteX469" fmla="*/ 30238 w 287641"/>
                  <a:gd name="connsiteY469" fmla="*/ 314796 h 471291"/>
                  <a:gd name="connsiteX470" fmla="*/ 30264 w 287641"/>
                  <a:gd name="connsiteY470" fmla="*/ 312594 h 471291"/>
                  <a:gd name="connsiteX471" fmla="*/ 31083 w 287641"/>
                  <a:gd name="connsiteY471" fmla="*/ 310957 h 471291"/>
                  <a:gd name="connsiteX472" fmla="*/ 31875 w 287641"/>
                  <a:gd name="connsiteY472" fmla="*/ 307757 h 471291"/>
                  <a:gd name="connsiteX473" fmla="*/ 31104 w 287641"/>
                  <a:gd name="connsiteY473" fmla="*/ 304595 h 471291"/>
                  <a:gd name="connsiteX474" fmla="*/ 28705 w 287641"/>
                  <a:gd name="connsiteY474" fmla="*/ 299791 h 471291"/>
                  <a:gd name="connsiteX475" fmla="*/ 25816 w 287641"/>
                  <a:gd name="connsiteY475" fmla="*/ 293016 h 471291"/>
                  <a:gd name="connsiteX476" fmla="*/ 25362 w 287641"/>
                  <a:gd name="connsiteY476" fmla="*/ 289308 h 471291"/>
                  <a:gd name="connsiteX477" fmla="*/ 26679 w 287641"/>
                  <a:gd name="connsiteY477" fmla="*/ 288619 h 471291"/>
                  <a:gd name="connsiteX478" fmla="*/ 29198 w 287641"/>
                  <a:gd name="connsiteY478" fmla="*/ 288004 h 471291"/>
                  <a:gd name="connsiteX479" fmla="*/ 33961 w 287641"/>
                  <a:gd name="connsiteY479" fmla="*/ 287826 h 471291"/>
                  <a:gd name="connsiteX480" fmla="*/ 34471 w 287641"/>
                  <a:gd name="connsiteY480" fmla="*/ 287388 h 471291"/>
                  <a:gd name="connsiteX481" fmla="*/ 34952 w 287641"/>
                  <a:gd name="connsiteY481" fmla="*/ 285761 h 471291"/>
                  <a:gd name="connsiteX482" fmla="*/ 36025 w 287641"/>
                  <a:gd name="connsiteY482" fmla="*/ 283550 h 471291"/>
                  <a:gd name="connsiteX483" fmla="*/ 37172 w 287641"/>
                  <a:gd name="connsiteY483" fmla="*/ 281938 h 471291"/>
                  <a:gd name="connsiteX484" fmla="*/ 37956 w 287641"/>
                  <a:gd name="connsiteY484" fmla="*/ 279631 h 471291"/>
                  <a:gd name="connsiteX485" fmla="*/ 38334 w 287641"/>
                  <a:gd name="connsiteY485" fmla="*/ 277538 h 471291"/>
                  <a:gd name="connsiteX486" fmla="*/ 35609 w 287641"/>
                  <a:gd name="connsiteY486" fmla="*/ 274382 h 471291"/>
                  <a:gd name="connsiteX487" fmla="*/ 32039 w 287641"/>
                  <a:gd name="connsiteY487" fmla="*/ 271147 h 471291"/>
                  <a:gd name="connsiteX488" fmla="*/ 29623 w 287641"/>
                  <a:gd name="connsiteY488" fmla="*/ 270074 h 471291"/>
                  <a:gd name="connsiteX489" fmla="*/ 25317 w 287641"/>
                  <a:gd name="connsiteY489" fmla="*/ 267346 h 471291"/>
                  <a:gd name="connsiteX490" fmla="*/ 22294 w 287641"/>
                  <a:gd name="connsiteY490" fmla="*/ 265062 h 471291"/>
                  <a:gd name="connsiteX491" fmla="*/ 24026 w 287641"/>
                  <a:gd name="connsiteY491" fmla="*/ 256346 h 471291"/>
                  <a:gd name="connsiteX492" fmla="*/ 25315 w 287641"/>
                  <a:gd name="connsiteY492" fmla="*/ 249836 h 471291"/>
                  <a:gd name="connsiteX493" fmla="*/ 25522 w 287641"/>
                  <a:gd name="connsiteY493" fmla="*/ 248251 h 471291"/>
                  <a:gd name="connsiteX494" fmla="*/ 25570 w 287641"/>
                  <a:gd name="connsiteY494" fmla="*/ 245790 h 471291"/>
                  <a:gd name="connsiteX495" fmla="*/ 21391 w 287641"/>
                  <a:gd name="connsiteY495" fmla="*/ 235264 h 471291"/>
                  <a:gd name="connsiteX496" fmla="*/ 21553 w 287641"/>
                  <a:gd name="connsiteY496" fmla="*/ 232916 h 471291"/>
                  <a:gd name="connsiteX497" fmla="*/ 21951 w 287641"/>
                  <a:gd name="connsiteY497" fmla="*/ 230799 h 471291"/>
                  <a:gd name="connsiteX498" fmla="*/ 21503 w 287641"/>
                  <a:gd name="connsiteY498" fmla="*/ 227185 h 471291"/>
                  <a:gd name="connsiteX499" fmla="*/ 21260 w 287641"/>
                  <a:gd name="connsiteY499" fmla="*/ 223946 h 471291"/>
                  <a:gd name="connsiteX500" fmla="*/ 21977 w 287641"/>
                  <a:gd name="connsiteY500" fmla="*/ 222963 h 471291"/>
                  <a:gd name="connsiteX501" fmla="*/ 23682 w 287641"/>
                  <a:gd name="connsiteY501" fmla="*/ 221133 h 471291"/>
                  <a:gd name="connsiteX502" fmla="*/ 22056 w 287641"/>
                  <a:gd name="connsiteY502" fmla="*/ 218291 h 471291"/>
                  <a:gd name="connsiteX503" fmla="*/ 21925 w 287641"/>
                  <a:gd name="connsiteY503" fmla="*/ 218060 h 471291"/>
                  <a:gd name="connsiteX504" fmla="*/ 18856 w 287641"/>
                  <a:gd name="connsiteY504" fmla="*/ 211011 h 471291"/>
                  <a:gd name="connsiteX505" fmla="*/ 23549 w 287641"/>
                  <a:gd name="connsiteY505" fmla="*/ 204008 h 471291"/>
                  <a:gd name="connsiteX506" fmla="*/ 22732 w 287641"/>
                  <a:gd name="connsiteY506" fmla="*/ 200377 h 471291"/>
                  <a:gd name="connsiteX507" fmla="*/ 25535 w 287641"/>
                  <a:gd name="connsiteY507" fmla="*/ 197738 h 471291"/>
                  <a:gd name="connsiteX508" fmla="*/ 30638 w 287641"/>
                  <a:gd name="connsiteY508" fmla="*/ 191681 h 471291"/>
                  <a:gd name="connsiteX509" fmla="*/ 33508 w 287641"/>
                  <a:gd name="connsiteY509" fmla="*/ 188267 h 471291"/>
                  <a:gd name="connsiteX510" fmla="*/ 34117 w 287641"/>
                  <a:gd name="connsiteY510" fmla="*/ 187670 h 471291"/>
                  <a:gd name="connsiteX511" fmla="*/ 36388 w 287641"/>
                  <a:gd name="connsiteY511" fmla="*/ 186168 h 471291"/>
                  <a:gd name="connsiteX512" fmla="*/ 40696 w 287641"/>
                  <a:gd name="connsiteY512" fmla="*/ 184385 h 471291"/>
                  <a:gd name="connsiteX513" fmla="*/ 45471 w 287641"/>
                  <a:gd name="connsiteY513" fmla="*/ 183516 h 471291"/>
                  <a:gd name="connsiteX514" fmla="*/ 47596 w 287641"/>
                  <a:gd name="connsiteY514" fmla="*/ 183527 h 471291"/>
                  <a:gd name="connsiteX515" fmla="*/ 55801 w 287641"/>
                  <a:gd name="connsiteY515" fmla="*/ 184734 h 471291"/>
                  <a:gd name="connsiteX516" fmla="*/ 62210 w 287641"/>
                  <a:gd name="connsiteY516" fmla="*/ 185673 h 471291"/>
                  <a:gd name="connsiteX517" fmla="*/ 63143 w 287641"/>
                  <a:gd name="connsiteY517" fmla="*/ 184730 h 471291"/>
                  <a:gd name="connsiteX518" fmla="*/ 64482 w 287641"/>
                  <a:gd name="connsiteY518" fmla="*/ 182795 h 471291"/>
                  <a:gd name="connsiteX519" fmla="*/ 66205 w 287641"/>
                  <a:gd name="connsiteY519" fmla="*/ 180035 h 471291"/>
                  <a:gd name="connsiteX520" fmla="*/ 66356 w 287641"/>
                  <a:gd name="connsiteY520" fmla="*/ 176962 h 471291"/>
                  <a:gd name="connsiteX521" fmla="*/ 65734 w 287641"/>
                  <a:gd name="connsiteY521" fmla="*/ 172439 h 471291"/>
                  <a:gd name="connsiteX522" fmla="*/ 64799 w 287641"/>
                  <a:gd name="connsiteY522" fmla="*/ 169727 h 471291"/>
                  <a:gd name="connsiteX523" fmla="*/ 60286 w 287641"/>
                  <a:gd name="connsiteY523" fmla="*/ 167963 h 471291"/>
                  <a:gd name="connsiteX524" fmla="*/ 55350 w 287641"/>
                  <a:gd name="connsiteY524" fmla="*/ 165542 h 471291"/>
                  <a:gd name="connsiteX525" fmla="*/ 61420 w 287641"/>
                  <a:gd name="connsiteY525" fmla="*/ 157854 h 471291"/>
                  <a:gd name="connsiteX526" fmla="*/ 65629 w 287641"/>
                  <a:gd name="connsiteY526" fmla="*/ 152501 h 471291"/>
                  <a:gd name="connsiteX527" fmla="*/ 70876 w 287641"/>
                  <a:gd name="connsiteY527" fmla="*/ 144422 h 471291"/>
                  <a:gd name="connsiteX528" fmla="*/ 72508 w 287641"/>
                  <a:gd name="connsiteY528" fmla="*/ 141051 h 471291"/>
                  <a:gd name="connsiteX529" fmla="*/ 73689 w 287641"/>
                  <a:gd name="connsiteY529" fmla="*/ 139711 h 471291"/>
                  <a:gd name="connsiteX530" fmla="*/ 75233 w 287641"/>
                  <a:gd name="connsiteY530" fmla="*/ 127217 h 471291"/>
                  <a:gd name="connsiteX531" fmla="*/ 76257 w 287641"/>
                  <a:gd name="connsiteY531" fmla="*/ 123708 h 471291"/>
                  <a:gd name="connsiteX532" fmla="*/ 77114 w 287641"/>
                  <a:gd name="connsiteY532" fmla="*/ 121873 h 471291"/>
                  <a:gd name="connsiteX533" fmla="*/ 77127 w 287641"/>
                  <a:gd name="connsiteY533" fmla="*/ 119986 h 471291"/>
                  <a:gd name="connsiteX534" fmla="*/ 76570 w 287641"/>
                  <a:gd name="connsiteY534" fmla="*/ 116802 h 471291"/>
                  <a:gd name="connsiteX535" fmla="*/ 75095 w 287641"/>
                  <a:gd name="connsiteY535" fmla="*/ 109590 h 471291"/>
                  <a:gd name="connsiteX536" fmla="*/ 83381 w 287641"/>
                  <a:gd name="connsiteY536" fmla="*/ 108696 h 471291"/>
                  <a:gd name="connsiteX537" fmla="*/ 86080 w 287641"/>
                  <a:gd name="connsiteY537" fmla="*/ 108190 h 471291"/>
                  <a:gd name="connsiteX538" fmla="*/ 88585 w 287641"/>
                  <a:gd name="connsiteY538" fmla="*/ 107326 h 471291"/>
                  <a:gd name="connsiteX539" fmla="*/ 93485 w 287641"/>
                  <a:gd name="connsiteY539" fmla="*/ 105086 h 471291"/>
                  <a:gd name="connsiteX540" fmla="*/ 95892 w 287641"/>
                  <a:gd name="connsiteY540" fmla="*/ 103105 h 471291"/>
                  <a:gd name="connsiteX541" fmla="*/ 94547 w 287641"/>
                  <a:gd name="connsiteY541" fmla="*/ 96329 h 471291"/>
                  <a:gd name="connsiteX542" fmla="*/ 97512 w 287641"/>
                  <a:gd name="connsiteY542" fmla="*/ 94031 h 471291"/>
                  <a:gd name="connsiteX543" fmla="*/ 104746 w 287641"/>
                  <a:gd name="connsiteY543" fmla="*/ 86006 h 471291"/>
                  <a:gd name="connsiteX544" fmla="*/ 112563 w 287641"/>
                  <a:gd name="connsiteY544" fmla="*/ 78290 h 471291"/>
                  <a:gd name="connsiteX545" fmla="*/ 116229 w 287641"/>
                  <a:gd name="connsiteY545" fmla="*/ 75362 h 471291"/>
                  <a:gd name="connsiteX546" fmla="*/ 116609 w 287641"/>
                  <a:gd name="connsiteY546" fmla="*/ 73929 h 471291"/>
                  <a:gd name="connsiteX547" fmla="*/ 116910 w 287641"/>
                  <a:gd name="connsiteY547" fmla="*/ 71624 h 471291"/>
                  <a:gd name="connsiteX548" fmla="*/ 115281 w 287641"/>
                  <a:gd name="connsiteY548" fmla="*/ 67999 h 471291"/>
                  <a:gd name="connsiteX549" fmla="*/ 113532 w 287641"/>
                  <a:gd name="connsiteY549" fmla="*/ 65749 h 471291"/>
                  <a:gd name="connsiteX550" fmla="*/ 110125 w 287641"/>
                  <a:gd name="connsiteY550" fmla="*/ 61479 h 471291"/>
                  <a:gd name="connsiteX551" fmla="*/ 111587 w 287641"/>
                  <a:gd name="connsiteY551" fmla="*/ 58496 h 471291"/>
                  <a:gd name="connsiteX552" fmla="*/ 114098 w 287641"/>
                  <a:gd name="connsiteY552" fmla="*/ 57916 h 471291"/>
                  <a:gd name="connsiteX553" fmla="*/ 117415 w 287641"/>
                  <a:gd name="connsiteY553" fmla="*/ 56743 h 471291"/>
                  <a:gd name="connsiteX554" fmla="*/ 120002 w 287641"/>
                  <a:gd name="connsiteY554" fmla="*/ 54187 h 471291"/>
                  <a:gd name="connsiteX555" fmla="*/ 120254 w 287641"/>
                  <a:gd name="connsiteY555" fmla="*/ 53858 h 471291"/>
                  <a:gd name="connsiteX556" fmla="*/ 124634 w 287641"/>
                  <a:gd name="connsiteY556" fmla="*/ 43774 h 471291"/>
                  <a:gd name="connsiteX557" fmla="*/ 133189 w 287641"/>
                  <a:gd name="connsiteY557" fmla="*/ 38646 h 471291"/>
                  <a:gd name="connsiteX558" fmla="*/ 136597 w 287641"/>
                  <a:gd name="connsiteY558" fmla="*/ 35843 h 471291"/>
                  <a:gd name="connsiteX559" fmla="*/ 141907 w 287641"/>
                  <a:gd name="connsiteY559" fmla="*/ 37949 h 471291"/>
                  <a:gd name="connsiteX560" fmla="*/ 149689 w 287641"/>
                  <a:gd name="connsiteY560" fmla="*/ 41124 h 471291"/>
                  <a:gd name="connsiteX561" fmla="*/ 153150 w 287641"/>
                  <a:gd name="connsiteY561" fmla="*/ 36451 h 471291"/>
                  <a:gd name="connsiteX562" fmla="*/ 154295 w 287641"/>
                  <a:gd name="connsiteY562" fmla="*/ 34715 h 471291"/>
                  <a:gd name="connsiteX563" fmla="*/ 155437 w 287641"/>
                  <a:gd name="connsiteY563" fmla="*/ 32154 h 471291"/>
                  <a:gd name="connsiteX564" fmla="*/ 154979 w 287641"/>
                  <a:gd name="connsiteY564" fmla="*/ 27717 h 471291"/>
                  <a:gd name="connsiteX565" fmla="*/ 154783 w 287641"/>
                  <a:gd name="connsiteY565" fmla="*/ 21940 h 471291"/>
                  <a:gd name="connsiteX566" fmla="*/ 155126 w 287641"/>
                  <a:gd name="connsiteY566" fmla="*/ 19614 h 471291"/>
                  <a:gd name="connsiteX567" fmla="*/ 158232 w 287641"/>
                  <a:gd name="connsiteY567" fmla="*/ 18577 h 471291"/>
                  <a:gd name="connsiteX568" fmla="*/ 159903 w 287641"/>
                  <a:gd name="connsiteY568" fmla="*/ 18309 h 471291"/>
                  <a:gd name="connsiteX569" fmla="*/ 168553 w 287641"/>
                  <a:gd name="connsiteY569" fmla="*/ 20702 h 471291"/>
                  <a:gd name="connsiteX570" fmla="*/ 170730 w 287641"/>
                  <a:gd name="connsiteY570" fmla="*/ 20661 h 471291"/>
                  <a:gd name="connsiteX571" fmla="*/ 174807 w 287641"/>
                  <a:gd name="connsiteY571" fmla="*/ 20983 h 471291"/>
                  <a:gd name="connsiteX572" fmla="*/ 179370 w 287641"/>
                  <a:gd name="connsiteY572" fmla="*/ 22034 h 471291"/>
                  <a:gd name="connsiteX573" fmla="*/ 188927 w 287641"/>
                  <a:gd name="connsiteY573" fmla="*/ 24826 h 471291"/>
                  <a:gd name="connsiteX574" fmla="*/ 192881 w 287641"/>
                  <a:gd name="connsiteY574" fmla="*/ 25981 h 471291"/>
                  <a:gd name="connsiteX575" fmla="*/ 195088 w 287641"/>
                  <a:gd name="connsiteY575" fmla="*/ 26205 h 471291"/>
                  <a:gd name="connsiteX576" fmla="*/ 196993 w 287641"/>
                  <a:gd name="connsiteY576" fmla="*/ 24905 h 471291"/>
                  <a:gd name="connsiteX577" fmla="*/ 201063 w 287641"/>
                  <a:gd name="connsiteY577" fmla="*/ 21566 h 471291"/>
                  <a:gd name="connsiteX578" fmla="*/ 195066 w 287641"/>
                  <a:gd name="connsiteY578" fmla="*/ 19091 h 471291"/>
                  <a:gd name="connsiteX579" fmla="*/ 199016 w 287641"/>
                  <a:gd name="connsiteY579" fmla="*/ 16583 h 471291"/>
                  <a:gd name="connsiteX580" fmla="*/ 201063 w 287641"/>
                  <a:gd name="connsiteY580" fmla="*/ 14051 h 471291"/>
                  <a:gd name="connsiteX581" fmla="*/ 202819 w 287641"/>
                  <a:gd name="connsiteY581" fmla="*/ 10934 h 471291"/>
                  <a:gd name="connsiteX582" fmla="*/ 203451 w 287641"/>
                  <a:gd name="connsiteY582" fmla="*/ 7280 h 471291"/>
                  <a:gd name="connsiteX583" fmla="*/ 203209 w 287641"/>
                  <a:gd name="connsiteY583" fmla="*/ 5312 h 471291"/>
                  <a:gd name="connsiteX584" fmla="*/ 201998 w 287641"/>
                  <a:gd name="connsiteY584" fmla="*/ 3971 h 471291"/>
                  <a:gd name="connsiteX585" fmla="*/ 198336 w 287641"/>
                  <a:gd name="connsiteY585" fmla="*/ 619 h 471291"/>
                  <a:gd name="connsiteX586" fmla="*/ 206634 w 287641"/>
                  <a:gd name="connsiteY586" fmla="*/ 138 h 471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</a:cxnLst>
                <a:rect l="l" t="t" r="r" b="b"/>
                <a:pathLst>
                  <a:path w="287641" h="471291">
                    <a:moveTo>
                      <a:pt x="129980" y="408700"/>
                    </a:moveTo>
                    <a:lnTo>
                      <a:pt x="131392" y="409106"/>
                    </a:lnTo>
                    <a:lnTo>
                      <a:pt x="132021" y="409502"/>
                    </a:lnTo>
                    <a:lnTo>
                      <a:pt x="130533" y="410751"/>
                    </a:lnTo>
                    <a:lnTo>
                      <a:pt x="130706" y="412376"/>
                    </a:lnTo>
                    <a:lnTo>
                      <a:pt x="130602" y="413049"/>
                    </a:lnTo>
                    <a:lnTo>
                      <a:pt x="126847" y="420100"/>
                    </a:lnTo>
                    <a:lnTo>
                      <a:pt x="125843" y="424667"/>
                    </a:lnTo>
                    <a:lnTo>
                      <a:pt x="124511" y="425780"/>
                    </a:lnTo>
                    <a:lnTo>
                      <a:pt x="118993" y="441942"/>
                    </a:lnTo>
                    <a:lnTo>
                      <a:pt x="117858" y="443517"/>
                    </a:lnTo>
                    <a:lnTo>
                      <a:pt x="116851" y="443406"/>
                    </a:lnTo>
                    <a:lnTo>
                      <a:pt x="116180" y="441305"/>
                    </a:lnTo>
                    <a:lnTo>
                      <a:pt x="116022" y="435892"/>
                    </a:lnTo>
                    <a:lnTo>
                      <a:pt x="116424" y="433213"/>
                    </a:lnTo>
                    <a:lnTo>
                      <a:pt x="121246" y="423521"/>
                    </a:lnTo>
                    <a:lnTo>
                      <a:pt x="123398" y="422728"/>
                    </a:lnTo>
                    <a:lnTo>
                      <a:pt x="126426" y="416765"/>
                    </a:lnTo>
                    <a:lnTo>
                      <a:pt x="127242" y="414108"/>
                    </a:lnTo>
                    <a:lnTo>
                      <a:pt x="128555" y="411712"/>
                    </a:lnTo>
                    <a:lnTo>
                      <a:pt x="129330" y="409567"/>
                    </a:lnTo>
                    <a:close/>
                    <a:moveTo>
                      <a:pt x="171445" y="390509"/>
                    </a:moveTo>
                    <a:lnTo>
                      <a:pt x="172680" y="391004"/>
                    </a:lnTo>
                    <a:lnTo>
                      <a:pt x="175334" y="393055"/>
                    </a:lnTo>
                    <a:lnTo>
                      <a:pt x="173505" y="393817"/>
                    </a:lnTo>
                    <a:lnTo>
                      <a:pt x="172429" y="396070"/>
                    </a:lnTo>
                    <a:lnTo>
                      <a:pt x="170948" y="396450"/>
                    </a:lnTo>
                    <a:lnTo>
                      <a:pt x="169527" y="397201"/>
                    </a:lnTo>
                    <a:lnTo>
                      <a:pt x="169020" y="404312"/>
                    </a:lnTo>
                    <a:lnTo>
                      <a:pt x="171607" y="407008"/>
                    </a:lnTo>
                    <a:lnTo>
                      <a:pt x="170186" y="407385"/>
                    </a:lnTo>
                    <a:lnTo>
                      <a:pt x="168886" y="408192"/>
                    </a:lnTo>
                    <a:lnTo>
                      <a:pt x="167957" y="409384"/>
                    </a:lnTo>
                    <a:lnTo>
                      <a:pt x="167007" y="411948"/>
                    </a:lnTo>
                    <a:lnTo>
                      <a:pt x="163438" y="413400"/>
                    </a:lnTo>
                    <a:lnTo>
                      <a:pt x="162086" y="414474"/>
                    </a:lnTo>
                    <a:lnTo>
                      <a:pt x="160093" y="416861"/>
                    </a:lnTo>
                    <a:lnTo>
                      <a:pt x="159054" y="420321"/>
                    </a:lnTo>
                    <a:lnTo>
                      <a:pt x="157035" y="421795"/>
                    </a:lnTo>
                    <a:lnTo>
                      <a:pt x="154768" y="422144"/>
                    </a:lnTo>
                    <a:lnTo>
                      <a:pt x="156098" y="419312"/>
                    </a:lnTo>
                    <a:lnTo>
                      <a:pt x="157841" y="417002"/>
                    </a:lnTo>
                    <a:lnTo>
                      <a:pt x="156165" y="415416"/>
                    </a:lnTo>
                    <a:lnTo>
                      <a:pt x="155156" y="412931"/>
                    </a:lnTo>
                    <a:lnTo>
                      <a:pt x="153855" y="411024"/>
                    </a:lnTo>
                    <a:lnTo>
                      <a:pt x="154891" y="408891"/>
                    </a:lnTo>
                    <a:lnTo>
                      <a:pt x="154381" y="405391"/>
                    </a:lnTo>
                    <a:lnTo>
                      <a:pt x="154550" y="401970"/>
                    </a:lnTo>
                    <a:lnTo>
                      <a:pt x="156061" y="400241"/>
                    </a:lnTo>
                    <a:lnTo>
                      <a:pt x="157793" y="398831"/>
                    </a:lnTo>
                    <a:lnTo>
                      <a:pt x="160490" y="395583"/>
                    </a:lnTo>
                    <a:lnTo>
                      <a:pt x="163414" y="393226"/>
                    </a:lnTo>
                    <a:lnTo>
                      <a:pt x="167493" y="392166"/>
                    </a:lnTo>
                    <a:lnTo>
                      <a:pt x="169335" y="393143"/>
                    </a:lnTo>
                    <a:lnTo>
                      <a:pt x="170130" y="390998"/>
                    </a:lnTo>
                    <a:close/>
                    <a:moveTo>
                      <a:pt x="176625" y="388398"/>
                    </a:moveTo>
                    <a:lnTo>
                      <a:pt x="179860" y="388520"/>
                    </a:lnTo>
                    <a:lnTo>
                      <a:pt x="180972" y="388990"/>
                    </a:lnTo>
                    <a:lnTo>
                      <a:pt x="177100" y="390280"/>
                    </a:lnTo>
                    <a:lnTo>
                      <a:pt x="176703" y="392277"/>
                    </a:lnTo>
                    <a:lnTo>
                      <a:pt x="175556" y="392125"/>
                    </a:lnTo>
                    <a:lnTo>
                      <a:pt x="174511" y="390651"/>
                    </a:lnTo>
                    <a:close/>
                    <a:moveTo>
                      <a:pt x="161812" y="351984"/>
                    </a:moveTo>
                    <a:lnTo>
                      <a:pt x="162267" y="352091"/>
                    </a:lnTo>
                    <a:lnTo>
                      <a:pt x="160734" y="354550"/>
                    </a:lnTo>
                    <a:lnTo>
                      <a:pt x="159754" y="354860"/>
                    </a:lnTo>
                    <a:lnTo>
                      <a:pt x="159268" y="354762"/>
                    </a:lnTo>
                    <a:lnTo>
                      <a:pt x="159873" y="353249"/>
                    </a:lnTo>
                    <a:lnTo>
                      <a:pt x="160322" y="352596"/>
                    </a:lnTo>
                    <a:close/>
                    <a:moveTo>
                      <a:pt x="165261" y="337596"/>
                    </a:moveTo>
                    <a:lnTo>
                      <a:pt x="166975" y="338028"/>
                    </a:lnTo>
                    <a:lnTo>
                      <a:pt x="166964" y="338356"/>
                    </a:lnTo>
                    <a:lnTo>
                      <a:pt x="165325" y="339420"/>
                    </a:lnTo>
                    <a:lnTo>
                      <a:pt x="164697" y="340135"/>
                    </a:lnTo>
                    <a:lnTo>
                      <a:pt x="164142" y="341220"/>
                    </a:lnTo>
                    <a:lnTo>
                      <a:pt x="163585" y="339890"/>
                    </a:lnTo>
                    <a:lnTo>
                      <a:pt x="163807" y="339630"/>
                    </a:lnTo>
                    <a:lnTo>
                      <a:pt x="164187" y="338316"/>
                    </a:lnTo>
                    <a:close/>
                    <a:moveTo>
                      <a:pt x="209512" y="0"/>
                    </a:moveTo>
                    <a:lnTo>
                      <a:pt x="215548" y="2210"/>
                    </a:lnTo>
                    <a:lnTo>
                      <a:pt x="215812" y="2688"/>
                    </a:lnTo>
                    <a:lnTo>
                      <a:pt x="215855" y="3839"/>
                    </a:lnTo>
                    <a:lnTo>
                      <a:pt x="216066" y="5031"/>
                    </a:lnTo>
                    <a:lnTo>
                      <a:pt x="221923" y="8050"/>
                    </a:lnTo>
                    <a:lnTo>
                      <a:pt x="223611" y="9646"/>
                    </a:lnTo>
                    <a:lnTo>
                      <a:pt x="227207" y="12069"/>
                    </a:lnTo>
                    <a:lnTo>
                      <a:pt x="228159" y="13376"/>
                    </a:lnTo>
                    <a:lnTo>
                      <a:pt x="231489" y="14904"/>
                    </a:lnTo>
                    <a:lnTo>
                      <a:pt x="233877" y="16536"/>
                    </a:lnTo>
                    <a:lnTo>
                      <a:pt x="236667" y="17859"/>
                    </a:lnTo>
                    <a:lnTo>
                      <a:pt x="239923" y="19914"/>
                    </a:lnTo>
                    <a:lnTo>
                      <a:pt x="244294" y="21549"/>
                    </a:lnTo>
                    <a:lnTo>
                      <a:pt x="247986" y="22082"/>
                    </a:lnTo>
                    <a:lnTo>
                      <a:pt x="257280" y="24881"/>
                    </a:lnTo>
                    <a:lnTo>
                      <a:pt x="258865" y="25787"/>
                    </a:lnTo>
                    <a:lnTo>
                      <a:pt x="261547" y="27732"/>
                    </a:lnTo>
                    <a:lnTo>
                      <a:pt x="264255" y="29982"/>
                    </a:lnTo>
                    <a:lnTo>
                      <a:pt x="266127" y="34594"/>
                    </a:lnTo>
                    <a:lnTo>
                      <a:pt x="269136" y="34834"/>
                    </a:lnTo>
                    <a:lnTo>
                      <a:pt x="269952" y="36419"/>
                    </a:lnTo>
                    <a:lnTo>
                      <a:pt x="272578" y="39132"/>
                    </a:lnTo>
                    <a:lnTo>
                      <a:pt x="276218" y="41522"/>
                    </a:lnTo>
                    <a:lnTo>
                      <a:pt x="276087" y="42326"/>
                    </a:lnTo>
                    <a:lnTo>
                      <a:pt x="273189" y="44525"/>
                    </a:lnTo>
                    <a:lnTo>
                      <a:pt x="272878" y="47502"/>
                    </a:lnTo>
                    <a:lnTo>
                      <a:pt x="273152" y="51297"/>
                    </a:lnTo>
                    <a:lnTo>
                      <a:pt x="274061" y="54386"/>
                    </a:lnTo>
                    <a:lnTo>
                      <a:pt x="273966" y="55288"/>
                    </a:lnTo>
                    <a:lnTo>
                      <a:pt x="273247" y="56351"/>
                    </a:lnTo>
                    <a:lnTo>
                      <a:pt x="272383" y="58019"/>
                    </a:lnTo>
                    <a:lnTo>
                      <a:pt x="272075" y="59473"/>
                    </a:lnTo>
                    <a:lnTo>
                      <a:pt x="272150" y="60186"/>
                    </a:lnTo>
                    <a:lnTo>
                      <a:pt x="272442" y="60573"/>
                    </a:lnTo>
                    <a:lnTo>
                      <a:pt x="273968" y="60602"/>
                    </a:lnTo>
                    <a:lnTo>
                      <a:pt x="276704" y="60945"/>
                    </a:lnTo>
                    <a:lnTo>
                      <a:pt x="278313" y="61590"/>
                    </a:lnTo>
                    <a:lnTo>
                      <a:pt x="279226" y="65128"/>
                    </a:lnTo>
                    <a:lnTo>
                      <a:pt x="278918" y="65807"/>
                    </a:lnTo>
                    <a:lnTo>
                      <a:pt x="276611" y="67406"/>
                    </a:lnTo>
                    <a:lnTo>
                      <a:pt x="275935" y="68675"/>
                    </a:lnTo>
                    <a:lnTo>
                      <a:pt x="275869" y="70538"/>
                    </a:lnTo>
                    <a:lnTo>
                      <a:pt x="276277" y="72584"/>
                    </a:lnTo>
                    <a:lnTo>
                      <a:pt x="277069" y="74871"/>
                    </a:lnTo>
                    <a:lnTo>
                      <a:pt x="278874" y="77315"/>
                    </a:lnTo>
                    <a:lnTo>
                      <a:pt x="281314" y="79867"/>
                    </a:lnTo>
                    <a:lnTo>
                      <a:pt x="282917" y="81958"/>
                    </a:lnTo>
                    <a:lnTo>
                      <a:pt x="283675" y="83430"/>
                    </a:lnTo>
                    <a:lnTo>
                      <a:pt x="283951" y="84458"/>
                    </a:lnTo>
                    <a:lnTo>
                      <a:pt x="282852" y="85750"/>
                    </a:lnTo>
                    <a:lnTo>
                      <a:pt x="281863" y="88303"/>
                    </a:lnTo>
                    <a:lnTo>
                      <a:pt x="281679" y="91223"/>
                    </a:lnTo>
                    <a:lnTo>
                      <a:pt x="281230" y="93125"/>
                    </a:lnTo>
                    <a:lnTo>
                      <a:pt x="279081" y="95739"/>
                    </a:lnTo>
                    <a:lnTo>
                      <a:pt x="277596" y="96665"/>
                    </a:lnTo>
                    <a:lnTo>
                      <a:pt x="277173" y="98043"/>
                    </a:lnTo>
                    <a:lnTo>
                      <a:pt x="276991" y="100353"/>
                    </a:lnTo>
                    <a:lnTo>
                      <a:pt x="277427" y="103166"/>
                    </a:lnTo>
                    <a:lnTo>
                      <a:pt x="277577" y="105065"/>
                    </a:lnTo>
                    <a:lnTo>
                      <a:pt x="278034" y="106431"/>
                    </a:lnTo>
                    <a:lnTo>
                      <a:pt x="278708" y="107322"/>
                    </a:lnTo>
                    <a:lnTo>
                      <a:pt x="282155" y="108897"/>
                    </a:lnTo>
                    <a:lnTo>
                      <a:pt x="284085" y="112118"/>
                    </a:lnTo>
                    <a:lnTo>
                      <a:pt x="285288" y="114698"/>
                    </a:lnTo>
                    <a:lnTo>
                      <a:pt x="287641" y="121435"/>
                    </a:lnTo>
                    <a:lnTo>
                      <a:pt x="281783" y="122275"/>
                    </a:lnTo>
                    <a:lnTo>
                      <a:pt x="277380" y="120588"/>
                    </a:lnTo>
                    <a:lnTo>
                      <a:pt x="275184" y="121433"/>
                    </a:lnTo>
                    <a:lnTo>
                      <a:pt x="271342" y="121469"/>
                    </a:lnTo>
                    <a:lnTo>
                      <a:pt x="266980" y="122133"/>
                    </a:lnTo>
                    <a:lnTo>
                      <a:pt x="265510" y="123452"/>
                    </a:lnTo>
                    <a:lnTo>
                      <a:pt x="264354" y="123982"/>
                    </a:lnTo>
                    <a:lnTo>
                      <a:pt x="260308" y="122120"/>
                    </a:lnTo>
                    <a:lnTo>
                      <a:pt x="256488" y="119040"/>
                    </a:lnTo>
                    <a:lnTo>
                      <a:pt x="253696" y="121389"/>
                    </a:lnTo>
                    <a:lnTo>
                      <a:pt x="251889" y="121834"/>
                    </a:lnTo>
                    <a:lnTo>
                      <a:pt x="250265" y="119708"/>
                    </a:lnTo>
                    <a:lnTo>
                      <a:pt x="248846" y="119363"/>
                    </a:lnTo>
                    <a:lnTo>
                      <a:pt x="248079" y="120072"/>
                    </a:lnTo>
                    <a:lnTo>
                      <a:pt x="247408" y="121949"/>
                    </a:lnTo>
                    <a:lnTo>
                      <a:pt x="246339" y="123425"/>
                    </a:lnTo>
                    <a:lnTo>
                      <a:pt x="246060" y="124359"/>
                    </a:lnTo>
                    <a:lnTo>
                      <a:pt x="245875" y="128120"/>
                    </a:lnTo>
                    <a:lnTo>
                      <a:pt x="245596" y="128991"/>
                    </a:lnTo>
                    <a:lnTo>
                      <a:pt x="241886" y="128505"/>
                    </a:lnTo>
                    <a:lnTo>
                      <a:pt x="242109" y="129491"/>
                    </a:lnTo>
                    <a:lnTo>
                      <a:pt x="242916" y="129987"/>
                    </a:lnTo>
                    <a:lnTo>
                      <a:pt x="243242" y="130612"/>
                    </a:lnTo>
                    <a:lnTo>
                      <a:pt x="241897" y="131433"/>
                    </a:lnTo>
                    <a:lnTo>
                      <a:pt x="238213" y="131356"/>
                    </a:lnTo>
                    <a:lnTo>
                      <a:pt x="237837" y="132227"/>
                    </a:lnTo>
                    <a:lnTo>
                      <a:pt x="238874" y="133603"/>
                    </a:lnTo>
                    <a:lnTo>
                      <a:pt x="238066" y="134807"/>
                    </a:lnTo>
                    <a:lnTo>
                      <a:pt x="237317" y="135281"/>
                    </a:lnTo>
                    <a:lnTo>
                      <a:pt x="232918" y="136028"/>
                    </a:lnTo>
                    <a:lnTo>
                      <a:pt x="230372" y="135857"/>
                    </a:lnTo>
                    <a:lnTo>
                      <a:pt x="229645" y="136636"/>
                    </a:lnTo>
                    <a:lnTo>
                      <a:pt x="229441" y="137647"/>
                    </a:lnTo>
                    <a:lnTo>
                      <a:pt x="229923" y="138639"/>
                    </a:lnTo>
                    <a:lnTo>
                      <a:pt x="231046" y="139167"/>
                    </a:lnTo>
                    <a:lnTo>
                      <a:pt x="231415" y="139796"/>
                    </a:lnTo>
                    <a:lnTo>
                      <a:pt x="231338" y="141158"/>
                    </a:lnTo>
                    <a:lnTo>
                      <a:pt x="230403" y="141405"/>
                    </a:lnTo>
                    <a:lnTo>
                      <a:pt x="227749" y="139012"/>
                    </a:lnTo>
                    <a:lnTo>
                      <a:pt x="226941" y="139135"/>
                    </a:lnTo>
                    <a:lnTo>
                      <a:pt x="227548" y="140380"/>
                    </a:lnTo>
                    <a:lnTo>
                      <a:pt x="229064" y="141736"/>
                    </a:lnTo>
                    <a:lnTo>
                      <a:pt x="229940" y="143120"/>
                    </a:lnTo>
                    <a:lnTo>
                      <a:pt x="230707" y="144785"/>
                    </a:lnTo>
                    <a:lnTo>
                      <a:pt x="230558" y="146046"/>
                    </a:lnTo>
                    <a:lnTo>
                      <a:pt x="227263" y="150112"/>
                    </a:lnTo>
                    <a:lnTo>
                      <a:pt x="224363" y="152677"/>
                    </a:lnTo>
                    <a:lnTo>
                      <a:pt x="222199" y="154984"/>
                    </a:lnTo>
                    <a:lnTo>
                      <a:pt x="220923" y="157427"/>
                    </a:lnTo>
                    <a:lnTo>
                      <a:pt x="222400" y="158658"/>
                    </a:lnTo>
                    <a:lnTo>
                      <a:pt x="224043" y="160431"/>
                    </a:lnTo>
                    <a:lnTo>
                      <a:pt x="225198" y="163837"/>
                    </a:lnTo>
                    <a:lnTo>
                      <a:pt x="226576" y="166868"/>
                    </a:lnTo>
                    <a:lnTo>
                      <a:pt x="229357" y="169760"/>
                    </a:lnTo>
                    <a:lnTo>
                      <a:pt x="228798" y="171430"/>
                    </a:lnTo>
                    <a:lnTo>
                      <a:pt x="228150" y="172728"/>
                    </a:lnTo>
                    <a:lnTo>
                      <a:pt x="223523" y="175583"/>
                    </a:lnTo>
                    <a:lnTo>
                      <a:pt x="218276" y="179878"/>
                    </a:lnTo>
                    <a:lnTo>
                      <a:pt x="212620" y="190827"/>
                    </a:lnTo>
                    <a:lnTo>
                      <a:pt x="210739" y="192290"/>
                    </a:lnTo>
                    <a:lnTo>
                      <a:pt x="205788" y="194137"/>
                    </a:lnTo>
                    <a:lnTo>
                      <a:pt x="203967" y="195923"/>
                    </a:lnTo>
                    <a:lnTo>
                      <a:pt x="200281" y="198045"/>
                    </a:lnTo>
                    <a:lnTo>
                      <a:pt x="193846" y="199865"/>
                    </a:lnTo>
                    <a:lnTo>
                      <a:pt x="190927" y="202400"/>
                    </a:lnTo>
                    <a:lnTo>
                      <a:pt x="189609" y="205019"/>
                    </a:lnTo>
                    <a:lnTo>
                      <a:pt x="188143" y="205205"/>
                    </a:lnTo>
                    <a:lnTo>
                      <a:pt x="186690" y="204182"/>
                    </a:lnTo>
                    <a:lnTo>
                      <a:pt x="184751" y="203420"/>
                    </a:lnTo>
                    <a:lnTo>
                      <a:pt x="184498" y="205128"/>
                    </a:lnTo>
                    <a:lnTo>
                      <a:pt x="184580" y="206381"/>
                    </a:lnTo>
                    <a:lnTo>
                      <a:pt x="181477" y="204524"/>
                    </a:lnTo>
                    <a:lnTo>
                      <a:pt x="180013" y="206227"/>
                    </a:lnTo>
                    <a:lnTo>
                      <a:pt x="178869" y="209070"/>
                    </a:lnTo>
                    <a:lnTo>
                      <a:pt x="174403" y="212891"/>
                    </a:lnTo>
                    <a:lnTo>
                      <a:pt x="169590" y="212204"/>
                    </a:lnTo>
                    <a:lnTo>
                      <a:pt x="169050" y="212878"/>
                    </a:lnTo>
                    <a:lnTo>
                      <a:pt x="170331" y="213366"/>
                    </a:lnTo>
                    <a:lnTo>
                      <a:pt x="170525" y="213976"/>
                    </a:lnTo>
                    <a:lnTo>
                      <a:pt x="169651" y="214301"/>
                    </a:lnTo>
                    <a:lnTo>
                      <a:pt x="168327" y="214267"/>
                    </a:lnTo>
                    <a:lnTo>
                      <a:pt x="166284" y="215021"/>
                    </a:lnTo>
                    <a:lnTo>
                      <a:pt x="164941" y="214962"/>
                    </a:lnTo>
                    <a:lnTo>
                      <a:pt x="164304" y="216765"/>
                    </a:lnTo>
                    <a:lnTo>
                      <a:pt x="163265" y="218950"/>
                    </a:lnTo>
                    <a:lnTo>
                      <a:pt x="160546" y="219854"/>
                    </a:lnTo>
                    <a:lnTo>
                      <a:pt x="159143" y="220040"/>
                    </a:lnTo>
                    <a:lnTo>
                      <a:pt x="158450" y="221281"/>
                    </a:lnTo>
                    <a:lnTo>
                      <a:pt x="162632" y="221541"/>
                    </a:lnTo>
                    <a:lnTo>
                      <a:pt x="162298" y="222591"/>
                    </a:lnTo>
                    <a:lnTo>
                      <a:pt x="162203" y="223640"/>
                    </a:lnTo>
                    <a:lnTo>
                      <a:pt x="161771" y="224765"/>
                    </a:lnTo>
                    <a:lnTo>
                      <a:pt x="157016" y="226384"/>
                    </a:lnTo>
                    <a:lnTo>
                      <a:pt x="156284" y="227659"/>
                    </a:lnTo>
                    <a:lnTo>
                      <a:pt x="155291" y="228449"/>
                    </a:lnTo>
                    <a:lnTo>
                      <a:pt x="153176" y="228404"/>
                    </a:lnTo>
                    <a:lnTo>
                      <a:pt x="153254" y="227668"/>
                    </a:lnTo>
                    <a:lnTo>
                      <a:pt x="153600" y="226835"/>
                    </a:lnTo>
                    <a:lnTo>
                      <a:pt x="150449" y="226910"/>
                    </a:lnTo>
                    <a:lnTo>
                      <a:pt x="149467" y="225080"/>
                    </a:lnTo>
                    <a:lnTo>
                      <a:pt x="148869" y="225549"/>
                    </a:lnTo>
                    <a:lnTo>
                      <a:pt x="149223" y="227026"/>
                    </a:lnTo>
                    <a:lnTo>
                      <a:pt x="150048" y="228561"/>
                    </a:lnTo>
                    <a:lnTo>
                      <a:pt x="150965" y="230809"/>
                    </a:lnTo>
                    <a:lnTo>
                      <a:pt x="150220" y="232230"/>
                    </a:lnTo>
                    <a:lnTo>
                      <a:pt x="149387" y="232934"/>
                    </a:lnTo>
                    <a:lnTo>
                      <a:pt x="149994" y="233584"/>
                    </a:lnTo>
                    <a:lnTo>
                      <a:pt x="151676" y="234079"/>
                    </a:lnTo>
                    <a:lnTo>
                      <a:pt x="152356" y="234966"/>
                    </a:lnTo>
                    <a:lnTo>
                      <a:pt x="150361" y="235726"/>
                    </a:lnTo>
                    <a:lnTo>
                      <a:pt x="147871" y="238333"/>
                    </a:lnTo>
                    <a:lnTo>
                      <a:pt x="145290" y="238397"/>
                    </a:lnTo>
                    <a:lnTo>
                      <a:pt x="143712" y="240117"/>
                    </a:lnTo>
                    <a:lnTo>
                      <a:pt x="142036" y="240111"/>
                    </a:lnTo>
                    <a:lnTo>
                      <a:pt x="140674" y="239028"/>
                    </a:lnTo>
                    <a:lnTo>
                      <a:pt x="138490" y="238138"/>
                    </a:lnTo>
                    <a:lnTo>
                      <a:pt x="137787" y="239707"/>
                    </a:lnTo>
                    <a:lnTo>
                      <a:pt x="137674" y="240954"/>
                    </a:lnTo>
                    <a:lnTo>
                      <a:pt x="138905" y="244105"/>
                    </a:lnTo>
                    <a:lnTo>
                      <a:pt x="141255" y="246541"/>
                    </a:lnTo>
                    <a:lnTo>
                      <a:pt x="143431" y="247592"/>
                    </a:lnTo>
                    <a:lnTo>
                      <a:pt x="141865" y="248301"/>
                    </a:lnTo>
                    <a:lnTo>
                      <a:pt x="140700" y="249875"/>
                    </a:lnTo>
                    <a:lnTo>
                      <a:pt x="139294" y="254783"/>
                    </a:lnTo>
                    <a:lnTo>
                      <a:pt x="138529" y="256712"/>
                    </a:lnTo>
                    <a:lnTo>
                      <a:pt x="137700" y="260113"/>
                    </a:lnTo>
                    <a:lnTo>
                      <a:pt x="138225" y="262978"/>
                    </a:lnTo>
                    <a:lnTo>
                      <a:pt x="138646" y="264385"/>
                    </a:lnTo>
                    <a:lnTo>
                      <a:pt x="139711" y="266294"/>
                    </a:lnTo>
                    <a:lnTo>
                      <a:pt x="136817" y="266048"/>
                    </a:lnTo>
                    <a:lnTo>
                      <a:pt x="133761" y="264933"/>
                    </a:lnTo>
                    <a:lnTo>
                      <a:pt x="134187" y="267248"/>
                    </a:lnTo>
                    <a:lnTo>
                      <a:pt x="132310" y="269981"/>
                    </a:lnTo>
                    <a:lnTo>
                      <a:pt x="132660" y="272389"/>
                    </a:lnTo>
                    <a:lnTo>
                      <a:pt x="133051" y="273956"/>
                    </a:lnTo>
                    <a:lnTo>
                      <a:pt x="132470" y="276546"/>
                    </a:lnTo>
                    <a:lnTo>
                      <a:pt x="133353" y="277359"/>
                    </a:lnTo>
                    <a:lnTo>
                      <a:pt x="133833" y="278899"/>
                    </a:lnTo>
                    <a:lnTo>
                      <a:pt x="133042" y="280036"/>
                    </a:lnTo>
                    <a:lnTo>
                      <a:pt x="133394" y="281014"/>
                    </a:lnTo>
                    <a:lnTo>
                      <a:pt x="133526" y="284473"/>
                    </a:lnTo>
                    <a:lnTo>
                      <a:pt x="134126" y="289873"/>
                    </a:lnTo>
                    <a:lnTo>
                      <a:pt x="133906" y="291014"/>
                    </a:lnTo>
                    <a:lnTo>
                      <a:pt x="135586" y="295695"/>
                    </a:lnTo>
                    <a:lnTo>
                      <a:pt x="135195" y="297333"/>
                    </a:lnTo>
                    <a:lnTo>
                      <a:pt x="134969" y="299419"/>
                    </a:lnTo>
                    <a:lnTo>
                      <a:pt x="137376" y="301421"/>
                    </a:lnTo>
                    <a:lnTo>
                      <a:pt x="139525" y="301389"/>
                    </a:lnTo>
                    <a:lnTo>
                      <a:pt x="141702" y="301358"/>
                    </a:lnTo>
                    <a:lnTo>
                      <a:pt x="142533" y="301860"/>
                    </a:lnTo>
                    <a:lnTo>
                      <a:pt x="143367" y="303275"/>
                    </a:lnTo>
                    <a:lnTo>
                      <a:pt x="144038" y="304945"/>
                    </a:lnTo>
                    <a:lnTo>
                      <a:pt x="145830" y="304807"/>
                    </a:lnTo>
                    <a:lnTo>
                      <a:pt x="148691" y="303448"/>
                    </a:lnTo>
                    <a:lnTo>
                      <a:pt x="150553" y="303124"/>
                    </a:lnTo>
                    <a:lnTo>
                      <a:pt x="151782" y="305736"/>
                    </a:lnTo>
                    <a:lnTo>
                      <a:pt x="155124" y="309182"/>
                    </a:lnTo>
                    <a:lnTo>
                      <a:pt x="157070" y="310724"/>
                    </a:lnTo>
                    <a:lnTo>
                      <a:pt x="160376" y="311535"/>
                    </a:lnTo>
                    <a:lnTo>
                      <a:pt x="163859" y="314308"/>
                    </a:lnTo>
                    <a:lnTo>
                      <a:pt x="163371" y="317646"/>
                    </a:lnTo>
                    <a:lnTo>
                      <a:pt x="164824" y="318760"/>
                    </a:lnTo>
                    <a:lnTo>
                      <a:pt x="168934" y="320076"/>
                    </a:lnTo>
                    <a:lnTo>
                      <a:pt x="170387" y="321849"/>
                    </a:lnTo>
                    <a:lnTo>
                      <a:pt x="171084" y="323359"/>
                    </a:lnTo>
                    <a:lnTo>
                      <a:pt x="172166" y="324611"/>
                    </a:lnTo>
                    <a:lnTo>
                      <a:pt x="173431" y="328388"/>
                    </a:lnTo>
                    <a:lnTo>
                      <a:pt x="172991" y="330712"/>
                    </a:lnTo>
                    <a:lnTo>
                      <a:pt x="171335" y="331510"/>
                    </a:lnTo>
                    <a:lnTo>
                      <a:pt x="167424" y="333997"/>
                    </a:lnTo>
                    <a:lnTo>
                      <a:pt x="165681" y="335851"/>
                    </a:lnTo>
                    <a:lnTo>
                      <a:pt x="164314" y="337006"/>
                    </a:lnTo>
                    <a:lnTo>
                      <a:pt x="160430" y="339479"/>
                    </a:lnTo>
                    <a:lnTo>
                      <a:pt x="159007" y="339923"/>
                    </a:lnTo>
                    <a:lnTo>
                      <a:pt x="157644" y="341207"/>
                    </a:lnTo>
                    <a:lnTo>
                      <a:pt x="156327" y="341769"/>
                    </a:lnTo>
                    <a:lnTo>
                      <a:pt x="155148" y="341446"/>
                    </a:lnTo>
                    <a:lnTo>
                      <a:pt x="150740" y="343770"/>
                    </a:lnTo>
                    <a:lnTo>
                      <a:pt x="151084" y="344762"/>
                    </a:lnTo>
                    <a:lnTo>
                      <a:pt x="154464" y="345182"/>
                    </a:lnTo>
                    <a:lnTo>
                      <a:pt x="156187" y="344684"/>
                    </a:lnTo>
                    <a:lnTo>
                      <a:pt x="157513" y="343516"/>
                    </a:lnTo>
                    <a:lnTo>
                      <a:pt x="158961" y="343248"/>
                    </a:lnTo>
                    <a:lnTo>
                      <a:pt x="160283" y="343468"/>
                    </a:lnTo>
                    <a:lnTo>
                      <a:pt x="161684" y="342548"/>
                    </a:lnTo>
                    <a:lnTo>
                      <a:pt x="162784" y="342180"/>
                    </a:lnTo>
                    <a:lnTo>
                      <a:pt x="163920" y="342621"/>
                    </a:lnTo>
                    <a:lnTo>
                      <a:pt x="165187" y="344828"/>
                    </a:lnTo>
                    <a:lnTo>
                      <a:pt x="162557" y="345976"/>
                    </a:lnTo>
                    <a:lnTo>
                      <a:pt x="160691" y="346028"/>
                    </a:lnTo>
                    <a:lnTo>
                      <a:pt x="159780" y="349640"/>
                    </a:lnTo>
                    <a:lnTo>
                      <a:pt x="158650" y="351190"/>
                    </a:lnTo>
                    <a:lnTo>
                      <a:pt x="157841" y="351935"/>
                    </a:lnTo>
                    <a:lnTo>
                      <a:pt x="153701" y="353469"/>
                    </a:lnTo>
                    <a:lnTo>
                      <a:pt x="150970" y="355412"/>
                    </a:lnTo>
                    <a:lnTo>
                      <a:pt x="147750" y="356975"/>
                    </a:lnTo>
                    <a:lnTo>
                      <a:pt x="146344" y="356635"/>
                    </a:lnTo>
                    <a:lnTo>
                      <a:pt x="144226" y="358223"/>
                    </a:lnTo>
                    <a:lnTo>
                      <a:pt x="139518" y="360101"/>
                    </a:lnTo>
                    <a:lnTo>
                      <a:pt x="137106" y="362629"/>
                    </a:lnTo>
                    <a:lnTo>
                      <a:pt x="131693" y="364888"/>
                    </a:lnTo>
                    <a:lnTo>
                      <a:pt x="128935" y="366724"/>
                    </a:lnTo>
                    <a:lnTo>
                      <a:pt x="121444" y="366820"/>
                    </a:lnTo>
                    <a:lnTo>
                      <a:pt x="114290" y="366417"/>
                    </a:lnTo>
                    <a:lnTo>
                      <a:pt x="112044" y="367290"/>
                    </a:lnTo>
                    <a:lnTo>
                      <a:pt x="114340" y="367560"/>
                    </a:lnTo>
                    <a:lnTo>
                      <a:pt x="115948" y="368416"/>
                    </a:lnTo>
                    <a:lnTo>
                      <a:pt x="117877" y="368059"/>
                    </a:lnTo>
                    <a:lnTo>
                      <a:pt x="122410" y="368487"/>
                    </a:lnTo>
                    <a:lnTo>
                      <a:pt x="124742" y="368953"/>
                    </a:lnTo>
                    <a:lnTo>
                      <a:pt x="127735" y="371949"/>
                    </a:lnTo>
                    <a:lnTo>
                      <a:pt x="125534" y="373013"/>
                    </a:lnTo>
                    <a:lnTo>
                      <a:pt x="121723" y="373829"/>
                    </a:lnTo>
                    <a:lnTo>
                      <a:pt x="123152" y="378067"/>
                    </a:lnTo>
                    <a:lnTo>
                      <a:pt x="124331" y="380919"/>
                    </a:lnTo>
                    <a:lnTo>
                      <a:pt x="122788" y="382639"/>
                    </a:lnTo>
                    <a:lnTo>
                      <a:pt x="122673" y="390443"/>
                    </a:lnTo>
                    <a:lnTo>
                      <a:pt x="120507" y="390592"/>
                    </a:lnTo>
                    <a:lnTo>
                      <a:pt x="119587" y="393812"/>
                    </a:lnTo>
                    <a:lnTo>
                      <a:pt x="120269" y="395452"/>
                    </a:lnTo>
                    <a:lnTo>
                      <a:pt x="120216" y="399257"/>
                    </a:lnTo>
                    <a:lnTo>
                      <a:pt x="120667" y="401599"/>
                    </a:lnTo>
                    <a:lnTo>
                      <a:pt x="121729" y="403752"/>
                    </a:lnTo>
                    <a:lnTo>
                      <a:pt x="121256" y="405996"/>
                    </a:lnTo>
                    <a:lnTo>
                      <a:pt x="117832" y="411238"/>
                    </a:lnTo>
                    <a:lnTo>
                      <a:pt x="117910" y="413693"/>
                    </a:lnTo>
                    <a:lnTo>
                      <a:pt x="118525" y="415150"/>
                    </a:lnTo>
                    <a:lnTo>
                      <a:pt x="118980" y="417477"/>
                    </a:lnTo>
                    <a:lnTo>
                      <a:pt x="117424" y="421945"/>
                    </a:lnTo>
                    <a:lnTo>
                      <a:pt x="116324" y="425671"/>
                    </a:lnTo>
                    <a:lnTo>
                      <a:pt x="115018" y="428802"/>
                    </a:lnTo>
                    <a:lnTo>
                      <a:pt x="112094" y="432553"/>
                    </a:lnTo>
                    <a:lnTo>
                      <a:pt x="110639" y="435353"/>
                    </a:lnTo>
                    <a:lnTo>
                      <a:pt x="107233" y="444067"/>
                    </a:lnTo>
                    <a:lnTo>
                      <a:pt x="105545" y="445792"/>
                    </a:lnTo>
                    <a:lnTo>
                      <a:pt x="103474" y="447117"/>
                    </a:lnTo>
                    <a:lnTo>
                      <a:pt x="101166" y="445891"/>
                    </a:lnTo>
                    <a:lnTo>
                      <a:pt x="99049" y="445223"/>
                    </a:lnTo>
                    <a:lnTo>
                      <a:pt x="96464" y="445304"/>
                    </a:lnTo>
                    <a:lnTo>
                      <a:pt x="92416" y="446309"/>
                    </a:lnTo>
                    <a:lnTo>
                      <a:pt x="86326" y="445641"/>
                    </a:lnTo>
                    <a:lnTo>
                      <a:pt x="80375" y="445963"/>
                    </a:lnTo>
                    <a:lnTo>
                      <a:pt x="78870" y="446831"/>
                    </a:lnTo>
                    <a:lnTo>
                      <a:pt x="79772" y="449981"/>
                    </a:lnTo>
                    <a:lnTo>
                      <a:pt x="77579" y="450394"/>
                    </a:lnTo>
                    <a:lnTo>
                      <a:pt x="75434" y="449498"/>
                    </a:lnTo>
                    <a:lnTo>
                      <a:pt x="73547" y="450567"/>
                    </a:lnTo>
                    <a:lnTo>
                      <a:pt x="71970" y="451739"/>
                    </a:lnTo>
                    <a:lnTo>
                      <a:pt x="68874" y="454516"/>
                    </a:lnTo>
                    <a:lnTo>
                      <a:pt x="67837" y="456225"/>
                    </a:lnTo>
                    <a:lnTo>
                      <a:pt x="67570" y="459439"/>
                    </a:lnTo>
                    <a:lnTo>
                      <a:pt x="69196" y="462318"/>
                    </a:lnTo>
                    <a:lnTo>
                      <a:pt x="70638" y="465684"/>
                    </a:lnTo>
                    <a:lnTo>
                      <a:pt x="66924" y="469739"/>
                    </a:lnTo>
                    <a:lnTo>
                      <a:pt x="64851" y="469876"/>
                    </a:lnTo>
                    <a:lnTo>
                      <a:pt x="58800" y="468752"/>
                    </a:lnTo>
                    <a:lnTo>
                      <a:pt x="48077" y="471291"/>
                    </a:lnTo>
                    <a:lnTo>
                      <a:pt x="38446" y="469283"/>
                    </a:lnTo>
                    <a:lnTo>
                      <a:pt x="39657" y="467112"/>
                    </a:lnTo>
                    <a:lnTo>
                      <a:pt x="39617" y="465514"/>
                    </a:lnTo>
                    <a:lnTo>
                      <a:pt x="40161" y="463055"/>
                    </a:lnTo>
                    <a:lnTo>
                      <a:pt x="40484" y="460536"/>
                    </a:lnTo>
                    <a:lnTo>
                      <a:pt x="40394" y="458849"/>
                    </a:lnTo>
                    <a:lnTo>
                      <a:pt x="39688" y="457050"/>
                    </a:lnTo>
                    <a:lnTo>
                      <a:pt x="37313" y="454694"/>
                    </a:lnTo>
                    <a:lnTo>
                      <a:pt x="31961" y="446722"/>
                    </a:lnTo>
                    <a:lnTo>
                      <a:pt x="30378" y="443349"/>
                    </a:lnTo>
                    <a:lnTo>
                      <a:pt x="29277" y="441942"/>
                    </a:lnTo>
                    <a:lnTo>
                      <a:pt x="30070" y="441866"/>
                    </a:lnTo>
                    <a:lnTo>
                      <a:pt x="34477" y="443679"/>
                    </a:lnTo>
                    <a:lnTo>
                      <a:pt x="35505" y="443456"/>
                    </a:lnTo>
                    <a:lnTo>
                      <a:pt x="36585" y="442775"/>
                    </a:lnTo>
                    <a:lnTo>
                      <a:pt x="35270" y="440179"/>
                    </a:lnTo>
                    <a:lnTo>
                      <a:pt x="34140" y="439003"/>
                    </a:lnTo>
                    <a:lnTo>
                      <a:pt x="33374" y="437243"/>
                    </a:lnTo>
                    <a:lnTo>
                      <a:pt x="35954" y="436767"/>
                    </a:lnTo>
                    <a:lnTo>
                      <a:pt x="37818" y="436872"/>
                    </a:lnTo>
                    <a:lnTo>
                      <a:pt x="39191" y="434890"/>
                    </a:lnTo>
                    <a:lnTo>
                      <a:pt x="38399" y="431681"/>
                    </a:lnTo>
                    <a:lnTo>
                      <a:pt x="36397" y="430693"/>
                    </a:lnTo>
                    <a:lnTo>
                      <a:pt x="34725" y="430263"/>
                    </a:lnTo>
                    <a:lnTo>
                      <a:pt x="31521" y="425210"/>
                    </a:lnTo>
                    <a:lnTo>
                      <a:pt x="28178" y="422589"/>
                    </a:lnTo>
                    <a:lnTo>
                      <a:pt x="22216" y="412449"/>
                    </a:lnTo>
                    <a:lnTo>
                      <a:pt x="20035" y="405461"/>
                    </a:lnTo>
                    <a:lnTo>
                      <a:pt x="18008" y="406126"/>
                    </a:lnTo>
                    <a:lnTo>
                      <a:pt x="17023" y="403076"/>
                    </a:lnTo>
                    <a:lnTo>
                      <a:pt x="16317" y="400184"/>
                    </a:lnTo>
                    <a:lnTo>
                      <a:pt x="16176" y="398055"/>
                    </a:lnTo>
                    <a:lnTo>
                      <a:pt x="12998" y="396834"/>
                    </a:lnTo>
                    <a:lnTo>
                      <a:pt x="12868" y="395340"/>
                    </a:lnTo>
                    <a:lnTo>
                      <a:pt x="12296" y="388660"/>
                    </a:lnTo>
                    <a:lnTo>
                      <a:pt x="8886" y="387761"/>
                    </a:lnTo>
                    <a:lnTo>
                      <a:pt x="6681" y="384002"/>
                    </a:lnTo>
                    <a:lnTo>
                      <a:pt x="6288" y="376872"/>
                    </a:lnTo>
                    <a:lnTo>
                      <a:pt x="4043" y="375571"/>
                    </a:lnTo>
                    <a:lnTo>
                      <a:pt x="2235" y="375932"/>
                    </a:lnTo>
                    <a:lnTo>
                      <a:pt x="2320" y="374160"/>
                    </a:lnTo>
                    <a:lnTo>
                      <a:pt x="2751" y="372496"/>
                    </a:lnTo>
                    <a:lnTo>
                      <a:pt x="1696" y="365889"/>
                    </a:lnTo>
                    <a:lnTo>
                      <a:pt x="1343" y="359841"/>
                    </a:lnTo>
                    <a:lnTo>
                      <a:pt x="486" y="358012"/>
                    </a:lnTo>
                    <a:lnTo>
                      <a:pt x="0" y="355868"/>
                    </a:lnTo>
                    <a:lnTo>
                      <a:pt x="436" y="354014"/>
                    </a:lnTo>
                    <a:lnTo>
                      <a:pt x="1076" y="352949"/>
                    </a:lnTo>
                    <a:lnTo>
                      <a:pt x="3276" y="352669"/>
                    </a:lnTo>
                    <a:lnTo>
                      <a:pt x="5332" y="354309"/>
                    </a:lnTo>
                    <a:lnTo>
                      <a:pt x="7154" y="358440"/>
                    </a:lnTo>
                    <a:lnTo>
                      <a:pt x="8765" y="358977"/>
                    </a:lnTo>
                    <a:lnTo>
                      <a:pt x="10959" y="357902"/>
                    </a:lnTo>
                    <a:lnTo>
                      <a:pt x="12495" y="354890"/>
                    </a:lnTo>
                    <a:lnTo>
                      <a:pt x="13371" y="350363"/>
                    </a:lnTo>
                    <a:lnTo>
                      <a:pt x="14395" y="346042"/>
                    </a:lnTo>
                    <a:lnTo>
                      <a:pt x="13183" y="341411"/>
                    </a:lnTo>
                    <a:lnTo>
                      <a:pt x="11890" y="337334"/>
                    </a:lnTo>
                    <a:lnTo>
                      <a:pt x="11799" y="336135"/>
                    </a:lnTo>
                    <a:lnTo>
                      <a:pt x="15194" y="332688"/>
                    </a:lnTo>
                    <a:lnTo>
                      <a:pt x="16232" y="329881"/>
                    </a:lnTo>
                    <a:lnTo>
                      <a:pt x="17358" y="327204"/>
                    </a:lnTo>
                    <a:lnTo>
                      <a:pt x="18599" y="326293"/>
                    </a:lnTo>
                    <a:lnTo>
                      <a:pt x="20448" y="326085"/>
                    </a:lnTo>
                    <a:lnTo>
                      <a:pt x="22601" y="325581"/>
                    </a:lnTo>
                    <a:lnTo>
                      <a:pt x="25315" y="323786"/>
                    </a:lnTo>
                    <a:lnTo>
                      <a:pt x="27748" y="321381"/>
                    </a:lnTo>
                    <a:lnTo>
                      <a:pt x="29608" y="319172"/>
                    </a:lnTo>
                    <a:lnTo>
                      <a:pt x="30238" y="314796"/>
                    </a:lnTo>
                    <a:lnTo>
                      <a:pt x="30264" y="312594"/>
                    </a:lnTo>
                    <a:lnTo>
                      <a:pt x="31083" y="310957"/>
                    </a:lnTo>
                    <a:lnTo>
                      <a:pt x="31875" y="307757"/>
                    </a:lnTo>
                    <a:lnTo>
                      <a:pt x="31104" y="304595"/>
                    </a:lnTo>
                    <a:lnTo>
                      <a:pt x="28705" y="299791"/>
                    </a:lnTo>
                    <a:lnTo>
                      <a:pt x="25816" y="293016"/>
                    </a:lnTo>
                    <a:lnTo>
                      <a:pt x="25362" y="289308"/>
                    </a:lnTo>
                    <a:lnTo>
                      <a:pt x="26679" y="288619"/>
                    </a:lnTo>
                    <a:lnTo>
                      <a:pt x="29198" y="288004"/>
                    </a:lnTo>
                    <a:lnTo>
                      <a:pt x="33961" y="287826"/>
                    </a:lnTo>
                    <a:lnTo>
                      <a:pt x="34471" y="287388"/>
                    </a:lnTo>
                    <a:lnTo>
                      <a:pt x="34952" y="285761"/>
                    </a:lnTo>
                    <a:lnTo>
                      <a:pt x="36025" y="283550"/>
                    </a:lnTo>
                    <a:lnTo>
                      <a:pt x="37172" y="281938"/>
                    </a:lnTo>
                    <a:lnTo>
                      <a:pt x="37956" y="279631"/>
                    </a:lnTo>
                    <a:lnTo>
                      <a:pt x="38334" y="277538"/>
                    </a:lnTo>
                    <a:lnTo>
                      <a:pt x="35609" y="274382"/>
                    </a:lnTo>
                    <a:lnTo>
                      <a:pt x="32039" y="271147"/>
                    </a:lnTo>
                    <a:lnTo>
                      <a:pt x="29623" y="270074"/>
                    </a:lnTo>
                    <a:lnTo>
                      <a:pt x="25317" y="267346"/>
                    </a:lnTo>
                    <a:lnTo>
                      <a:pt x="22294" y="265062"/>
                    </a:lnTo>
                    <a:lnTo>
                      <a:pt x="24026" y="256346"/>
                    </a:lnTo>
                    <a:lnTo>
                      <a:pt x="25315" y="249836"/>
                    </a:lnTo>
                    <a:lnTo>
                      <a:pt x="25522" y="248251"/>
                    </a:lnTo>
                    <a:lnTo>
                      <a:pt x="25570" y="245790"/>
                    </a:lnTo>
                    <a:lnTo>
                      <a:pt x="21391" y="235264"/>
                    </a:lnTo>
                    <a:lnTo>
                      <a:pt x="21553" y="232916"/>
                    </a:lnTo>
                    <a:lnTo>
                      <a:pt x="21951" y="230799"/>
                    </a:lnTo>
                    <a:lnTo>
                      <a:pt x="21503" y="227185"/>
                    </a:lnTo>
                    <a:lnTo>
                      <a:pt x="21260" y="223946"/>
                    </a:lnTo>
                    <a:lnTo>
                      <a:pt x="21977" y="222963"/>
                    </a:lnTo>
                    <a:lnTo>
                      <a:pt x="23682" y="221133"/>
                    </a:lnTo>
                    <a:lnTo>
                      <a:pt x="22056" y="218291"/>
                    </a:lnTo>
                    <a:lnTo>
                      <a:pt x="21925" y="218060"/>
                    </a:lnTo>
                    <a:lnTo>
                      <a:pt x="18856" y="211011"/>
                    </a:lnTo>
                    <a:lnTo>
                      <a:pt x="23549" y="204008"/>
                    </a:lnTo>
                    <a:lnTo>
                      <a:pt x="22732" y="200377"/>
                    </a:lnTo>
                    <a:lnTo>
                      <a:pt x="25535" y="197738"/>
                    </a:lnTo>
                    <a:lnTo>
                      <a:pt x="30638" y="191681"/>
                    </a:lnTo>
                    <a:lnTo>
                      <a:pt x="33508" y="188267"/>
                    </a:lnTo>
                    <a:lnTo>
                      <a:pt x="34117" y="187670"/>
                    </a:lnTo>
                    <a:lnTo>
                      <a:pt x="36388" y="186168"/>
                    </a:lnTo>
                    <a:lnTo>
                      <a:pt x="40696" y="184385"/>
                    </a:lnTo>
                    <a:lnTo>
                      <a:pt x="45471" y="183516"/>
                    </a:lnTo>
                    <a:lnTo>
                      <a:pt x="47596" y="183527"/>
                    </a:lnTo>
                    <a:lnTo>
                      <a:pt x="55801" y="184734"/>
                    </a:lnTo>
                    <a:lnTo>
                      <a:pt x="62210" y="185673"/>
                    </a:lnTo>
                    <a:lnTo>
                      <a:pt x="63143" y="184730"/>
                    </a:lnTo>
                    <a:lnTo>
                      <a:pt x="64482" y="182795"/>
                    </a:lnTo>
                    <a:lnTo>
                      <a:pt x="66205" y="180035"/>
                    </a:lnTo>
                    <a:lnTo>
                      <a:pt x="66356" y="176962"/>
                    </a:lnTo>
                    <a:lnTo>
                      <a:pt x="65734" y="172439"/>
                    </a:lnTo>
                    <a:lnTo>
                      <a:pt x="64799" y="169727"/>
                    </a:lnTo>
                    <a:lnTo>
                      <a:pt x="60286" y="167963"/>
                    </a:lnTo>
                    <a:lnTo>
                      <a:pt x="55350" y="165542"/>
                    </a:lnTo>
                    <a:lnTo>
                      <a:pt x="61420" y="157854"/>
                    </a:lnTo>
                    <a:lnTo>
                      <a:pt x="65629" y="152501"/>
                    </a:lnTo>
                    <a:lnTo>
                      <a:pt x="70876" y="144422"/>
                    </a:lnTo>
                    <a:lnTo>
                      <a:pt x="72508" y="141051"/>
                    </a:lnTo>
                    <a:lnTo>
                      <a:pt x="73689" y="139711"/>
                    </a:lnTo>
                    <a:lnTo>
                      <a:pt x="75233" y="127217"/>
                    </a:lnTo>
                    <a:lnTo>
                      <a:pt x="76257" y="123708"/>
                    </a:lnTo>
                    <a:lnTo>
                      <a:pt x="77114" y="121873"/>
                    </a:lnTo>
                    <a:lnTo>
                      <a:pt x="77127" y="119986"/>
                    </a:lnTo>
                    <a:lnTo>
                      <a:pt x="76570" y="116802"/>
                    </a:lnTo>
                    <a:lnTo>
                      <a:pt x="75095" y="109590"/>
                    </a:lnTo>
                    <a:lnTo>
                      <a:pt x="83381" y="108696"/>
                    </a:lnTo>
                    <a:lnTo>
                      <a:pt x="86080" y="108190"/>
                    </a:lnTo>
                    <a:lnTo>
                      <a:pt x="88585" y="107326"/>
                    </a:lnTo>
                    <a:lnTo>
                      <a:pt x="93485" y="105086"/>
                    </a:lnTo>
                    <a:lnTo>
                      <a:pt x="95892" y="103105"/>
                    </a:lnTo>
                    <a:lnTo>
                      <a:pt x="94547" y="96329"/>
                    </a:lnTo>
                    <a:lnTo>
                      <a:pt x="97512" y="94031"/>
                    </a:lnTo>
                    <a:lnTo>
                      <a:pt x="104746" y="86006"/>
                    </a:lnTo>
                    <a:lnTo>
                      <a:pt x="112563" y="78290"/>
                    </a:lnTo>
                    <a:lnTo>
                      <a:pt x="116229" y="75362"/>
                    </a:lnTo>
                    <a:lnTo>
                      <a:pt x="116609" y="73929"/>
                    </a:lnTo>
                    <a:lnTo>
                      <a:pt x="116910" y="71624"/>
                    </a:lnTo>
                    <a:lnTo>
                      <a:pt x="115281" y="67999"/>
                    </a:lnTo>
                    <a:lnTo>
                      <a:pt x="113532" y="65749"/>
                    </a:lnTo>
                    <a:lnTo>
                      <a:pt x="110125" y="61479"/>
                    </a:lnTo>
                    <a:lnTo>
                      <a:pt x="111587" y="58496"/>
                    </a:lnTo>
                    <a:lnTo>
                      <a:pt x="114098" y="57916"/>
                    </a:lnTo>
                    <a:lnTo>
                      <a:pt x="117415" y="56743"/>
                    </a:lnTo>
                    <a:lnTo>
                      <a:pt x="120002" y="54187"/>
                    </a:lnTo>
                    <a:lnTo>
                      <a:pt x="120254" y="53858"/>
                    </a:lnTo>
                    <a:lnTo>
                      <a:pt x="124634" y="43774"/>
                    </a:lnTo>
                    <a:lnTo>
                      <a:pt x="133189" y="38646"/>
                    </a:lnTo>
                    <a:lnTo>
                      <a:pt x="136597" y="35843"/>
                    </a:lnTo>
                    <a:lnTo>
                      <a:pt x="141907" y="37949"/>
                    </a:lnTo>
                    <a:lnTo>
                      <a:pt x="149689" y="41124"/>
                    </a:lnTo>
                    <a:lnTo>
                      <a:pt x="153150" y="36451"/>
                    </a:lnTo>
                    <a:lnTo>
                      <a:pt x="154295" y="34715"/>
                    </a:lnTo>
                    <a:lnTo>
                      <a:pt x="155437" y="32154"/>
                    </a:lnTo>
                    <a:lnTo>
                      <a:pt x="154979" y="27717"/>
                    </a:lnTo>
                    <a:lnTo>
                      <a:pt x="154783" y="21940"/>
                    </a:lnTo>
                    <a:lnTo>
                      <a:pt x="155126" y="19614"/>
                    </a:lnTo>
                    <a:lnTo>
                      <a:pt x="158232" y="18577"/>
                    </a:lnTo>
                    <a:lnTo>
                      <a:pt x="159903" y="18309"/>
                    </a:lnTo>
                    <a:lnTo>
                      <a:pt x="168553" y="20702"/>
                    </a:lnTo>
                    <a:lnTo>
                      <a:pt x="170730" y="20661"/>
                    </a:lnTo>
                    <a:lnTo>
                      <a:pt x="174807" y="20983"/>
                    </a:lnTo>
                    <a:lnTo>
                      <a:pt x="179370" y="22034"/>
                    </a:lnTo>
                    <a:lnTo>
                      <a:pt x="188927" y="24826"/>
                    </a:lnTo>
                    <a:lnTo>
                      <a:pt x="192881" y="25981"/>
                    </a:lnTo>
                    <a:lnTo>
                      <a:pt x="195088" y="26205"/>
                    </a:lnTo>
                    <a:lnTo>
                      <a:pt x="196993" y="24905"/>
                    </a:lnTo>
                    <a:lnTo>
                      <a:pt x="201063" y="21566"/>
                    </a:lnTo>
                    <a:lnTo>
                      <a:pt x="195066" y="19091"/>
                    </a:lnTo>
                    <a:lnTo>
                      <a:pt x="199016" y="16583"/>
                    </a:lnTo>
                    <a:lnTo>
                      <a:pt x="201063" y="14051"/>
                    </a:lnTo>
                    <a:lnTo>
                      <a:pt x="202819" y="10934"/>
                    </a:lnTo>
                    <a:lnTo>
                      <a:pt x="203451" y="7280"/>
                    </a:lnTo>
                    <a:lnTo>
                      <a:pt x="203209" y="5312"/>
                    </a:lnTo>
                    <a:lnTo>
                      <a:pt x="201998" y="3971"/>
                    </a:lnTo>
                    <a:lnTo>
                      <a:pt x="198336" y="619"/>
                    </a:lnTo>
                    <a:lnTo>
                      <a:pt x="206634" y="138"/>
                    </a:lnTo>
                    <a:close/>
                  </a:path>
                </a:pathLst>
              </a:custGeom>
              <a:solidFill>
                <a:srgbClr val="DC7306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6" name="ee4p_UA_1_15912">
                <a:extLst>
                  <a:ext uri="{FF2B5EF4-FFF2-40B4-BE49-F238E27FC236}">
                    <a16:creationId xmlns:a16="http://schemas.microsoft.com/office/drawing/2014/main" id="{74DA3FE5-20D7-8F0C-08A9-983D7E2A699F}"/>
                  </a:ext>
                </a:extLst>
              </p:cNvPr>
              <p:cNvSpPr>
                <a:spLocks noChangeAspect="1"/>
              </p:cNvSpPr>
              <p:nvPr>
                <p:custDataLst>
                  <p:tags r:id="rId277"/>
                </p:custDataLst>
              </p:nvPr>
            </p:nvSpPr>
            <p:spPr>
              <a:xfrm>
                <a:off x="5711734" y="4258461"/>
                <a:ext cx="1577526" cy="895745"/>
              </a:xfrm>
              <a:custGeom>
                <a:avLst/>
                <a:gdLst>
                  <a:gd name="connsiteX0" fmla="*/ 207344 w 397940"/>
                  <a:gd name="connsiteY0" fmla="*/ 171473 h 225957"/>
                  <a:gd name="connsiteX1" fmla="*/ 209026 w 397940"/>
                  <a:gd name="connsiteY1" fmla="*/ 173412 h 225957"/>
                  <a:gd name="connsiteX2" fmla="*/ 210212 w 397940"/>
                  <a:gd name="connsiteY2" fmla="*/ 174260 h 225957"/>
                  <a:gd name="connsiteX3" fmla="*/ 218475 w 397940"/>
                  <a:gd name="connsiteY3" fmla="*/ 176160 h 225957"/>
                  <a:gd name="connsiteX4" fmla="*/ 221524 w 397940"/>
                  <a:gd name="connsiteY4" fmla="*/ 177522 h 225957"/>
                  <a:gd name="connsiteX5" fmla="*/ 218413 w 397940"/>
                  <a:gd name="connsiteY5" fmla="*/ 177159 h 225957"/>
                  <a:gd name="connsiteX6" fmla="*/ 211576 w 397940"/>
                  <a:gd name="connsiteY6" fmla="*/ 175879 h 225957"/>
                  <a:gd name="connsiteX7" fmla="*/ 208562 w 397940"/>
                  <a:gd name="connsiteY7" fmla="*/ 174670 h 225957"/>
                  <a:gd name="connsiteX8" fmla="*/ 207784 w 397940"/>
                  <a:gd name="connsiteY8" fmla="*/ 173318 h 225957"/>
                  <a:gd name="connsiteX9" fmla="*/ 246666 w 397940"/>
                  <a:gd name="connsiteY9" fmla="*/ 0 h 225957"/>
                  <a:gd name="connsiteX10" fmla="*/ 250309 w 397940"/>
                  <a:gd name="connsiteY10" fmla="*/ 587 h 225957"/>
                  <a:gd name="connsiteX11" fmla="*/ 253881 w 397940"/>
                  <a:gd name="connsiteY11" fmla="*/ 622 h 225957"/>
                  <a:gd name="connsiteX12" fmla="*/ 256576 w 397940"/>
                  <a:gd name="connsiteY12" fmla="*/ 261 h 225957"/>
                  <a:gd name="connsiteX13" fmla="*/ 258424 w 397940"/>
                  <a:gd name="connsiteY13" fmla="*/ 1126 h 225957"/>
                  <a:gd name="connsiteX14" fmla="*/ 260707 w 397940"/>
                  <a:gd name="connsiteY14" fmla="*/ 3030 h 225957"/>
                  <a:gd name="connsiteX15" fmla="*/ 262769 w 397940"/>
                  <a:gd name="connsiteY15" fmla="*/ 5862 h 225957"/>
                  <a:gd name="connsiteX16" fmla="*/ 264930 w 397940"/>
                  <a:gd name="connsiteY16" fmla="*/ 11080 h 225957"/>
                  <a:gd name="connsiteX17" fmla="*/ 271227 w 397940"/>
                  <a:gd name="connsiteY17" fmla="*/ 16962 h 225957"/>
                  <a:gd name="connsiteX18" fmla="*/ 271335 w 397940"/>
                  <a:gd name="connsiteY18" fmla="*/ 18109 h 225957"/>
                  <a:gd name="connsiteX19" fmla="*/ 270817 w 397940"/>
                  <a:gd name="connsiteY19" fmla="*/ 18846 h 225957"/>
                  <a:gd name="connsiteX20" fmla="*/ 267718 w 397940"/>
                  <a:gd name="connsiteY20" fmla="*/ 19561 h 225957"/>
                  <a:gd name="connsiteX21" fmla="*/ 265107 w 397940"/>
                  <a:gd name="connsiteY21" fmla="*/ 19946 h 225957"/>
                  <a:gd name="connsiteX22" fmla="*/ 264982 w 397940"/>
                  <a:gd name="connsiteY22" fmla="*/ 20953 h 225957"/>
                  <a:gd name="connsiteX23" fmla="*/ 265675 w 397940"/>
                  <a:gd name="connsiteY23" fmla="*/ 22042 h 225957"/>
                  <a:gd name="connsiteX24" fmla="*/ 266872 w 397940"/>
                  <a:gd name="connsiteY24" fmla="*/ 23635 h 225957"/>
                  <a:gd name="connsiteX25" fmla="*/ 267057 w 397940"/>
                  <a:gd name="connsiteY25" fmla="*/ 25685 h 225957"/>
                  <a:gd name="connsiteX26" fmla="*/ 266997 w 397940"/>
                  <a:gd name="connsiteY26" fmla="*/ 27569 h 225957"/>
                  <a:gd name="connsiteX27" fmla="*/ 267513 w 397940"/>
                  <a:gd name="connsiteY27" fmla="*/ 29233 h 225957"/>
                  <a:gd name="connsiteX28" fmla="*/ 268511 w 397940"/>
                  <a:gd name="connsiteY28" fmla="*/ 29909 h 225957"/>
                  <a:gd name="connsiteX29" fmla="*/ 268636 w 397940"/>
                  <a:gd name="connsiteY29" fmla="*/ 30745 h 225957"/>
                  <a:gd name="connsiteX30" fmla="*/ 267481 w 397940"/>
                  <a:gd name="connsiteY30" fmla="*/ 31766 h 225957"/>
                  <a:gd name="connsiteX31" fmla="*/ 267159 w 397940"/>
                  <a:gd name="connsiteY31" fmla="*/ 32396 h 225957"/>
                  <a:gd name="connsiteX32" fmla="*/ 267608 w 397940"/>
                  <a:gd name="connsiteY32" fmla="*/ 32735 h 225957"/>
                  <a:gd name="connsiteX33" fmla="*/ 273287 w 397940"/>
                  <a:gd name="connsiteY33" fmla="*/ 32932 h 225957"/>
                  <a:gd name="connsiteX34" fmla="*/ 276068 w 397940"/>
                  <a:gd name="connsiteY34" fmla="*/ 33926 h 225957"/>
                  <a:gd name="connsiteX35" fmla="*/ 278180 w 397940"/>
                  <a:gd name="connsiteY35" fmla="*/ 34831 h 225957"/>
                  <a:gd name="connsiteX36" fmla="*/ 279243 w 397940"/>
                  <a:gd name="connsiteY36" fmla="*/ 34915 h 225957"/>
                  <a:gd name="connsiteX37" fmla="*/ 281635 w 397940"/>
                  <a:gd name="connsiteY37" fmla="*/ 34333 h 225957"/>
                  <a:gd name="connsiteX38" fmla="*/ 284326 w 397940"/>
                  <a:gd name="connsiteY38" fmla="*/ 33966 h 225957"/>
                  <a:gd name="connsiteX39" fmla="*/ 285958 w 397940"/>
                  <a:gd name="connsiteY39" fmla="*/ 33917 h 225957"/>
                  <a:gd name="connsiteX40" fmla="*/ 286589 w 397940"/>
                  <a:gd name="connsiteY40" fmla="*/ 34584 h 225957"/>
                  <a:gd name="connsiteX41" fmla="*/ 287092 w 397940"/>
                  <a:gd name="connsiteY41" fmla="*/ 36334 h 225957"/>
                  <a:gd name="connsiteX42" fmla="*/ 288038 w 397940"/>
                  <a:gd name="connsiteY42" fmla="*/ 38084 h 225957"/>
                  <a:gd name="connsiteX43" fmla="*/ 288921 w 397940"/>
                  <a:gd name="connsiteY43" fmla="*/ 38584 h 225957"/>
                  <a:gd name="connsiteX44" fmla="*/ 290493 w 397940"/>
                  <a:gd name="connsiteY44" fmla="*/ 38500 h 225957"/>
                  <a:gd name="connsiteX45" fmla="*/ 291439 w 397940"/>
                  <a:gd name="connsiteY45" fmla="*/ 38584 h 225957"/>
                  <a:gd name="connsiteX46" fmla="*/ 291944 w 397940"/>
                  <a:gd name="connsiteY46" fmla="*/ 39249 h 225957"/>
                  <a:gd name="connsiteX47" fmla="*/ 291376 w 397940"/>
                  <a:gd name="connsiteY47" fmla="*/ 40249 h 225957"/>
                  <a:gd name="connsiteX48" fmla="*/ 291502 w 397940"/>
                  <a:gd name="connsiteY48" fmla="*/ 41329 h 225957"/>
                  <a:gd name="connsiteX49" fmla="*/ 292195 w 397940"/>
                  <a:gd name="connsiteY49" fmla="*/ 42660 h 225957"/>
                  <a:gd name="connsiteX50" fmla="*/ 293015 w 397940"/>
                  <a:gd name="connsiteY50" fmla="*/ 45733 h 225957"/>
                  <a:gd name="connsiteX51" fmla="*/ 293771 w 397940"/>
                  <a:gd name="connsiteY51" fmla="*/ 46646 h 225957"/>
                  <a:gd name="connsiteX52" fmla="*/ 294274 w 397940"/>
                  <a:gd name="connsiteY52" fmla="*/ 47808 h 225957"/>
                  <a:gd name="connsiteX53" fmla="*/ 294274 w 397940"/>
                  <a:gd name="connsiteY53" fmla="*/ 49135 h 225957"/>
                  <a:gd name="connsiteX54" fmla="*/ 293644 w 397940"/>
                  <a:gd name="connsiteY54" fmla="*/ 50295 h 225957"/>
                  <a:gd name="connsiteX55" fmla="*/ 293203 w 397940"/>
                  <a:gd name="connsiteY55" fmla="*/ 51205 h 225957"/>
                  <a:gd name="connsiteX56" fmla="*/ 293644 w 397940"/>
                  <a:gd name="connsiteY56" fmla="*/ 53275 h 225957"/>
                  <a:gd name="connsiteX57" fmla="*/ 295343 w 397940"/>
                  <a:gd name="connsiteY57" fmla="*/ 55592 h 225957"/>
                  <a:gd name="connsiteX58" fmla="*/ 296604 w 397940"/>
                  <a:gd name="connsiteY58" fmla="*/ 56170 h 225957"/>
                  <a:gd name="connsiteX59" fmla="*/ 297613 w 397940"/>
                  <a:gd name="connsiteY59" fmla="*/ 58236 h 225957"/>
                  <a:gd name="connsiteX60" fmla="*/ 299439 w 397940"/>
                  <a:gd name="connsiteY60" fmla="*/ 58896 h 225957"/>
                  <a:gd name="connsiteX61" fmla="*/ 302147 w 397940"/>
                  <a:gd name="connsiteY61" fmla="*/ 57163 h 225957"/>
                  <a:gd name="connsiteX62" fmla="*/ 304227 w 397940"/>
                  <a:gd name="connsiteY62" fmla="*/ 56254 h 225957"/>
                  <a:gd name="connsiteX63" fmla="*/ 306827 w 397940"/>
                  <a:gd name="connsiteY63" fmla="*/ 56759 h 225957"/>
                  <a:gd name="connsiteX64" fmla="*/ 309228 w 397940"/>
                  <a:gd name="connsiteY64" fmla="*/ 57082 h 225957"/>
                  <a:gd name="connsiteX65" fmla="*/ 310843 w 397940"/>
                  <a:gd name="connsiteY65" fmla="*/ 58263 h 225957"/>
                  <a:gd name="connsiteX66" fmla="*/ 312035 w 397940"/>
                  <a:gd name="connsiteY66" fmla="*/ 59887 h 225957"/>
                  <a:gd name="connsiteX67" fmla="*/ 313422 w 397940"/>
                  <a:gd name="connsiteY67" fmla="*/ 60794 h 225957"/>
                  <a:gd name="connsiteX68" fmla="*/ 314810 w 397940"/>
                  <a:gd name="connsiteY68" fmla="*/ 60320 h 225957"/>
                  <a:gd name="connsiteX69" fmla="*/ 317706 w 397940"/>
                  <a:gd name="connsiteY69" fmla="*/ 60794 h 225957"/>
                  <a:gd name="connsiteX70" fmla="*/ 319029 w 397940"/>
                  <a:gd name="connsiteY70" fmla="*/ 62114 h 225957"/>
                  <a:gd name="connsiteX71" fmla="*/ 320351 w 397940"/>
                  <a:gd name="connsiteY71" fmla="*/ 62856 h 225957"/>
                  <a:gd name="connsiteX72" fmla="*/ 322052 w 397940"/>
                  <a:gd name="connsiteY72" fmla="*/ 61785 h 225957"/>
                  <a:gd name="connsiteX73" fmla="*/ 323439 w 397940"/>
                  <a:gd name="connsiteY73" fmla="*/ 60465 h 225957"/>
                  <a:gd name="connsiteX74" fmla="*/ 328511 w 397940"/>
                  <a:gd name="connsiteY74" fmla="*/ 59082 h 225957"/>
                  <a:gd name="connsiteX75" fmla="*/ 331668 w 397940"/>
                  <a:gd name="connsiteY75" fmla="*/ 58736 h 225957"/>
                  <a:gd name="connsiteX76" fmla="*/ 332549 w 397940"/>
                  <a:gd name="connsiteY76" fmla="*/ 58464 h 225957"/>
                  <a:gd name="connsiteX77" fmla="*/ 334402 w 397940"/>
                  <a:gd name="connsiteY77" fmla="*/ 57476 h 225957"/>
                  <a:gd name="connsiteX78" fmla="*/ 336354 w 397940"/>
                  <a:gd name="connsiteY78" fmla="*/ 56819 h 225957"/>
                  <a:gd name="connsiteX79" fmla="*/ 338116 w 397940"/>
                  <a:gd name="connsiteY79" fmla="*/ 56997 h 225957"/>
                  <a:gd name="connsiteX80" fmla="*/ 339852 w 397940"/>
                  <a:gd name="connsiteY80" fmla="*/ 59049 h 225957"/>
                  <a:gd name="connsiteX81" fmla="*/ 341643 w 397940"/>
                  <a:gd name="connsiteY81" fmla="*/ 60465 h 225957"/>
                  <a:gd name="connsiteX82" fmla="*/ 342146 w 397940"/>
                  <a:gd name="connsiteY82" fmla="*/ 62691 h 225957"/>
                  <a:gd name="connsiteX83" fmla="*/ 344337 w 397940"/>
                  <a:gd name="connsiteY83" fmla="*/ 65753 h 225957"/>
                  <a:gd name="connsiteX84" fmla="*/ 349779 w 397940"/>
                  <a:gd name="connsiteY84" fmla="*/ 69936 h 225957"/>
                  <a:gd name="connsiteX85" fmla="*/ 351915 w 397940"/>
                  <a:gd name="connsiteY85" fmla="*/ 71211 h 225957"/>
                  <a:gd name="connsiteX86" fmla="*/ 353366 w 397940"/>
                  <a:gd name="connsiteY86" fmla="*/ 70986 h 225957"/>
                  <a:gd name="connsiteX87" fmla="*/ 354124 w 397940"/>
                  <a:gd name="connsiteY87" fmla="*/ 70652 h 225957"/>
                  <a:gd name="connsiteX88" fmla="*/ 354476 w 397940"/>
                  <a:gd name="connsiteY88" fmla="*/ 70215 h 225957"/>
                  <a:gd name="connsiteX89" fmla="*/ 354804 w 397940"/>
                  <a:gd name="connsiteY89" fmla="*/ 68170 h 225957"/>
                  <a:gd name="connsiteX90" fmla="*/ 355493 w 397940"/>
                  <a:gd name="connsiteY90" fmla="*/ 67417 h 225957"/>
                  <a:gd name="connsiteX91" fmla="*/ 356596 w 397940"/>
                  <a:gd name="connsiteY91" fmla="*/ 67392 h 225957"/>
                  <a:gd name="connsiteX92" fmla="*/ 360855 w 397940"/>
                  <a:gd name="connsiteY92" fmla="*/ 69940 h 225957"/>
                  <a:gd name="connsiteX93" fmla="*/ 363083 w 397940"/>
                  <a:gd name="connsiteY93" fmla="*/ 70214 h 225957"/>
                  <a:gd name="connsiteX94" fmla="*/ 365201 w 397940"/>
                  <a:gd name="connsiteY94" fmla="*/ 70263 h 225957"/>
                  <a:gd name="connsiteX95" fmla="*/ 368052 w 397940"/>
                  <a:gd name="connsiteY95" fmla="*/ 72240 h 225957"/>
                  <a:gd name="connsiteX96" fmla="*/ 371185 w 397940"/>
                  <a:gd name="connsiteY96" fmla="*/ 73958 h 225957"/>
                  <a:gd name="connsiteX97" fmla="*/ 373603 w 397940"/>
                  <a:gd name="connsiteY97" fmla="*/ 74139 h 225957"/>
                  <a:gd name="connsiteX98" fmla="*/ 375532 w 397940"/>
                  <a:gd name="connsiteY98" fmla="*/ 73467 h 225957"/>
                  <a:gd name="connsiteX99" fmla="*/ 376856 w 397940"/>
                  <a:gd name="connsiteY99" fmla="*/ 73058 h 225957"/>
                  <a:gd name="connsiteX100" fmla="*/ 377674 w 397940"/>
                  <a:gd name="connsiteY100" fmla="*/ 73713 h 225957"/>
                  <a:gd name="connsiteX101" fmla="*/ 378430 w 397940"/>
                  <a:gd name="connsiteY101" fmla="*/ 75190 h 225957"/>
                  <a:gd name="connsiteX102" fmla="*/ 379689 w 397940"/>
                  <a:gd name="connsiteY102" fmla="*/ 76338 h 225957"/>
                  <a:gd name="connsiteX103" fmla="*/ 381138 w 397940"/>
                  <a:gd name="connsiteY103" fmla="*/ 76666 h 225957"/>
                  <a:gd name="connsiteX104" fmla="*/ 383223 w 397940"/>
                  <a:gd name="connsiteY104" fmla="*/ 76741 h 225957"/>
                  <a:gd name="connsiteX105" fmla="*/ 386845 w 397940"/>
                  <a:gd name="connsiteY105" fmla="*/ 78966 h 225957"/>
                  <a:gd name="connsiteX106" fmla="*/ 390250 w 397940"/>
                  <a:gd name="connsiteY106" fmla="*/ 81226 h 225957"/>
                  <a:gd name="connsiteX107" fmla="*/ 392379 w 397940"/>
                  <a:gd name="connsiteY107" fmla="*/ 81351 h 225957"/>
                  <a:gd name="connsiteX108" fmla="*/ 394185 w 397940"/>
                  <a:gd name="connsiteY108" fmla="*/ 80688 h 225957"/>
                  <a:gd name="connsiteX109" fmla="*/ 395780 w 397940"/>
                  <a:gd name="connsiteY109" fmla="*/ 80517 h 225957"/>
                  <a:gd name="connsiteX110" fmla="*/ 396886 w 397940"/>
                  <a:gd name="connsiteY110" fmla="*/ 81087 h 225957"/>
                  <a:gd name="connsiteX111" fmla="*/ 397201 w 397940"/>
                  <a:gd name="connsiteY111" fmla="*/ 82069 h 225957"/>
                  <a:gd name="connsiteX112" fmla="*/ 396381 w 397940"/>
                  <a:gd name="connsiteY112" fmla="*/ 83378 h 225957"/>
                  <a:gd name="connsiteX113" fmla="*/ 396381 w 397940"/>
                  <a:gd name="connsiteY113" fmla="*/ 85258 h 225957"/>
                  <a:gd name="connsiteX114" fmla="*/ 397892 w 397940"/>
                  <a:gd name="connsiteY114" fmla="*/ 87055 h 225957"/>
                  <a:gd name="connsiteX115" fmla="*/ 397940 w 397940"/>
                  <a:gd name="connsiteY115" fmla="*/ 88820 h 225957"/>
                  <a:gd name="connsiteX116" fmla="*/ 397508 w 397940"/>
                  <a:gd name="connsiteY116" fmla="*/ 90413 h 225957"/>
                  <a:gd name="connsiteX117" fmla="*/ 396651 w 397940"/>
                  <a:gd name="connsiteY117" fmla="*/ 91880 h 225957"/>
                  <a:gd name="connsiteX118" fmla="*/ 394580 w 397940"/>
                  <a:gd name="connsiteY118" fmla="*/ 93894 h 225957"/>
                  <a:gd name="connsiteX119" fmla="*/ 392664 w 397940"/>
                  <a:gd name="connsiteY119" fmla="*/ 95773 h 225957"/>
                  <a:gd name="connsiteX120" fmla="*/ 389784 w 397940"/>
                  <a:gd name="connsiteY120" fmla="*/ 96558 h 225957"/>
                  <a:gd name="connsiteX121" fmla="*/ 388171 w 397940"/>
                  <a:gd name="connsiteY121" fmla="*/ 97376 h 225957"/>
                  <a:gd name="connsiteX122" fmla="*/ 388594 w 397940"/>
                  <a:gd name="connsiteY122" fmla="*/ 98755 h 225957"/>
                  <a:gd name="connsiteX123" fmla="*/ 389648 w 397940"/>
                  <a:gd name="connsiteY123" fmla="*/ 100041 h 225957"/>
                  <a:gd name="connsiteX124" fmla="*/ 392090 w 397940"/>
                  <a:gd name="connsiteY124" fmla="*/ 101081 h 225957"/>
                  <a:gd name="connsiteX125" fmla="*/ 394863 w 397940"/>
                  <a:gd name="connsiteY125" fmla="*/ 101838 h 225957"/>
                  <a:gd name="connsiteX126" fmla="*/ 395182 w 397940"/>
                  <a:gd name="connsiteY126" fmla="*/ 102673 h 225957"/>
                  <a:gd name="connsiteX127" fmla="*/ 394759 w 397940"/>
                  <a:gd name="connsiteY127" fmla="*/ 103092 h 225957"/>
                  <a:gd name="connsiteX128" fmla="*/ 392982 w 397940"/>
                  <a:gd name="connsiteY128" fmla="*/ 103480 h 225957"/>
                  <a:gd name="connsiteX129" fmla="*/ 390522 w 397940"/>
                  <a:gd name="connsiteY129" fmla="*/ 103082 h 225957"/>
                  <a:gd name="connsiteX130" fmla="*/ 389704 w 397940"/>
                  <a:gd name="connsiteY130" fmla="*/ 103812 h 225957"/>
                  <a:gd name="connsiteX131" fmla="*/ 388570 w 397940"/>
                  <a:gd name="connsiteY131" fmla="*/ 105028 h 225957"/>
                  <a:gd name="connsiteX132" fmla="*/ 387815 w 397940"/>
                  <a:gd name="connsiteY132" fmla="*/ 107215 h 225957"/>
                  <a:gd name="connsiteX133" fmla="*/ 387246 w 397940"/>
                  <a:gd name="connsiteY133" fmla="*/ 109239 h 225957"/>
                  <a:gd name="connsiteX134" fmla="*/ 389916 w 397940"/>
                  <a:gd name="connsiteY134" fmla="*/ 109788 h 225957"/>
                  <a:gd name="connsiteX135" fmla="*/ 391468 w 397940"/>
                  <a:gd name="connsiteY135" fmla="*/ 110614 h 225957"/>
                  <a:gd name="connsiteX136" fmla="*/ 391952 w 397940"/>
                  <a:gd name="connsiteY136" fmla="*/ 112276 h 225957"/>
                  <a:gd name="connsiteX137" fmla="*/ 392507 w 397940"/>
                  <a:gd name="connsiteY137" fmla="*/ 114123 h 225957"/>
                  <a:gd name="connsiteX138" fmla="*/ 392667 w 397940"/>
                  <a:gd name="connsiteY138" fmla="*/ 115785 h 225957"/>
                  <a:gd name="connsiteX139" fmla="*/ 391783 w 397940"/>
                  <a:gd name="connsiteY139" fmla="*/ 116592 h 225957"/>
                  <a:gd name="connsiteX140" fmla="*/ 391730 w 397940"/>
                  <a:gd name="connsiteY140" fmla="*/ 117418 h 225957"/>
                  <a:gd name="connsiteX141" fmla="*/ 392146 w 397940"/>
                  <a:gd name="connsiteY141" fmla="*/ 117824 h 225957"/>
                  <a:gd name="connsiteX142" fmla="*/ 393293 w 397940"/>
                  <a:gd name="connsiteY142" fmla="*/ 118008 h 225957"/>
                  <a:gd name="connsiteX143" fmla="*/ 394172 w 397940"/>
                  <a:gd name="connsiteY143" fmla="*/ 118377 h 225957"/>
                  <a:gd name="connsiteX144" fmla="*/ 394241 w 397940"/>
                  <a:gd name="connsiteY144" fmla="*/ 119253 h 225957"/>
                  <a:gd name="connsiteX145" fmla="*/ 392561 w 397940"/>
                  <a:gd name="connsiteY145" fmla="*/ 121220 h 225957"/>
                  <a:gd name="connsiteX146" fmla="*/ 390989 w 397940"/>
                  <a:gd name="connsiteY146" fmla="*/ 124979 h 225957"/>
                  <a:gd name="connsiteX147" fmla="*/ 390144 w 397940"/>
                  <a:gd name="connsiteY147" fmla="*/ 126978 h 225957"/>
                  <a:gd name="connsiteX148" fmla="*/ 390209 w 397940"/>
                  <a:gd name="connsiteY148" fmla="*/ 129146 h 225957"/>
                  <a:gd name="connsiteX149" fmla="*/ 389263 w 397940"/>
                  <a:gd name="connsiteY149" fmla="*/ 130350 h 225957"/>
                  <a:gd name="connsiteX150" fmla="*/ 387551 w 397940"/>
                  <a:gd name="connsiteY150" fmla="*/ 130452 h 225957"/>
                  <a:gd name="connsiteX151" fmla="*/ 381636 w 397940"/>
                  <a:gd name="connsiteY151" fmla="*/ 130662 h 225957"/>
                  <a:gd name="connsiteX152" fmla="*/ 376495 w 397940"/>
                  <a:gd name="connsiteY152" fmla="*/ 130559 h 225957"/>
                  <a:gd name="connsiteX153" fmla="*/ 374269 w 397940"/>
                  <a:gd name="connsiteY153" fmla="*/ 130247 h 225957"/>
                  <a:gd name="connsiteX154" fmla="*/ 370785 w 397940"/>
                  <a:gd name="connsiteY154" fmla="*/ 130060 h 225957"/>
                  <a:gd name="connsiteX155" fmla="*/ 369060 w 397940"/>
                  <a:gd name="connsiteY155" fmla="*/ 130570 h 225957"/>
                  <a:gd name="connsiteX156" fmla="*/ 366776 w 397940"/>
                  <a:gd name="connsiteY156" fmla="*/ 134029 h 225957"/>
                  <a:gd name="connsiteX157" fmla="*/ 365044 w 397940"/>
                  <a:gd name="connsiteY157" fmla="*/ 135384 h 225957"/>
                  <a:gd name="connsiteX158" fmla="*/ 362176 w 397940"/>
                  <a:gd name="connsiteY158" fmla="*/ 136607 h 225957"/>
                  <a:gd name="connsiteX159" fmla="*/ 359034 w 397940"/>
                  <a:gd name="connsiteY159" fmla="*/ 136957 h 225957"/>
                  <a:gd name="connsiteX160" fmla="*/ 357233 w 397940"/>
                  <a:gd name="connsiteY160" fmla="*/ 138383 h 225957"/>
                  <a:gd name="connsiteX161" fmla="*/ 356601 w 397940"/>
                  <a:gd name="connsiteY161" fmla="*/ 140618 h 225957"/>
                  <a:gd name="connsiteX162" fmla="*/ 356551 w 397940"/>
                  <a:gd name="connsiteY162" fmla="*/ 142598 h 225957"/>
                  <a:gd name="connsiteX163" fmla="*/ 356257 w 397940"/>
                  <a:gd name="connsiteY163" fmla="*/ 143586 h 225957"/>
                  <a:gd name="connsiteX164" fmla="*/ 355575 w 397940"/>
                  <a:gd name="connsiteY164" fmla="*/ 144452 h 225957"/>
                  <a:gd name="connsiteX165" fmla="*/ 355331 w 397940"/>
                  <a:gd name="connsiteY165" fmla="*/ 145068 h 225957"/>
                  <a:gd name="connsiteX166" fmla="*/ 355477 w 397940"/>
                  <a:gd name="connsiteY166" fmla="*/ 145747 h 225957"/>
                  <a:gd name="connsiteX167" fmla="*/ 356208 w 397940"/>
                  <a:gd name="connsiteY167" fmla="*/ 145994 h 225957"/>
                  <a:gd name="connsiteX168" fmla="*/ 357086 w 397940"/>
                  <a:gd name="connsiteY168" fmla="*/ 146303 h 225957"/>
                  <a:gd name="connsiteX169" fmla="*/ 357086 w 397940"/>
                  <a:gd name="connsiteY169" fmla="*/ 146797 h 225957"/>
                  <a:gd name="connsiteX170" fmla="*/ 356745 w 397940"/>
                  <a:gd name="connsiteY170" fmla="*/ 147414 h 225957"/>
                  <a:gd name="connsiteX171" fmla="*/ 355769 w 397940"/>
                  <a:gd name="connsiteY171" fmla="*/ 148092 h 225957"/>
                  <a:gd name="connsiteX172" fmla="*/ 355331 w 397940"/>
                  <a:gd name="connsiteY172" fmla="*/ 149141 h 225957"/>
                  <a:gd name="connsiteX173" fmla="*/ 355430 w 397940"/>
                  <a:gd name="connsiteY173" fmla="*/ 150249 h 225957"/>
                  <a:gd name="connsiteX174" fmla="*/ 355618 w 397940"/>
                  <a:gd name="connsiteY174" fmla="*/ 151483 h 225957"/>
                  <a:gd name="connsiteX175" fmla="*/ 354821 w 397940"/>
                  <a:gd name="connsiteY175" fmla="*/ 151796 h 225957"/>
                  <a:gd name="connsiteX176" fmla="*/ 347091 w 397940"/>
                  <a:gd name="connsiteY176" fmla="*/ 151360 h 225957"/>
                  <a:gd name="connsiteX177" fmla="*/ 340781 w 397940"/>
                  <a:gd name="connsiteY177" fmla="*/ 151954 h 225957"/>
                  <a:gd name="connsiteX178" fmla="*/ 336281 w 397940"/>
                  <a:gd name="connsiteY178" fmla="*/ 156355 h 225957"/>
                  <a:gd name="connsiteX179" fmla="*/ 333599 w 397940"/>
                  <a:gd name="connsiteY179" fmla="*/ 156343 h 225957"/>
                  <a:gd name="connsiteX180" fmla="*/ 329818 w 397940"/>
                  <a:gd name="connsiteY180" fmla="*/ 157489 h 225957"/>
                  <a:gd name="connsiteX181" fmla="*/ 327263 w 397940"/>
                  <a:gd name="connsiteY181" fmla="*/ 158912 h 225957"/>
                  <a:gd name="connsiteX182" fmla="*/ 324229 w 397940"/>
                  <a:gd name="connsiteY182" fmla="*/ 161995 h 225957"/>
                  <a:gd name="connsiteX183" fmla="*/ 321882 w 397940"/>
                  <a:gd name="connsiteY183" fmla="*/ 160611 h 225957"/>
                  <a:gd name="connsiteX184" fmla="*/ 319010 w 397940"/>
                  <a:gd name="connsiteY184" fmla="*/ 160651 h 225957"/>
                  <a:gd name="connsiteX185" fmla="*/ 316207 w 397940"/>
                  <a:gd name="connsiteY185" fmla="*/ 161490 h 225957"/>
                  <a:gd name="connsiteX186" fmla="*/ 312834 w 397940"/>
                  <a:gd name="connsiteY186" fmla="*/ 163547 h 225957"/>
                  <a:gd name="connsiteX187" fmla="*/ 310958 w 397940"/>
                  <a:gd name="connsiteY187" fmla="*/ 163911 h 225957"/>
                  <a:gd name="connsiteX188" fmla="*/ 307205 w 397940"/>
                  <a:gd name="connsiteY188" fmla="*/ 163319 h 225957"/>
                  <a:gd name="connsiteX189" fmla="*/ 302832 w 397940"/>
                  <a:gd name="connsiteY189" fmla="*/ 164500 h 225957"/>
                  <a:gd name="connsiteX190" fmla="*/ 293391 w 397940"/>
                  <a:gd name="connsiteY190" fmla="*/ 171244 h 225957"/>
                  <a:gd name="connsiteX191" fmla="*/ 290217 w 397940"/>
                  <a:gd name="connsiteY191" fmla="*/ 176160 h 225957"/>
                  <a:gd name="connsiteX192" fmla="*/ 289061 w 397940"/>
                  <a:gd name="connsiteY192" fmla="*/ 177121 h 225957"/>
                  <a:gd name="connsiteX193" fmla="*/ 287468 w 397940"/>
                  <a:gd name="connsiteY193" fmla="*/ 178319 h 225957"/>
                  <a:gd name="connsiteX194" fmla="*/ 285764 w 397940"/>
                  <a:gd name="connsiteY194" fmla="*/ 178924 h 225957"/>
                  <a:gd name="connsiteX195" fmla="*/ 284864 w 397940"/>
                  <a:gd name="connsiteY195" fmla="*/ 178868 h 225957"/>
                  <a:gd name="connsiteX196" fmla="*/ 289357 w 397940"/>
                  <a:gd name="connsiteY196" fmla="*/ 175378 h 225957"/>
                  <a:gd name="connsiteX197" fmla="*/ 290737 w 397940"/>
                  <a:gd name="connsiteY197" fmla="*/ 174068 h 225957"/>
                  <a:gd name="connsiteX198" fmla="*/ 290975 w 397940"/>
                  <a:gd name="connsiteY198" fmla="*/ 173101 h 225957"/>
                  <a:gd name="connsiteX199" fmla="*/ 290998 w 397940"/>
                  <a:gd name="connsiteY199" fmla="*/ 171541 h 225957"/>
                  <a:gd name="connsiteX200" fmla="*/ 289636 w 397940"/>
                  <a:gd name="connsiteY200" fmla="*/ 169601 h 225957"/>
                  <a:gd name="connsiteX201" fmla="*/ 285958 w 397940"/>
                  <a:gd name="connsiteY201" fmla="*/ 174407 h 225957"/>
                  <a:gd name="connsiteX202" fmla="*/ 283868 w 397940"/>
                  <a:gd name="connsiteY202" fmla="*/ 175104 h 225957"/>
                  <a:gd name="connsiteX203" fmla="*/ 281216 w 397940"/>
                  <a:gd name="connsiteY203" fmla="*/ 176548 h 225957"/>
                  <a:gd name="connsiteX204" fmla="*/ 281087 w 397940"/>
                  <a:gd name="connsiteY204" fmla="*/ 179764 h 225957"/>
                  <a:gd name="connsiteX205" fmla="*/ 281387 w 397940"/>
                  <a:gd name="connsiteY205" fmla="*/ 182146 h 225957"/>
                  <a:gd name="connsiteX206" fmla="*/ 282477 w 397940"/>
                  <a:gd name="connsiteY206" fmla="*/ 185142 h 225957"/>
                  <a:gd name="connsiteX207" fmla="*/ 285047 w 397940"/>
                  <a:gd name="connsiteY207" fmla="*/ 190042 h 225957"/>
                  <a:gd name="connsiteX208" fmla="*/ 290295 w 397940"/>
                  <a:gd name="connsiteY208" fmla="*/ 197027 h 225957"/>
                  <a:gd name="connsiteX209" fmla="*/ 292810 w 397940"/>
                  <a:gd name="connsiteY209" fmla="*/ 199588 h 225957"/>
                  <a:gd name="connsiteX210" fmla="*/ 294659 w 397940"/>
                  <a:gd name="connsiteY210" fmla="*/ 200611 h 225957"/>
                  <a:gd name="connsiteX211" fmla="*/ 296881 w 397940"/>
                  <a:gd name="connsiteY211" fmla="*/ 200759 h 225957"/>
                  <a:gd name="connsiteX212" fmla="*/ 301147 w 397940"/>
                  <a:gd name="connsiteY212" fmla="*/ 198607 h 225957"/>
                  <a:gd name="connsiteX213" fmla="*/ 302972 w 397940"/>
                  <a:gd name="connsiteY213" fmla="*/ 198271 h 225957"/>
                  <a:gd name="connsiteX214" fmla="*/ 306939 w 397940"/>
                  <a:gd name="connsiteY214" fmla="*/ 199092 h 225957"/>
                  <a:gd name="connsiteX215" fmla="*/ 308360 w 397940"/>
                  <a:gd name="connsiteY215" fmla="*/ 197653 h 225957"/>
                  <a:gd name="connsiteX216" fmla="*/ 310424 w 397940"/>
                  <a:gd name="connsiteY216" fmla="*/ 196858 h 225957"/>
                  <a:gd name="connsiteX217" fmla="*/ 313074 w 397940"/>
                  <a:gd name="connsiteY217" fmla="*/ 196757 h 225957"/>
                  <a:gd name="connsiteX218" fmla="*/ 316097 w 397940"/>
                  <a:gd name="connsiteY218" fmla="*/ 197402 h 225957"/>
                  <a:gd name="connsiteX219" fmla="*/ 319368 w 397940"/>
                  <a:gd name="connsiteY219" fmla="*/ 198492 h 225957"/>
                  <a:gd name="connsiteX220" fmla="*/ 318025 w 397940"/>
                  <a:gd name="connsiteY220" fmla="*/ 200955 h 225957"/>
                  <a:gd name="connsiteX221" fmla="*/ 316622 w 397940"/>
                  <a:gd name="connsiteY221" fmla="*/ 202913 h 225957"/>
                  <a:gd name="connsiteX222" fmla="*/ 316127 w 397940"/>
                  <a:gd name="connsiteY222" fmla="*/ 205078 h 225957"/>
                  <a:gd name="connsiteX223" fmla="*/ 315352 w 397940"/>
                  <a:gd name="connsiteY223" fmla="*/ 207482 h 225957"/>
                  <a:gd name="connsiteX224" fmla="*/ 311737 w 397940"/>
                  <a:gd name="connsiteY224" fmla="*/ 208560 h 225957"/>
                  <a:gd name="connsiteX225" fmla="*/ 307865 w 397940"/>
                  <a:gd name="connsiteY225" fmla="*/ 208428 h 225957"/>
                  <a:gd name="connsiteX226" fmla="*/ 303782 w 397940"/>
                  <a:gd name="connsiteY226" fmla="*/ 209125 h 225957"/>
                  <a:gd name="connsiteX227" fmla="*/ 302311 w 397940"/>
                  <a:gd name="connsiteY227" fmla="*/ 208187 h 225957"/>
                  <a:gd name="connsiteX228" fmla="*/ 301335 w 397940"/>
                  <a:gd name="connsiteY228" fmla="*/ 207333 h 225957"/>
                  <a:gd name="connsiteX229" fmla="*/ 299524 w 397940"/>
                  <a:gd name="connsiteY229" fmla="*/ 206481 h 225957"/>
                  <a:gd name="connsiteX230" fmla="*/ 297135 w 397940"/>
                  <a:gd name="connsiteY230" fmla="*/ 206006 h 225957"/>
                  <a:gd name="connsiteX231" fmla="*/ 294991 w 397940"/>
                  <a:gd name="connsiteY231" fmla="*/ 206577 h 225957"/>
                  <a:gd name="connsiteX232" fmla="*/ 292454 w 397940"/>
                  <a:gd name="connsiteY232" fmla="*/ 209860 h 225957"/>
                  <a:gd name="connsiteX233" fmla="*/ 287965 w 397940"/>
                  <a:gd name="connsiteY233" fmla="*/ 212102 h 225957"/>
                  <a:gd name="connsiteX234" fmla="*/ 286481 w 397940"/>
                  <a:gd name="connsiteY234" fmla="*/ 214659 h 225957"/>
                  <a:gd name="connsiteX235" fmla="*/ 282061 w 397940"/>
                  <a:gd name="connsiteY235" fmla="*/ 214088 h 225957"/>
                  <a:gd name="connsiteX236" fmla="*/ 278282 w 397940"/>
                  <a:gd name="connsiteY236" fmla="*/ 214536 h 225957"/>
                  <a:gd name="connsiteX237" fmla="*/ 272821 w 397940"/>
                  <a:gd name="connsiteY237" fmla="*/ 216866 h 225957"/>
                  <a:gd name="connsiteX238" fmla="*/ 268660 w 397940"/>
                  <a:gd name="connsiteY238" fmla="*/ 221856 h 225957"/>
                  <a:gd name="connsiteX239" fmla="*/ 264075 w 397940"/>
                  <a:gd name="connsiteY239" fmla="*/ 224972 h 225957"/>
                  <a:gd name="connsiteX240" fmla="*/ 260439 w 397940"/>
                  <a:gd name="connsiteY240" fmla="*/ 225957 h 225957"/>
                  <a:gd name="connsiteX241" fmla="*/ 257027 w 397940"/>
                  <a:gd name="connsiteY241" fmla="*/ 225649 h 225957"/>
                  <a:gd name="connsiteX242" fmla="*/ 254820 w 397940"/>
                  <a:gd name="connsiteY242" fmla="*/ 224717 h 225957"/>
                  <a:gd name="connsiteX243" fmla="*/ 250283 w 397940"/>
                  <a:gd name="connsiteY243" fmla="*/ 221442 h 225957"/>
                  <a:gd name="connsiteX244" fmla="*/ 250549 w 397940"/>
                  <a:gd name="connsiteY244" fmla="*/ 220267 h 225957"/>
                  <a:gd name="connsiteX245" fmla="*/ 251182 w 397940"/>
                  <a:gd name="connsiteY245" fmla="*/ 219674 h 225957"/>
                  <a:gd name="connsiteX246" fmla="*/ 252039 w 397940"/>
                  <a:gd name="connsiteY246" fmla="*/ 217988 h 225957"/>
                  <a:gd name="connsiteX247" fmla="*/ 253855 w 397940"/>
                  <a:gd name="connsiteY247" fmla="*/ 211788 h 225957"/>
                  <a:gd name="connsiteX248" fmla="*/ 253611 w 397940"/>
                  <a:gd name="connsiteY248" fmla="*/ 209776 h 225957"/>
                  <a:gd name="connsiteX249" fmla="*/ 252594 w 397940"/>
                  <a:gd name="connsiteY249" fmla="*/ 206600 h 225957"/>
                  <a:gd name="connsiteX250" fmla="*/ 248996 w 397940"/>
                  <a:gd name="connsiteY250" fmla="*/ 204131 h 225957"/>
                  <a:gd name="connsiteX251" fmla="*/ 246100 w 397940"/>
                  <a:gd name="connsiteY251" fmla="*/ 204599 h 225957"/>
                  <a:gd name="connsiteX252" fmla="*/ 244451 w 397940"/>
                  <a:gd name="connsiteY252" fmla="*/ 203941 h 225957"/>
                  <a:gd name="connsiteX253" fmla="*/ 238519 w 397940"/>
                  <a:gd name="connsiteY253" fmla="*/ 199738 h 225957"/>
                  <a:gd name="connsiteX254" fmla="*/ 235291 w 397940"/>
                  <a:gd name="connsiteY254" fmla="*/ 199440 h 225957"/>
                  <a:gd name="connsiteX255" fmla="*/ 231723 w 397940"/>
                  <a:gd name="connsiteY255" fmla="*/ 200288 h 225957"/>
                  <a:gd name="connsiteX256" fmla="*/ 230408 w 397940"/>
                  <a:gd name="connsiteY256" fmla="*/ 199676 h 225957"/>
                  <a:gd name="connsiteX257" fmla="*/ 229439 w 397940"/>
                  <a:gd name="connsiteY257" fmla="*/ 198210 h 225957"/>
                  <a:gd name="connsiteX258" fmla="*/ 236515 w 397940"/>
                  <a:gd name="connsiteY258" fmla="*/ 193012 h 225957"/>
                  <a:gd name="connsiteX259" fmla="*/ 243464 w 397940"/>
                  <a:gd name="connsiteY259" fmla="*/ 188714 h 225957"/>
                  <a:gd name="connsiteX260" fmla="*/ 246511 w 397940"/>
                  <a:gd name="connsiteY260" fmla="*/ 188272 h 225957"/>
                  <a:gd name="connsiteX261" fmla="*/ 250627 w 397940"/>
                  <a:gd name="connsiteY261" fmla="*/ 186269 h 225957"/>
                  <a:gd name="connsiteX262" fmla="*/ 255019 w 397940"/>
                  <a:gd name="connsiteY262" fmla="*/ 183259 h 225957"/>
                  <a:gd name="connsiteX263" fmla="*/ 254397 w 397940"/>
                  <a:gd name="connsiteY263" fmla="*/ 180890 h 225957"/>
                  <a:gd name="connsiteX264" fmla="*/ 253455 w 397940"/>
                  <a:gd name="connsiteY264" fmla="*/ 179138 h 225957"/>
                  <a:gd name="connsiteX265" fmla="*/ 251348 w 397940"/>
                  <a:gd name="connsiteY265" fmla="*/ 179619 h 225957"/>
                  <a:gd name="connsiteX266" fmla="*/ 249823 w 397940"/>
                  <a:gd name="connsiteY266" fmla="*/ 180206 h 225957"/>
                  <a:gd name="connsiteX267" fmla="*/ 246144 w 397940"/>
                  <a:gd name="connsiteY267" fmla="*/ 178325 h 225957"/>
                  <a:gd name="connsiteX268" fmla="*/ 244790 w 397940"/>
                  <a:gd name="connsiteY268" fmla="*/ 176940 h 225957"/>
                  <a:gd name="connsiteX269" fmla="*/ 239031 w 397940"/>
                  <a:gd name="connsiteY269" fmla="*/ 178377 h 225957"/>
                  <a:gd name="connsiteX270" fmla="*/ 235826 w 397940"/>
                  <a:gd name="connsiteY270" fmla="*/ 178164 h 225957"/>
                  <a:gd name="connsiteX271" fmla="*/ 228748 w 397940"/>
                  <a:gd name="connsiteY271" fmla="*/ 179485 h 225957"/>
                  <a:gd name="connsiteX272" fmla="*/ 225500 w 397940"/>
                  <a:gd name="connsiteY272" fmla="*/ 178195 h 225957"/>
                  <a:gd name="connsiteX273" fmla="*/ 218996 w 397940"/>
                  <a:gd name="connsiteY273" fmla="*/ 174580 h 225957"/>
                  <a:gd name="connsiteX274" fmla="*/ 216551 w 397940"/>
                  <a:gd name="connsiteY274" fmla="*/ 173853 h 225957"/>
                  <a:gd name="connsiteX275" fmla="*/ 214474 w 397940"/>
                  <a:gd name="connsiteY275" fmla="*/ 174007 h 225957"/>
                  <a:gd name="connsiteX276" fmla="*/ 213340 w 397940"/>
                  <a:gd name="connsiteY276" fmla="*/ 172817 h 225957"/>
                  <a:gd name="connsiteX277" fmla="*/ 214731 w 397940"/>
                  <a:gd name="connsiteY277" fmla="*/ 172221 h 225957"/>
                  <a:gd name="connsiteX278" fmla="*/ 216346 w 397940"/>
                  <a:gd name="connsiteY278" fmla="*/ 172151 h 225957"/>
                  <a:gd name="connsiteX279" fmla="*/ 218022 w 397940"/>
                  <a:gd name="connsiteY279" fmla="*/ 171715 h 225957"/>
                  <a:gd name="connsiteX280" fmla="*/ 218495 w 397940"/>
                  <a:gd name="connsiteY280" fmla="*/ 171084 h 225957"/>
                  <a:gd name="connsiteX281" fmla="*/ 218394 w 397940"/>
                  <a:gd name="connsiteY281" fmla="*/ 169897 h 225957"/>
                  <a:gd name="connsiteX282" fmla="*/ 215016 w 397940"/>
                  <a:gd name="connsiteY282" fmla="*/ 168996 h 225957"/>
                  <a:gd name="connsiteX283" fmla="*/ 211874 w 397940"/>
                  <a:gd name="connsiteY283" fmla="*/ 168737 h 225957"/>
                  <a:gd name="connsiteX284" fmla="*/ 209883 w 397940"/>
                  <a:gd name="connsiteY284" fmla="*/ 167669 h 225957"/>
                  <a:gd name="connsiteX285" fmla="*/ 208363 w 397940"/>
                  <a:gd name="connsiteY285" fmla="*/ 166446 h 225957"/>
                  <a:gd name="connsiteX286" fmla="*/ 211926 w 397940"/>
                  <a:gd name="connsiteY286" fmla="*/ 166427 h 225957"/>
                  <a:gd name="connsiteX287" fmla="*/ 215506 w 397940"/>
                  <a:gd name="connsiteY287" fmla="*/ 167352 h 225957"/>
                  <a:gd name="connsiteX288" fmla="*/ 221112 w 397940"/>
                  <a:gd name="connsiteY288" fmla="*/ 167693 h 225957"/>
                  <a:gd name="connsiteX289" fmla="*/ 226195 w 397940"/>
                  <a:gd name="connsiteY289" fmla="*/ 168649 h 225957"/>
                  <a:gd name="connsiteX290" fmla="*/ 227469 w 397940"/>
                  <a:gd name="connsiteY290" fmla="*/ 167460 h 225957"/>
                  <a:gd name="connsiteX291" fmla="*/ 230423 w 397940"/>
                  <a:gd name="connsiteY291" fmla="*/ 165399 h 225957"/>
                  <a:gd name="connsiteX292" fmla="*/ 230987 w 397940"/>
                  <a:gd name="connsiteY292" fmla="*/ 164742 h 225957"/>
                  <a:gd name="connsiteX293" fmla="*/ 226035 w 397940"/>
                  <a:gd name="connsiteY293" fmla="*/ 166153 h 225957"/>
                  <a:gd name="connsiteX294" fmla="*/ 221019 w 397940"/>
                  <a:gd name="connsiteY294" fmla="*/ 165253 h 225957"/>
                  <a:gd name="connsiteX295" fmla="*/ 219186 w 397940"/>
                  <a:gd name="connsiteY295" fmla="*/ 163995 h 225957"/>
                  <a:gd name="connsiteX296" fmla="*/ 217637 w 397940"/>
                  <a:gd name="connsiteY296" fmla="*/ 162151 h 225957"/>
                  <a:gd name="connsiteX297" fmla="*/ 216987 w 397940"/>
                  <a:gd name="connsiteY297" fmla="*/ 160047 h 225957"/>
                  <a:gd name="connsiteX298" fmla="*/ 217411 w 397940"/>
                  <a:gd name="connsiteY298" fmla="*/ 158085 h 225957"/>
                  <a:gd name="connsiteX299" fmla="*/ 216869 w 397940"/>
                  <a:gd name="connsiteY299" fmla="*/ 154539 h 225957"/>
                  <a:gd name="connsiteX300" fmla="*/ 215215 w 397940"/>
                  <a:gd name="connsiteY300" fmla="*/ 151380 h 225957"/>
                  <a:gd name="connsiteX301" fmla="*/ 214628 w 397940"/>
                  <a:gd name="connsiteY301" fmla="*/ 149645 h 225957"/>
                  <a:gd name="connsiteX302" fmla="*/ 212880 w 397940"/>
                  <a:gd name="connsiteY302" fmla="*/ 148089 h 225957"/>
                  <a:gd name="connsiteX303" fmla="*/ 214599 w 397940"/>
                  <a:gd name="connsiteY303" fmla="*/ 151607 h 225957"/>
                  <a:gd name="connsiteX304" fmla="*/ 215241 w 397940"/>
                  <a:gd name="connsiteY304" fmla="*/ 153945 h 225957"/>
                  <a:gd name="connsiteX305" fmla="*/ 216275 w 397940"/>
                  <a:gd name="connsiteY305" fmla="*/ 156097 h 225957"/>
                  <a:gd name="connsiteX306" fmla="*/ 216031 w 397940"/>
                  <a:gd name="connsiteY306" fmla="*/ 161794 h 225957"/>
                  <a:gd name="connsiteX307" fmla="*/ 215394 w 397940"/>
                  <a:gd name="connsiteY307" fmla="*/ 163793 h 225957"/>
                  <a:gd name="connsiteX308" fmla="*/ 213332 w 397940"/>
                  <a:gd name="connsiteY308" fmla="*/ 164297 h 225957"/>
                  <a:gd name="connsiteX309" fmla="*/ 210622 w 397940"/>
                  <a:gd name="connsiteY309" fmla="*/ 163997 h 225957"/>
                  <a:gd name="connsiteX310" fmla="*/ 207860 w 397940"/>
                  <a:gd name="connsiteY310" fmla="*/ 163376 h 225957"/>
                  <a:gd name="connsiteX311" fmla="*/ 208551 w 397940"/>
                  <a:gd name="connsiteY311" fmla="*/ 160245 h 225957"/>
                  <a:gd name="connsiteX312" fmla="*/ 207080 w 397940"/>
                  <a:gd name="connsiteY312" fmla="*/ 161328 h 225957"/>
                  <a:gd name="connsiteX313" fmla="*/ 205003 w 397940"/>
                  <a:gd name="connsiteY313" fmla="*/ 164375 h 225957"/>
                  <a:gd name="connsiteX314" fmla="*/ 203176 w 397940"/>
                  <a:gd name="connsiteY314" fmla="*/ 164829 h 225957"/>
                  <a:gd name="connsiteX315" fmla="*/ 199119 w 397940"/>
                  <a:gd name="connsiteY315" fmla="*/ 164496 h 225957"/>
                  <a:gd name="connsiteX316" fmla="*/ 191589 w 397940"/>
                  <a:gd name="connsiteY316" fmla="*/ 166510 h 225957"/>
                  <a:gd name="connsiteX317" fmla="*/ 191071 w 397940"/>
                  <a:gd name="connsiteY317" fmla="*/ 168702 h 225957"/>
                  <a:gd name="connsiteX318" fmla="*/ 189939 w 397940"/>
                  <a:gd name="connsiteY318" fmla="*/ 171665 h 225957"/>
                  <a:gd name="connsiteX319" fmla="*/ 188847 w 397940"/>
                  <a:gd name="connsiteY319" fmla="*/ 173389 h 225957"/>
                  <a:gd name="connsiteX320" fmla="*/ 188503 w 397940"/>
                  <a:gd name="connsiteY320" fmla="*/ 174428 h 225957"/>
                  <a:gd name="connsiteX321" fmla="*/ 185292 w 397940"/>
                  <a:gd name="connsiteY321" fmla="*/ 178886 h 225957"/>
                  <a:gd name="connsiteX322" fmla="*/ 184882 w 397940"/>
                  <a:gd name="connsiteY322" fmla="*/ 179307 h 225957"/>
                  <a:gd name="connsiteX323" fmla="*/ 178825 w 397940"/>
                  <a:gd name="connsiteY323" fmla="*/ 185475 h 225957"/>
                  <a:gd name="connsiteX324" fmla="*/ 178054 w 397940"/>
                  <a:gd name="connsiteY324" fmla="*/ 185938 h 225957"/>
                  <a:gd name="connsiteX325" fmla="*/ 174128 w 397940"/>
                  <a:gd name="connsiteY325" fmla="*/ 187371 h 225957"/>
                  <a:gd name="connsiteX326" fmla="*/ 171807 w 397940"/>
                  <a:gd name="connsiteY326" fmla="*/ 188626 h 225957"/>
                  <a:gd name="connsiteX327" fmla="*/ 170028 w 397940"/>
                  <a:gd name="connsiteY327" fmla="*/ 189186 h 225957"/>
                  <a:gd name="connsiteX328" fmla="*/ 167017 w 397940"/>
                  <a:gd name="connsiteY328" fmla="*/ 188563 h 225957"/>
                  <a:gd name="connsiteX329" fmla="*/ 165765 w 397940"/>
                  <a:gd name="connsiteY329" fmla="*/ 189451 h 225957"/>
                  <a:gd name="connsiteX330" fmla="*/ 165173 w 397940"/>
                  <a:gd name="connsiteY330" fmla="*/ 190550 h 225957"/>
                  <a:gd name="connsiteX331" fmla="*/ 165162 w 397940"/>
                  <a:gd name="connsiteY331" fmla="*/ 192821 h 225957"/>
                  <a:gd name="connsiteX332" fmla="*/ 166691 w 397940"/>
                  <a:gd name="connsiteY332" fmla="*/ 194452 h 225957"/>
                  <a:gd name="connsiteX333" fmla="*/ 167944 w 397940"/>
                  <a:gd name="connsiteY333" fmla="*/ 199870 h 225957"/>
                  <a:gd name="connsiteX334" fmla="*/ 167477 w 397940"/>
                  <a:gd name="connsiteY334" fmla="*/ 202156 h 225957"/>
                  <a:gd name="connsiteX335" fmla="*/ 166285 w 397940"/>
                  <a:gd name="connsiteY335" fmla="*/ 200676 h 225957"/>
                  <a:gd name="connsiteX336" fmla="*/ 164422 w 397940"/>
                  <a:gd name="connsiteY336" fmla="*/ 199116 h 225957"/>
                  <a:gd name="connsiteX337" fmla="*/ 160796 w 397940"/>
                  <a:gd name="connsiteY337" fmla="*/ 197775 h 225957"/>
                  <a:gd name="connsiteX338" fmla="*/ 156812 w 397940"/>
                  <a:gd name="connsiteY338" fmla="*/ 198234 h 225957"/>
                  <a:gd name="connsiteX339" fmla="*/ 152476 w 397940"/>
                  <a:gd name="connsiteY339" fmla="*/ 200494 h 225957"/>
                  <a:gd name="connsiteX340" fmla="*/ 149533 w 397940"/>
                  <a:gd name="connsiteY340" fmla="*/ 201334 h 225957"/>
                  <a:gd name="connsiteX341" fmla="*/ 147984 w 397940"/>
                  <a:gd name="connsiteY341" fmla="*/ 200754 h 225957"/>
                  <a:gd name="connsiteX342" fmla="*/ 147043 w 397940"/>
                  <a:gd name="connsiteY342" fmla="*/ 200787 h 225957"/>
                  <a:gd name="connsiteX343" fmla="*/ 146708 w 397940"/>
                  <a:gd name="connsiteY343" fmla="*/ 201435 h 225957"/>
                  <a:gd name="connsiteX344" fmla="*/ 146780 w 397940"/>
                  <a:gd name="connsiteY344" fmla="*/ 201965 h 225957"/>
                  <a:gd name="connsiteX345" fmla="*/ 147257 w 397940"/>
                  <a:gd name="connsiteY345" fmla="*/ 202376 h 225957"/>
                  <a:gd name="connsiteX346" fmla="*/ 147187 w 397940"/>
                  <a:gd name="connsiteY346" fmla="*/ 202676 h 225957"/>
                  <a:gd name="connsiteX347" fmla="*/ 146579 w 397940"/>
                  <a:gd name="connsiteY347" fmla="*/ 202863 h 225957"/>
                  <a:gd name="connsiteX348" fmla="*/ 139736 w 397940"/>
                  <a:gd name="connsiteY348" fmla="*/ 201272 h 225957"/>
                  <a:gd name="connsiteX349" fmla="*/ 136782 w 397940"/>
                  <a:gd name="connsiteY349" fmla="*/ 199766 h 225957"/>
                  <a:gd name="connsiteX350" fmla="*/ 134456 w 397940"/>
                  <a:gd name="connsiteY350" fmla="*/ 196930 h 225957"/>
                  <a:gd name="connsiteX351" fmla="*/ 135613 w 397940"/>
                  <a:gd name="connsiteY351" fmla="*/ 196012 h 225957"/>
                  <a:gd name="connsiteX352" fmla="*/ 136620 w 397940"/>
                  <a:gd name="connsiteY352" fmla="*/ 195608 h 225957"/>
                  <a:gd name="connsiteX353" fmla="*/ 140181 w 397940"/>
                  <a:gd name="connsiteY353" fmla="*/ 195372 h 225957"/>
                  <a:gd name="connsiteX354" fmla="*/ 140792 w 397940"/>
                  <a:gd name="connsiteY354" fmla="*/ 195082 h 225957"/>
                  <a:gd name="connsiteX355" fmla="*/ 140852 w 397940"/>
                  <a:gd name="connsiteY355" fmla="*/ 194427 h 225957"/>
                  <a:gd name="connsiteX356" fmla="*/ 141118 w 397940"/>
                  <a:gd name="connsiteY356" fmla="*/ 193579 h 225957"/>
                  <a:gd name="connsiteX357" fmla="*/ 141023 w 397940"/>
                  <a:gd name="connsiteY357" fmla="*/ 192330 h 225957"/>
                  <a:gd name="connsiteX358" fmla="*/ 140627 w 397940"/>
                  <a:gd name="connsiteY358" fmla="*/ 191011 h 225957"/>
                  <a:gd name="connsiteX359" fmla="*/ 142191 w 397940"/>
                  <a:gd name="connsiteY359" fmla="*/ 189084 h 225957"/>
                  <a:gd name="connsiteX360" fmla="*/ 144519 w 397940"/>
                  <a:gd name="connsiteY360" fmla="*/ 187484 h 225957"/>
                  <a:gd name="connsiteX361" fmla="*/ 145883 w 397940"/>
                  <a:gd name="connsiteY361" fmla="*/ 185881 h 225957"/>
                  <a:gd name="connsiteX362" fmla="*/ 146093 w 397940"/>
                  <a:gd name="connsiteY362" fmla="*/ 183532 h 225957"/>
                  <a:gd name="connsiteX363" fmla="*/ 148542 w 397940"/>
                  <a:gd name="connsiteY363" fmla="*/ 182387 h 225957"/>
                  <a:gd name="connsiteX364" fmla="*/ 150714 w 397940"/>
                  <a:gd name="connsiteY364" fmla="*/ 180418 h 225957"/>
                  <a:gd name="connsiteX365" fmla="*/ 151247 w 397940"/>
                  <a:gd name="connsiteY365" fmla="*/ 178270 h 225957"/>
                  <a:gd name="connsiteX366" fmla="*/ 152007 w 397940"/>
                  <a:gd name="connsiteY366" fmla="*/ 176920 h 225957"/>
                  <a:gd name="connsiteX367" fmla="*/ 150625 w 397940"/>
                  <a:gd name="connsiteY367" fmla="*/ 173821 h 225957"/>
                  <a:gd name="connsiteX368" fmla="*/ 150334 w 397940"/>
                  <a:gd name="connsiteY368" fmla="*/ 171775 h 225957"/>
                  <a:gd name="connsiteX369" fmla="*/ 150265 w 397940"/>
                  <a:gd name="connsiteY369" fmla="*/ 170059 h 225957"/>
                  <a:gd name="connsiteX370" fmla="*/ 150949 w 397940"/>
                  <a:gd name="connsiteY370" fmla="*/ 169105 h 225957"/>
                  <a:gd name="connsiteX371" fmla="*/ 152973 w 397940"/>
                  <a:gd name="connsiteY371" fmla="*/ 168036 h 225957"/>
                  <a:gd name="connsiteX372" fmla="*/ 155104 w 397940"/>
                  <a:gd name="connsiteY372" fmla="*/ 167207 h 225957"/>
                  <a:gd name="connsiteX373" fmla="*/ 155987 w 397940"/>
                  <a:gd name="connsiteY373" fmla="*/ 167288 h 225957"/>
                  <a:gd name="connsiteX374" fmla="*/ 156309 w 397940"/>
                  <a:gd name="connsiteY374" fmla="*/ 167816 h 225957"/>
                  <a:gd name="connsiteX375" fmla="*/ 156393 w 397940"/>
                  <a:gd name="connsiteY375" fmla="*/ 171301 h 225957"/>
                  <a:gd name="connsiteX376" fmla="*/ 156819 w 397940"/>
                  <a:gd name="connsiteY376" fmla="*/ 171367 h 225957"/>
                  <a:gd name="connsiteX377" fmla="*/ 157499 w 397940"/>
                  <a:gd name="connsiteY377" fmla="*/ 170933 h 225957"/>
                  <a:gd name="connsiteX378" fmla="*/ 158611 w 397940"/>
                  <a:gd name="connsiteY378" fmla="*/ 168881 h 225957"/>
                  <a:gd name="connsiteX379" fmla="*/ 159377 w 397940"/>
                  <a:gd name="connsiteY379" fmla="*/ 169478 h 225957"/>
                  <a:gd name="connsiteX380" fmla="*/ 160556 w 397940"/>
                  <a:gd name="connsiteY380" fmla="*/ 169705 h 225957"/>
                  <a:gd name="connsiteX381" fmla="*/ 161440 w 397940"/>
                  <a:gd name="connsiteY381" fmla="*/ 169176 h 225957"/>
                  <a:gd name="connsiteX382" fmla="*/ 162014 w 397940"/>
                  <a:gd name="connsiteY382" fmla="*/ 169237 h 225957"/>
                  <a:gd name="connsiteX383" fmla="*/ 162726 w 397940"/>
                  <a:gd name="connsiteY383" fmla="*/ 169767 h 225957"/>
                  <a:gd name="connsiteX384" fmla="*/ 164143 w 397940"/>
                  <a:gd name="connsiteY384" fmla="*/ 170513 h 225957"/>
                  <a:gd name="connsiteX385" fmla="*/ 165467 w 397940"/>
                  <a:gd name="connsiteY385" fmla="*/ 170761 h 225957"/>
                  <a:gd name="connsiteX386" fmla="*/ 166564 w 397940"/>
                  <a:gd name="connsiteY386" fmla="*/ 170264 h 225957"/>
                  <a:gd name="connsiteX387" fmla="*/ 167499 w 397940"/>
                  <a:gd name="connsiteY387" fmla="*/ 169377 h 225957"/>
                  <a:gd name="connsiteX388" fmla="*/ 168497 w 397940"/>
                  <a:gd name="connsiteY388" fmla="*/ 169680 h 225957"/>
                  <a:gd name="connsiteX389" fmla="*/ 170397 w 397940"/>
                  <a:gd name="connsiteY389" fmla="*/ 172100 h 225957"/>
                  <a:gd name="connsiteX390" fmla="*/ 171284 w 397940"/>
                  <a:gd name="connsiteY390" fmla="*/ 171832 h 225957"/>
                  <a:gd name="connsiteX391" fmla="*/ 175655 w 397940"/>
                  <a:gd name="connsiteY391" fmla="*/ 171343 h 225957"/>
                  <a:gd name="connsiteX392" fmla="*/ 176359 w 397940"/>
                  <a:gd name="connsiteY392" fmla="*/ 170685 h 225957"/>
                  <a:gd name="connsiteX393" fmla="*/ 176879 w 397940"/>
                  <a:gd name="connsiteY393" fmla="*/ 170088 h 225957"/>
                  <a:gd name="connsiteX394" fmla="*/ 172308 w 397940"/>
                  <a:gd name="connsiteY394" fmla="*/ 166875 h 225957"/>
                  <a:gd name="connsiteX395" fmla="*/ 172539 w 397940"/>
                  <a:gd name="connsiteY395" fmla="*/ 164481 h 225957"/>
                  <a:gd name="connsiteX396" fmla="*/ 172710 w 397940"/>
                  <a:gd name="connsiteY396" fmla="*/ 161734 h 225957"/>
                  <a:gd name="connsiteX397" fmla="*/ 172170 w 397940"/>
                  <a:gd name="connsiteY397" fmla="*/ 160102 h 225957"/>
                  <a:gd name="connsiteX398" fmla="*/ 171280 w 397940"/>
                  <a:gd name="connsiteY398" fmla="*/ 158807 h 225957"/>
                  <a:gd name="connsiteX399" fmla="*/ 167784 w 397940"/>
                  <a:gd name="connsiteY399" fmla="*/ 157302 h 225957"/>
                  <a:gd name="connsiteX400" fmla="*/ 165087 w 397940"/>
                  <a:gd name="connsiteY400" fmla="*/ 155743 h 225957"/>
                  <a:gd name="connsiteX401" fmla="*/ 164517 w 397940"/>
                  <a:gd name="connsiteY401" fmla="*/ 155040 h 225957"/>
                  <a:gd name="connsiteX402" fmla="*/ 164443 w 397940"/>
                  <a:gd name="connsiteY402" fmla="*/ 154128 h 225957"/>
                  <a:gd name="connsiteX403" fmla="*/ 164329 w 397940"/>
                  <a:gd name="connsiteY403" fmla="*/ 152710 h 225957"/>
                  <a:gd name="connsiteX404" fmla="*/ 163258 w 397940"/>
                  <a:gd name="connsiteY404" fmla="*/ 151492 h 225957"/>
                  <a:gd name="connsiteX405" fmla="*/ 163167 w 397940"/>
                  <a:gd name="connsiteY405" fmla="*/ 150461 h 225957"/>
                  <a:gd name="connsiteX406" fmla="*/ 163850 w 397940"/>
                  <a:gd name="connsiteY406" fmla="*/ 148853 h 225957"/>
                  <a:gd name="connsiteX407" fmla="*/ 164016 w 397940"/>
                  <a:gd name="connsiteY407" fmla="*/ 147139 h 225957"/>
                  <a:gd name="connsiteX408" fmla="*/ 163791 w 397940"/>
                  <a:gd name="connsiteY408" fmla="*/ 146462 h 225957"/>
                  <a:gd name="connsiteX409" fmla="*/ 163161 w 397940"/>
                  <a:gd name="connsiteY409" fmla="*/ 145910 h 225957"/>
                  <a:gd name="connsiteX410" fmla="*/ 161945 w 397940"/>
                  <a:gd name="connsiteY410" fmla="*/ 145856 h 225957"/>
                  <a:gd name="connsiteX411" fmla="*/ 160347 w 397940"/>
                  <a:gd name="connsiteY411" fmla="*/ 144865 h 225957"/>
                  <a:gd name="connsiteX412" fmla="*/ 159250 w 397940"/>
                  <a:gd name="connsiteY412" fmla="*/ 143529 h 225957"/>
                  <a:gd name="connsiteX413" fmla="*/ 156305 w 397940"/>
                  <a:gd name="connsiteY413" fmla="*/ 141602 h 225957"/>
                  <a:gd name="connsiteX414" fmla="*/ 155402 w 397940"/>
                  <a:gd name="connsiteY414" fmla="*/ 141288 h 225957"/>
                  <a:gd name="connsiteX415" fmla="*/ 154851 w 397940"/>
                  <a:gd name="connsiteY415" fmla="*/ 140333 h 225957"/>
                  <a:gd name="connsiteX416" fmla="*/ 154588 w 397940"/>
                  <a:gd name="connsiteY416" fmla="*/ 139192 h 225957"/>
                  <a:gd name="connsiteX417" fmla="*/ 155206 w 397940"/>
                  <a:gd name="connsiteY417" fmla="*/ 137774 h 225957"/>
                  <a:gd name="connsiteX418" fmla="*/ 155983 w 397940"/>
                  <a:gd name="connsiteY418" fmla="*/ 135590 h 225957"/>
                  <a:gd name="connsiteX419" fmla="*/ 156529 w 397940"/>
                  <a:gd name="connsiteY419" fmla="*/ 133539 h 225957"/>
                  <a:gd name="connsiteX420" fmla="*/ 156538 w 397940"/>
                  <a:gd name="connsiteY420" fmla="*/ 132316 h 225957"/>
                  <a:gd name="connsiteX421" fmla="*/ 156177 w 397940"/>
                  <a:gd name="connsiteY421" fmla="*/ 129290 h 225957"/>
                  <a:gd name="connsiteX422" fmla="*/ 154642 w 397940"/>
                  <a:gd name="connsiteY422" fmla="*/ 126975 h 225957"/>
                  <a:gd name="connsiteX423" fmla="*/ 153925 w 397940"/>
                  <a:gd name="connsiteY423" fmla="*/ 126668 h 225957"/>
                  <a:gd name="connsiteX424" fmla="*/ 152686 w 397940"/>
                  <a:gd name="connsiteY424" fmla="*/ 127320 h 225957"/>
                  <a:gd name="connsiteX425" fmla="*/ 151279 w 397940"/>
                  <a:gd name="connsiteY425" fmla="*/ 127865 h 225957"/>
                  <a:gd name="connsiteX426" fmla="*/ 150170 w 397940"/>
                  <a:gd name="connsiteY426" fmla="*/ 127354 h 225957"/>
                  <a:gd name="connsiteX427" fmla="*/ 148902 w 397940"/>
                  <a:gd name="connsiteY427" fmla="*/ 126098 h 225957"/>
                  <a:gd name="connsiteX428" fmla="*/ 146868 w 397940"/>
                  <a:gd name="connsiteY428" fmla="*/ 122599 h 225957"/>
                  <a:gd name="connsiteX429" fmla="*/ 143061 w 397940"/>
                  <a:gd name="connsiteY429" fmla="*/ 121898 h 225957"/>
                  <a:gd name="connsiteX430" fmla="*/ 141487 w 397940"/>
                  <a:gd name="connsiteY430" fmla="*/ 121731 h 225957"/>
                  <a:gd name="connsiteX431" fmla="*/ 139997 w 397940"/>
                  <a:gd name="connsiteY431" fmla="*/ 123420 h 225957"/>
                  <a:gd name="connsiteX432" fmla="*/ 139531 w 397940"/>
                  <a:gd name="connsiteY432" fmla="*/ 122907 h 225957"/>
                  <a:gd name="connsiteX433" fmla="*/ 139112 w 397940"/>
                  <a:gd name="connsiteY433" fmla="*/ 121828 h 225957"/>
                  <a:gd name="connsiteX434" fmla="*/ 138326 w 397940"/>
                  <a:gd name="connsiteY434" fmla="*/ 121397 h 225957"/>
                  <a:gd name="connsiteX435" fmla="*/ 137287 w 397940"/>
                  <a:gd name="connsiteY435" fmla="*/ 121897 h 225957"/>
                  <a:gd name="connsiteX436" fmla="*/ 136987 w 397940"/>
                  <a:gd name="connsiteY436" fmla="*/ 121416 h 225957"/>
                  <a:gd name="connsiteX437" fmla="*/ 137434 w 397940"/>
                  <a:gd name="connsiteY437" fmla="*/ 119957 h 225957"/>
                  <a:gd name="connsiteX438" fmla="*/ 136192 w 397940"/>
                  <a:gd name="connsiteY438" fmla="*/ 119235 h 225957"/>
                  <a:gd name="connsiteX439" fmla="*/ 133268 w 397940"/>
                  <a:gd name="connsiteY439" fmla="*/ 119251 h 225957"/>
                  <a:gd name="connsiteX440" fmla="*/ 131714 w 397940"/>
                  <a:gd name="connsiteY440" fmla="*/ 118713 h 225957"/>
                  <a:gd name="connsiteX441" fmla="*/ 131528 w 397940"/>
                  <a:gd name="connsiteY441" fmla="*/ 117615 h 225957"/>
                  <a:gd name="connsiteX442" fmla="*/ 130608 w 397940"/>
                  <a:gd name="connsiteY442" fmla="*/ 116894 h 225957"/>
                  <a:gd name="connsiteX443" fmla="*/ 128947 w 397940"/>
                  <a:gd name="connsiteY443" fmla="*/ 116547 h 225957"/>
                  <a:gd name="connsiteX444" fmla="*/ 127339 w 397940"/>
                  <a:gd name="connsiteY444" fmla="*/ 115649 h 225957"/>
                  <a:gd name="connsiteX445" fmla="*/ 125778 w 397940"/>
                  <a:gd name="connsiteY445" fmla="*/ 114203 h 225957"/>
                  <a:gd name="connsiteX446" fmla="*/ 123443 w 397940"/>
                  <a:gd name="connsiteY446" fmla="*/ 113260 h 225957"/>
                  <a:gd name="connsiteX447" fmla="*/ 120331 w 397940"/>
                  <a:gd name="connsiteY447" fmla="*/ 112824 h 225957"/>
                  <a:gd name="connsiteX448" fmla="*/ 120077 w 397940"/>
                  <a:gd name="connsiteY448" fmla="*/ 112668 h 225957"/>
                  <a:gd name="connsiteX449" fmla="*/ 119790 w 397940"/>
                  <a:gd name="connsiteY449" fmla="*/ 112460 h 225957"/>
                  <a:gd name="connsiteX450" fmla="*/ 117781 w 397940"/>
                  <a:gd name="connsiteY450" fmla="*/ 113443 h 225957"/>
                  <a:gd name="connsiteX451" fmla="*/ 116574 w 397940"/>
                  <a:gd name="connsiteY451" fmla="*/ 114221 h 225957"/>
                  <a:gd name="connsiteX452" fmla="*/ 115095 w 397940"/>
                  <a:gd name="connsiteY452" fmla="*/ 113737 h 225957"/>
                  <a:gd name="connsiteX453" fmla="*/ 112698 w 397940"/>
                  <a:gd name="connsiteY453" fmla="*/ 115473 h 225957"/>
                  <a:gd name="connsiteX454" fmla="*/ 107833 w 397940"/>
                  <a:gd name="connsiteY454" fmla="*/ 115563 h 225957"/>
                  <a:gd name="connsiteX455" fmla="*/ 105447 w 397940"/>
                  <a:gd name="connsiteY455" fmla="*/ 115459 h 225957"/>
                  <a:gd name="connsiteX456" fmla="*/ 104263 w 397940"/>
                  <a:gd name="connsiteY456" fmla="*/ 115028 h 225957"/>
                  <a:gd name="connsiteX457" fmla="*/ 99694 w 397940"/>
                  <a:gd name="connsiteY457" fmla="*/ 117662 h 225957"/>
                  <a:gd name="connsiteX458" fmla="*/ 99219 w 397940"/>
                  <a:gd name="connsiteY458" fmla="*/ 118632 h 225957"/>
                  <a:gd name="connsiteX459" fmla="*/ 98191 w 397940"/>
                  <a:gd name="connsiteY459" fmla="*/ 118955 h 225957"/>
                  <a:gd name="connsiteX460" fmla="*/ 95315 w 397940"/>
                  <a:gd name="connsiteY460" fmla="*/ 119478 h 225957"/>
                  <a:gd name="connsiteX461" fmla="*/ 92292 w 397940"/>
                  <a:gd name="connsiteY461" fmla="*/ 120220 h 225957"/>
                  <a:gd name="connsiteX462" fmla="*/ 91657 w 397940"/>
                  <a:gd name="connsiteY462" fmla="*/ 122778 h 225957"/>
                  <a:gd name="connsiteX463" fmla="*/ 90756 w 397940"/>
                  <a:gd name="connsiteY463" fmla="*/ 124159 h 225957"/>
                  <a:gd name="connsiteX464" fmla="*/ 89131 w 397940"/>
                  <a:gd name="connsiteY464" fmla="*/ 126186 h 225957"/>
                  <a:gd name="connsiteX465" fmla="*/ 83514 w 397940"/>
                  <a:gd name="connsiteY465" fmla="*/ 126890 h 225957"/>
                  <a:gd name="connsiteX466" fmla="*/ 78662 w 397940"/>
                  <a:gd name="connsiteY466" fmla="*/ 127880 h 225957"/>
                  <a:gd name="connsiteX467" fmla="*/ 73687 w 397940"/>
                  <a:gd name="connsiteY467" fmla="*/ 128491 h 225957"/>
                  <a:gd name="connsiteX468" fmla="*/ 67171 w 397940"/>
                  <a:gd name="connsiteY468" fmla="*/ 130962 h 225957"/>
                  <a:gd name="connsiteX469" fmla="*/ 65053 w 397940"/>
                  <a:gd name="connsiteY469" fmla="*/ 133140 h 225957"/>
                  <a:gd name="connsiteX470" fmla="*/ 62959 w 397940"/>
                  <a:gd name="connsiteY470" fmla="*/ 133747 h 225957"/>
                  <a:gd name="connsiteX471" fmla="*/ 61063 w 397940"/>
                  <a:gd name="connsiteY471" fmla="*/ 133926 h 225957"/>
                  <a:gd name="connsiteX472" fmla="*/ 59836 w 397940"/>
                  <a:gd name="connsiteY472" fmla="*/ 132714 h 225957"/>
                  <a:gd name="connsiteX473" fmla="*/ 55703 w 397940"/>
                  <a:gd name="connsiteY473" fmla="*/ 129457 h 225957"/>
                  <a:gd name="connsiteX474" fmla="*/ 54109 w 397940"/>
                  <a:gd name="connsiteY474" fmla="*/ 127920 h 225957"/>
                  <a:gd name="connsiteX475" fmla="*/ 52013 w 397940"/>
                  <a:gd name="connsiteY475" fmla="*/ 127467 h 225957"/>
                  <a:gd name="connsiteX476" fmla="*/ 49733 w 397940"/>
                  <a:gd name="connsiteY476" fmla="*/ 127723 h 225957"/>
                  <a:gd name="connsiteX477" fmla="*/ 47543 w 397940"/>
                  <a:gd name="connsiteY477" fmla="*/ 128480 h 225957"/>
                  <a:gd name="connsiteX478" fmla="*/ 45239 w 397940"/>
                  <a:gd name="connsiteY478" fmla="*/ 128625 h 225957"/>
                  <a:gd name="connsiteX479" fmla="*/ 42630 w 397940"/>
                  <a:gd name="connsiteY479" fmla="*/ 127533 h 225957"/>
                  <a:gd name="connsiteX480" fmla="*/ 42356 w 397940"/>
                  <a:gd name="connsiteY480" fmla="*/ 127639 h 225957"/>
                  <a:gd name="connsiteX481" fmla="*/ 41350 w 397940"/>
                  <a:gd name="connsiteY481" fmla="*/ 127786 h 225957"/>
                  <a:gd name="connsiteX482" fmla="*/ 34874 w 397940"/>
                  <a:gd name="connsiteY482" fmla="*/ 126466 h 225957"/>
                  <a:gd name="connsiteX483" fmla="*/ 34278 w 397940"/>
                  <a:gd name="connsiteY483" fmla="*/ 126247 h 225957"/>
                  <a:gd name="connsiteX484" fmla="*/ 33991 w 397940"/>
                  <a:gd name="connsiteY484" fmla="*/ 126192 h 225957"/>
                  <a:gd name="connsiteX485" fmla="*/ 33099 w 397940"/>
                  <a:gd name="connsiteY485" fmla="*/ 126093 h 225957"/>
                  <a:gd name="connsiteX486" fmla="*/ 28223 w 397940"/>
                  <a:gd name="connsiteY486" fmla="*/ 126258 h 225957"/>
                  <a:gd name="connsiteX487" fmla="*/ 23677 w 397940"/>
                  <a:gd name="connsiteY487" fmla="*/ 123589 h 225957"/>
                  <a:gd name="connsiteX488" fmla="*/ 22280 w 397940"/>
                  <a:gd name="connsiteY488" fmla="*/ 123508 h 225957"/>
                  <a:gd name="connsiteX489" fmla="*/ 21205 w 397940"/>
                  <a:gd name="connsiteY489" fmla="*/ 124589 h 225957"/>
                  <a:gd name="connsiteX490" fmla="*/ 20408 w 397940"/>
                  <a:gd name="connsiteY490" fmla="*/ 125791 h 225957"/>
                  <a:gd name="connsiteX491" fmla="*/ 17270 w 397940"/>
                  <a:gd name="connsiteY491" fmla="*/ 126984 h 225957"/>
                  <a:gd name="connsiteX492" fmla="*/ 16469 w 397940"/>
                  <a:gd name="connsiteY492" fmla="*/ 127463 h 225957"/>
                  <a:gd name="connsiteX493" fmla="*/ 16014 w 397940"/>
                  <a:gd name="connsiteY493" fmla="*/ 127095 h 225957"/>
                  <a:gd name="connsiteX494" fmla="*/ 15802 w 397940"/>
                  <a:gd name="connsiteY494" fmla="*/ 126058 h 225957"/>
                  <a:gd name="connsiteX495" fmla="*/ 16040 w 397940"/>
                  <a:gd name="connsiteY495" fmla="*/ 125141 h 225957"/>
                  <a:gd name="connsiteX496" fmla="*/ 15575 w 397940"/>
                  <a:gd name="connsiteY496" fmla="*/ 124273 h 225957"/>
                  <a:gd name="connsiteX497" fmla="*/ 14381 w 397940"/>
                  <a:gd name="connsiteY497" fmla="*/ 123287 h 225957"/>
                  <a:gd name="connsiteX498" fmla="*/ 14092 w 397940"/>
                  <a:gd name="connsiteY498" fmla="*/ 122880 h 225957"/>
                  <a:gd name="connsiteX499" fmla="*/ 12598 w 397940"/>
                  <a:gd name="connsiteY499" fmla="*/ 122954 h 225957"/>
                  <a:gd name="connsiteX500" fmla="*/ 12190 w 397940"/>
                  <a:gd name="connsiteY500" fmla="*/ 123050 h 225957"/>
                  <a:gd name="connsiteX501" fmla="*/ 12040 w 397940"/>
                  <a:gd name="connsiteY501" fmla="*/ 123028 h 225957"/>
                  <a:gd name="connsiteX502" fmla="*/ 9963 w 397940"/>
                  <a:gd name="connsiteY502" fmla="*/ 122191 h 225957"/>
                  <a:gd name="connsiteX503" fmla="*/ 8585 w 397940"/>
                  <a:gd name="connsiteY503" fmla="*/ 120174 h 225957"/>
                  <a:gd name="connsiteX504" fmla="*/ 6456 w 397940"/>
                  <a:gd name="connsiteY504" fmla="*/ 119101 h 225957"/>
                  <a:gd name="connsiteX505" fmla="*/ 4828 w 397940"/>
                  <a:gd name="connsiteY505" fmla="*/ 118740 h 225957"/>
                  <a:gd name="connsiteX506" fmla="*/ 4087 w 397940"/>
                  <a:gd name="connsiteY506" fmla="*/ 117875 h 225957"/>
                  <a:gd name="connsiteX507" fmla="*/ 3610 w 397940"/>
                  <a:gd name="connsiteY507" fmla="*/ 116724 h 225957"/>
                  <a:gd name="connsiteX508" fmla="*/ 3102 w 397940"/>
                  <a:gd name="connsiteY508" fmla="*/ 115854 h 225957"/>
                  <a:gd name="connsiteX509" fmla="*/ 3042 w 397940"/>
                  <a:gd name="connsiteY509" fmla="*/ 115772 h 225957"/>
                  <a:gd name="connsiteX510" fmla="*/ 2695 w 397940"/>
                  <a:gd name="connsiteY510" fmla="*/ 114455 h 225957"/>
                  <a:gd name="connsiteX511" fmla="*/ 2196 w 397940"/>
                  <a:gd name="connsiteY511" fmla="*/ 114319 h 225957"/>
                  <a:gd name="connsiteX512" fmla="*/ 2107 w 397940"/>
                  <a:gd name="connsiteY512" fmla="*/ 114284 h 225957"/>
                  <a:gd name="connsiteX513" fmla="*/ 0 w 397940"/>
                  <a:gd name="connsiteY513" fmla="*/ 114513 h 225957"/>
                  <a:gd name="connsiteX514" fmla="*/ 244 w 397940"/>
                  <a:gd name="connsiteY514" fmla="*/ 109884 h 225957"/>
                  <a:gd name="connsiteX515" fmla="*/ 3612 w 397940"/>
                  <a:gd name="connsiteY515" fmla="*/ 106550 h 225957"/>
                  <a:gd name="connsiteX516" fmla="*/ 4439 w 397940"/>
                  <a:gd name="connsiteY516" fmla="*/ 104866 h 225957"/>
                  <a:gd name="connsiteX517" fmla="*/ 5696 w 397940"/>
                  <a:gd name="connsiteY517" fmla="*/ 101209 h 225957"/>
                  <a:gd name="connsiteX518" fmla="*/ 6638 w 397940"/>
                  <a:gd name="connsiteY518" fmla="*/ 99497 h 225957"/>
                  <a:gd name="connsiteX519" fmla="*/ 7769 w 397940"/>
                  <a:gd name="connsiteY519" fmla="*/ 98079 h 225957"/>
                  <a:gd name="connsiteX520" fmla="*/ 8674 w 397940"/>
                  <a:gd name="connsiteY520" fmla="*/ 96706 h 225957"/>
                  <a:gd name="connsiteX521" fmla="*/ 8996 w 397940"/>
                  <a:gd name="connsiteY521" fmla="*/ 95526 h 225957"/>
                  <a:gd name="connsiteX522" fmla="*/ 9909 w 397940"/>
                  <a:gd name="connsiteY522" fmla="*/ 95398 h 225957"/>
                  <a:gd name="connsiteX523" fmla="*/ 12591 w 397940"/>
                  <a:gd name="connsiteY523" fmla="*/ 96462 h 225957"/>
                  <a:gd name="connsiteX524" fmla="*/ 14990 w 397940"/>
                  <a:gd name="connsiteY524" fmla="*/ 97009 h 225957"/>
                  <a:gd name="connsiteX525" fmla="*/ 15653 w 397940"/>
                  <a:gd name="connsiteY525" fmla="*/ 96491 h 225957"/>
                  <a:gd name="connsiteX526" fmla="*/ 15925 w 397940"/>
                  <a:gd name="connsiteY526" fmla="*/ 95811 h 225957"/>
                  <a:gd name="connsiteX527" fmla="*/ 15815 w 397940"/>
                  <a:gd name="connsiteY527" fmla="*/ 95282 h 225957"/>
                  <a:gd name="connsiteX528" fmla="*/ 13893 w 397940"/>
                  <a:gd name="connsiteY528" fmla="*/ 93712 h 225957"/>
                  <a:gd name="connsiteX529" fmla="*/ 12688 w 397940"/>
                  <a:gd name="connsiteY529" fmla="*/ 92712 h 225957"/>
                  <a:gd name="connsiteX530" fmla="*/ 12615 w 397940"/>
                  <a:gd name="connsiteY530" fmla="*/ 92097 h 225957"/>
                  <a:gd name="connsiteX531" fmla="*/ 13049 w 397940"/>
                  <a:gd name="connsiteY531" fmla="*/ 90717 h 225957"/>
                  <a:gd name="connsiteX532" fmla="*/ 13280 w 397940"/>
                  <a:gd name="connsiteY532" fmla="*/ 89165 h 225957"/>
                  <a:gd name="connsiteX533" fmla="*/ 13003 w 397940"/>
                  <a:gd name="connsiteY533" fmla="*/ 87486 h 225957"/>
                  <a:gd name="connsiteX534" fmla="*/ 11693 w 397940"/>
                  <a:gd name="connsiteY534" fmla="*/ 83762 h 225957"/>
                  <a:gd name="connsiteX535" fmla="*/ 11444 w 397940"/>
                  <a:gd name="connsiteY535" fmla="*/ 82174 h 225957"/>
                  <a:gd name="connsiteX536" fmla="*/ 12699 w 397940"/>
                  <a:gd name="connsiteY536" fmla="*/ 80244 h 225957"/>
                  <a:gd name="connsiteX537" fmla="*/ 16780 w 397940"/>
                  <a:gd name="connsiteY537" fmla="*/ 75641 h 225957"/>
                  <a:gd name="connsiteX538" fmla="*/ 18141 w 397940"/>
                  <a:gd name="connsiteY538" fmla="*/ 73910 h 225957"/>
                  <a:gd name="connsiteX539" fmla="*/ 20000 w 397940"/>
                  <a:gd name="connsiteY539" fmla="*/ 71815 h 225957"/>
                  <a:gd name="connsiteX540" fmla="*/ 25044 w 397940"/>
                  <a:gd name="connsiteY540" fmla="*/ 66799 h 225957"/>
                  <a:gd name="connsiteX541" fmla="*/ 28232 w 397940"/>
                  <a:gd name="connsiteY541" fmla="*/ 63878 h 225957"/>
                  <a:gd name="connsiteX542" fmla="*/ 30389 w 397940"/>
                  <a:gd name="connsiteY542" fmla="*/ 62260 h 225957"/>
                  <a:gd name="connsiteX543" fmla="*/ 33548 w 397940"/>
                  <a:gd name="connsiteY543" fmla="*/ 59445 h 225957"/>
                  <a:gd name="connsiteX544" fmla="*/ 34934 w 397940"/>
                  <a:gd name="connsiteY544" fmla="*/ 57987 h 225957"/>
                  <a:gd name="connsiteX545" fmla="*/ 40704 w 397940"/>
                  <a:gd name="connsiteY545" fmla="*/ 57038 h 225957"/>
                  <a:gd name="connsiteX546" fmla="*/ 41419 w 397940"/>
                  <a:gd name="connsiteY546" fmla="*/ 55675 h 225957"/>
                  <a:gd name="connsiteX547" fmla="*/ 42473 w 397940"/>
                  <a:gd name="connsiteY547" fmla="*/ 54183 h 225957"/>
                  <a:gd name="connsiteX548" fmla="*/ 43297 w 397940"/>
                  <a:gd name="connsiteY548" fmla="*/ 53543 h 225957"/>
                  <a:gd name="connsiteX549" fmla="*/ 43403 w 397940"/>
                  <a:gd name="connsiteY549" fmla="*/ 51027 h 225957"/>
                  <a:gd name="connsiteX550" fmla="*/ 42332 w 397940"/>
                  <a:gd name="connsiteY550" fmla="*/ 47950 h 225957"/>
                  <a:gd name="connsiteX551" fmla="*/ 41471 w 397940"/>
                  <a:gd name="connsiteY551" fmla="*/ 46862 h 225957"/>
                  <a:gd name="connsiteX552" fmla="*/ 40832 w 397940"/>
                  <a:gd name="connsiteY552" fmla="*/ 46121 h 225957"/>
                  <a:gd name="connsiteX553" fmla="*/ 41244 w 397940"/>
                  <a:gd name="connsiteY553" fmla="*/ 45428 h 225957"/>
                  <a:gd name="connsiteX554" fmla="*/ 41883 w 397940"/>
                  <a:gd name="connsiteY554" fmla="*/ 45231 h 225957"/>
                  <a:gd name="connsiteX555" fmla="*/ 42671 w 397940"/>
                  <a:gd name="connsiteY555" fmla="*/ 45133 h 225957"/>
                  <a:gd name="connsiteX556" fmla="*/ 43647 w 397940"/>
                  <a:gd name="connsiteY556" fmla="*/ 44391 h 225957"/>
                  <a:gd name="connsiteX557" fmla="*/ 43427 w 397940"/>
                  <a:gd name="connsiteY557" fmla="*/ 43581 h 225957"/>
                  <a:gd name="connsiteX558" fmla="*/ 40994 w 397940"/>
                  <a:gd name="connsiteY558" fmla="*/ 41606 h 225957"/>
                  <a:gd name="connsiteX559" fmla="*/ 39940 w 397940"/>
                  <a:gd name="connsiteY559" fmla="*/ 40085 h 225957"/>
                  <a:gd name="connsiteX560" fmla="*/ 38290 w 397940"/>
                  <a:gd name="connsiteY560" fmla="*/ 36177 h 225957"/>
                  <a:gd name="connsiteX561" fmla="*/ 34945 w 397940"/>
                  <a:gd name="connsiteY561" fmla="*/ 32109 h 225957"/>
                  <a:gd name="connsiteX562" fmla="*/ 33889 w 397940"/>
                  <a:gd name="connsiteY562" fmla="*/ 30793 h 225957"/>
                  <a:gd name="connsiteX563" fmla="*/ 33738 w 397940"/>
                  <a:gd name="connsiteY563" fmla="*/ 29548 h 225957"/>
                  <a:gd name="connsiteX564" fmla="*/ 34226 w 397940"/>
                  <a:gd name="connsiteY564" fmla="*/ 28303 h 225957"/>
                  <a:gd name="connsiteX565" fmla="*/ 33766 w 397940"/>
                  <a:gd name="connsiteY565" fmla="*/ 26716 h 225957"/>
                  <a:gd name="connsiteX566" fmla="*/ 32581 w 397940"/>
                  <a:gd name="connsiteY566" fmla="*/ 24690 h 225957"/>
                  <a:gd name="connsiteX567" fmla="*/ 32768 w 397940"/>
                  <a:gd name="connsiteY567" fmla="*/ 24471 h 225957"/>
                  <a:gd name="connsiteX568" fmla="*/ 32654 w 397940"/>
                  <a:gd name="connsiteY568" fmla="*/ 21968 h 225957"/>
                  <a:gd name="connsiteX569" fmla="*/ 33496 w 397940"/>
                  <a:gd name="connsiteY569" fmla="*/ 21427 h 225957"/>
                  <a:gd name="connsiteX570" fmla="*/ 34826 w 397940"/>
                  <a:gd name="connsiteY570" fmla="*/ 21061 h 225957"/>
                  <a:gd name="connsiteX571" fmla="*/ 36703 w 397940"/>
                  <a:gd name="connsiteY571" fmla="*/ 21184 h 225957"/>
                  <a:gd name="connsiteX572" fmla="*/ 38307 w 397940"/>
                  <a:gd name="connsiteY572" fmla="*/ 21571 h 225957"/>
                  <a:gd name="connsiteX573" fmla="*/ 40229 w 397940"/>
                  <a:gd name="connsiteY573" fmla="*/ 22716 h 225957"/>
                  <a:gd name="connsiteX574" fmla="*/ 40829 w 397940"/>
                  <a:gd name="connsiteY574" fmla="*/ 22532 h 225957"/>
                  <a:gd name="connsiteX575" fmla="*/ 44114 w 397940"/>
                  <a:gd name="connsiteY575" fmla="*/ 20373 h 225957"/>
                  <a:gd name="connsiteX576" fmla="*/ 47502 w 397940"/>
                  <a:gd name="connsiteY576" fmla="*/ 17130 h 225957"/>
                  <a:gd name="connsiteX577" fmla="*/ 48467 w 397940"/>
                  <a:gd name="connsiteY577" fmla="*/ 15251 h 225957"/>
                  <a:gd name="connsiteX578" fmla="*/ 49311 w 397940"/>
                  <a:gd name="connsiteY578" fmla="*/ 14392 h 225957"/>
                  <a:gd name="connsiteX579" fmla="*/ 52259 w 397940"/>
                  <a:gd name="connsiteY579" fmla="*/ 13933 h 225957"/>
                  <a:gd name="connsiteX580" fmla="*/ 54826 w 397940"/>
                  <a:gd name="connsiteY580" fmla="*/ 13743 h 225957"/>
                  <a:gd name="connsiteX581" fmla="*/ 56459 w 397940"/>
                  <a:gd name="connsiteY581" fmla="*/ 13779 h 225957"/>
                  <a:gd name="connsiteX582" fmla="*/ 60467 w 397940"/>
                  <a:gd name="connsiteY582" fmla="*/ 13459 h 225957"/>
                  <a:gd name="connsiteX583" fmla="*/ 62842 w 397940"/>
                  <a:gd name="connsiteY583" fmla="*/ 13104 h 225957"/>
                  <a:gd name="connsiteX584" fmla="*/ 64896 w 397940"/>
                  <a:gd name="connsiteY584" fmla="*/ 12531 h 225957"/>
                  <a:gd name="connsiteX585" fmla="*/ 69329 w 397940"/>
                  <a:gd name="connsiteY585" fmla="*/ 12318 h 225957"/>
                  <a:gd name="connsiteX586" fmla="*/ 76252 w 397940"/>
                  <a:gd name="connsiteY586" fmla="*/ 12702 h 225957"/>
                  <a:gd name="connsiteX587" fmla="*/ 80795 w 397940"/>
                  <a:gd name="connsiteY587" fmla="*/ 12729 h 225957"/>
                  <a:gd name="connsiteX588" fmla="*/ 83881 w 397940"/>
                  <a:gd name="connsiteY588" fmla="*/ 13034 h 225957"/>
                  <a:gd name="connsiteX589" fmla="*/ 91439 w 397940"/>
                  <a:gd name="connsiteY589" fmla="*/ 14761 h 225957"/>
                  <a:gd name="connsiteX590" fmla="*/ 94252 w 397940"/>
                  <a:gd name="connsiteY590" fmla="*/ 15074 h 225957"/>
                  <a:gd name="connsiteX591" fmla="*/ 95559 w 397940"/>
                  <a:gd name="connsiteY591" fmla="*/ 15988 h 225957"/>
                  <a:gd name="connsiteX592" fmla="*/ 98068 w 397940"/>
                  <a:gd name="connsiteY592" fmla="*/ 16328 h 225957"/>
                  <a:gd name="connsiteX593" fmla="*/ 102635 w 397940"/>
                  <a:gd name="connsiteY593" fmla="*/ 17248 h 225957"/>
                  <a:gd name="connsiteX594" fmla="*/ 106602 w 397940"/>
                  <a:gd name="connsiteY594" fmla="*/ 17741 h 225957"/>
                  <a:gd name="connsiteX595" fmla="*/ 109284 w 397940"/>
                  <a:gd name="connsiteY595" fmla="*/ 17539 h 225957"/>
                  <a:gd name="connsiteX596" fmla="*/ 110785 w 397940"/>
                  <a:gd name="connsiteY596" fmla="*/ 17798 h 225957"/>
                  <a:gd name="connsiteX597" fmla="*/ 113618 w 397940"/>
                  <a:gd name="connsiteY597" fmla="*/ 21877 h 225957"/>
                  <a:gd name="connsiteX598" fmla="*/ 114196 w 397940"/>
                  <a:gd name="connsiteY598" fmla="*/ 22353 h 225957"/>
                  <a:gd name="connsiteX599" fmla="*/ 115332 w 397940"/>
                  <a:gd name="connsiteY599" fmla="*/ 22449 h 225957"/>
                  <a:gd name="connsiteX600" fmla="*/ 117647 w 397940"/>
                  <a:gd name="connsiteY600" fmla="*/ 22097 h 225957"/>
                  <a:gd name="connsiteX601" fmla="*/ 120943 w 397940"/>
                  <a:gd name="connsiteY601" fmla="*/ 22229 h 225957"/>
                  <a:gd name="connsiteX602" fmla="*/ 122897 w 397940"/>
                  <a:gd name="connsiteY602" fmla="*/ 23088 h 225957"/>
                  <a:gd name="connsiteX603" fmla="*/ 122610 w 397940"/>
                  <a:gd name="connsiteY603" fmla="*/ 25513 h 225957"/>
                  <a:gd name="connsiteX604" fmla="*/ 123123 w 397940"/>
                  <a:gd name="connsiteY604" fmla="*/ 25864 h 225957"/>
                  <a:gd name="connsiteX605" fmla="*/ 124037 w 397940"/>
                  <a:gd name="connsiteY605" fmla="*/ 25729 h 225957"/>
                  <a:gd name="connsiteX606" fmla="*/ 125088 w 397940"/>
                  <a:gd name="connsiteY606" fmla="*/ 24360 h 225957"/>
                  <a:gd name="connsiteX607" fmla="*/ 125972 w 397940"/>
                  <a:gd name="connsiteY607" fmla="*/ 22940 h 225957"/>
                  <a:gd name="connsiteX608" fmla="*/ 126630 w 397940"/>
                  <a:gd name="connsiteY608" fmla="*/ 22501 h 225957"/>
                  <a:gd name="connsiteX609" fmla="*/ 129995 w 397940"/>
                  <a:gd name="connsiteY609" fmla="*/ 23460 h 225957"/>
                  <a:gd name="connsiteX610" fmla="*/ 131532 w 397940"/>
                  <a:gd name="connsiteY610" fmla="*/ 23305 h 225957"/>
                  <a:gd name="connsiteX611" fmla="*/ 132951 w 397940"/>
                  <a:gd name="connsiteY611" fmla="*/ 22228 h 225957"/>
                  <a:gd name="connsiteX612" fmla="*/ 133821 w 397940"/>
                  <a:gd name="connsiteY612" fmla="*/ 22045 h 225957"/>
                  <a:gd name="connsiteX613" fmla="*/ 136205 w 397940"/>
                  <a:gd name="connsiteY613" fmla="*/ 22811 h 225957"/>
                  <a:gd name="connsiteX614" fmla="*/ 139146 w 397940"/>
                  <a:gd name="connsiteY614" fmla="*/ 23347 h 225957"/>
                  <a:gd name="connsiteX615" fmla="*/ 141522 w 397940"/>
                  <a:gd name="connsiteY615" fmla="*/ 23381 h 225957"/>
                  <a:gd name="connsiteX616" fmla="*/ 143003 w 397940"/>
                  <a:gd name="connsiteY616" fmla="*/ 23964 h 225957"/>
                  <a:gd name="connsiteX617" fmla="*/ 144080 w 397940"/>
                  <a:gd name="connsiteY617" fmla="*/ 26494 h 225957"/>
                  <a:gd name="connsiteX618" fmla="*/ 145020 w 397940"/>
                  <a:gd name="connsiteY618" fmla="*/ 27013 h 225957"/>
                  <a:gd name="connsiteX619" fmla="*/ 145927 w 397940"/>
                  <a:gd name="connsiteY619" fmla="*/ 27174 h 225957"/>
                  <a:gd name="connsiteX620" fmla="*/ 147298 w 397940"/>
                  <a:gd name="connsiteY620" fmla="*/ 24913 h 225957"/>
                  <a:gd name="connsiteX621" fmla="*/ 148542 w 397940"/>
                  <a:gd name="connsiteY621" fmla="*/ 24036 h 225957"/>
                  <a:gd name="connsiteX622" fmla="*/ 150267 w 397940"/>
                  <a:gd name="connsiteY622" fmla="*/ 23390 h 225957"/>
                  <a:gd name="connsiteX623" fmla="*/ 151377 w 397940"/>
                  <a:gd name="connsiteY623" fmla="*/ 23107 h 225957"/>
                  <a:gd name="connsiteX624" fmla="*/ 152158 w 397940"/>
                  <a:gd name="connsiteY624" fmla="*/ 22308 h 225957"/>
                  <a:gd name="connsiteX625" fmla="*/ 153212 w 397940"/>
                  <a:gd name="connsiteY625" fmla="*/ 21528 h 225957"/>
                  <a:gd name="connsiteX626" fmla="*/ 154126 w 397940"/>
                  <a:gd name="connsiteY626" fmla="*/ 21466 h 225957"/>
                  <a:gd name="connsiteX627" fmla="*/ 154868 w 397940"/>
                  <a:gd name="connsiteY627" fmla="*/ 21768 h 225957"/>
                  <a:gd name="connsiteX628" fmla="*/ 155721 w 397940"/>
                  <a:gd name="connsiteY628" fmla="*/ 22847 h 225957"/>
                  <a:gd name="connsiteX629" fmla="*/ 156965 w 397940"/>
                  <a:gd name="connsiteY629" fmla="*/ 25305 h 225957"/>
                  <a:gd name="connsiteX630" fmla="*/ 158477 w 397940"/>
                  <a:gd name="connsiteY630" fmla="*/ 27771 h 225957"/>
                  <a:gd name="connsiteX631" fmla="*/ 159531 w 397940"/>
                  <a:gd name="connsiteY631" fmla="*/ 28666 h 225957"/>
                  <a:gd name="connsiteX632" fmla="*/ 162254 w 397940"/>
                  <a:gd name="connsiteY632" fmla="*/ 27909 h 225957"/>
                  <a:gd name="connsiteX633" fmla="*/ 164100 w 397940"/>
                  <a:gd name="connsiteY633" fmla="*/ 27139 h 225957"/>
                  <a:gd name="connsiteX634" fmla="*/ 167482 w 397940"/>
                  <a:gd name="connsiteY634" fmla="*/ 26993 h 225957"/>
                  <a:gd name="connsiteX635" fmla="*/ 171964 w 397940"/>
                  <a:gd name="connsiteY635" fmla="*/ 26451 h 225957"/>
                  <a:gd name="connsiteX636" fmla="*/ 175392 w 397940"/>
                  <a:gd name="connsiteY636" fmla="*/ 25745 h 225957"/>
                  <a:gd name="connsiteX637" fmla="*/ 177536 w 397940"/>
                  <a:gd name="connsiteY637" fmla="*/ 25867 h 225957"/>
                  <a:gd name="connsiteX638" fmla="*/ 178836 w 397940"/>
                  <a:gd name="connsiteY638" fmla="*/ 26650 h 225957"/>
                  <a:gd name="connsiteX639" fmla="*/ 180814 w 397940"/>
                  <a:gd name="connsiteY639" fmla="*/ 28166 h 225957"/>
                  <a:gd name="connsiteX640" fmla="*/ 181354 w 397940"/>
                  <a:gd name="connsiteY640" fmla="*/ 30339 h 225957"/>
                  <a:gd name="connsiteX641" fmla="*/ 183921 w 397940"/>
                  <a:gd name="connsiteY641" fmla="*/ 31841 h 225957"/>
                  <a:gd name="connsiteX642" fmla="*/ 186022 w 397940"/>
                  <a:gd name="connsiteY642" fmla="*/ 32112 h 225957"/>
                  <a:gd name="connsiteX643" fmla="*/ 186739 w 397940"/>
                  <a:gd name="connsiteY643" fmla="*/ 30549 h 225957"/>
                  <a:gd name="connsiteX644" fmla="*/ 187968 w 397940"/>
                  <a:gd name="connsiteY644" fmla="*/ 29462 h 225957"/>
                  <a:gd name="connsiteX645" fmla="*/ 187508 w 397940"/>
                  <a:gd name="connsiteY645" fmla="*/ 27968 h 225957"/>
                  <a:gd name="connsiteX646" fmla="*/ 187301 w 397940"/>
                  <a:gd name="connsiteY646" fmla="*/ 26062 h 225957"/>
                  <a:gd name="connsiteX647" fmla="*/ 186380 w 397940"/>
                  <a:gd name="connsiteY647" fmla="*/ 24291 h 225957"/>
                  <a:gd name="connsiteX648" fmla="*/ 185767 w 397940"/>
                  <a:gd name="connsiteY648" fmla="*/ 22384 h 225957"/>
                  <a:gd name="connsiteX649" fmla="*/ 186892 w 397940"/>
                  <a:gd name="connsiteY649" fmla="*/ 19657 h 225957"/>
                  <a:gd name="connsiteX650" fmla="*/ 188121 w 397940"/>
                  <a:gd name="connsiteY650" fmla="*/ 17267 h 225957"/>
                  <a:gd name="connsiteX651" fmla="*/ 188736 w 397940"/>
                  <a:gd name="connsiteY651" fmla="*/ 15968 h 225957"/>
                  <a:gd name="connsiteX652" fmla="*/ 190682 w 397940"/>
                  <a:gd name="connsiteY652" fmla="*/ 13576 h 225957"/>
                  <a:gd name="connsiteX653" fmla="*/ 192682 w 397940"/>
                  <a:gd name="connsiteY653" fmla="*/ 11865 h 225957"/>
                  <a:gd name="connsiteX654" fmla="*/ 195666 w 397940"/>
                  <a:gd name="connsiteY654" fmla="*/ 9111 h 225957"/>
                  <a:gd name="connsiteX655" fmla="*/ 197847 w 397940"/>
                  <a:gd name="connsiteY655" fmla="*/ 8201 h 225957"/>
                  <a:gd name="connsiteX656" fmla="*/ 199818 w 397940"/>
                  <a:gd name="connsiteY656" fmla="*/ 8616 h 225957"/>
                  <a:gd name="connsiteX657" fmla="*/ 200913 w 397940"/>
                  <a:gd name="connsiteY657" fmla="*/ 8992 h 225957"/>
                  <a:gd name="connsiteX658" fmla="*/ 203744 w 397940"/>
                  <a:gd name="connsiteY658" fmla="*/ 7360 h 225957"/>
                  <a:gd name="connsiteX659" fmla="*/ 208780 w 397940"/>
                  <a:gd name="connsiteY659" fmla="*/ 7279 h 225957"/>
                  <a:gd name="connsiteX660" fmla="*/ 212973 w 397940"/>
                  <a:gd name="connsiteY660" fmla="*/ 7487 h 225957"/>
                  <a:gd name="connsiteX661" fmla="*/ 213394 w 397940"/>
                  <a:gd name="connsiteY661" fmla="*/ 7536 h 225957"/>
                  <a:gd name="connsiteX662" fmla="*/ 215455 w 397940"/>
                  <a:gd name="connsiteY662" fmla="*/ 8380 h 225957"/>
                  <a:gd name="connsiteX663" fmla="*/ 217627 w 397940"/>
                  <a:gd name="connsiteY663" fmla="*/ 9098 h 225957"/>
                  <a:gd name="connsiteX664" fmla="*/ 219125 w 397940"/>
                  <a:gd name="connsiteY664" fmla="*/ 9146 h 225957"/>
                  <a:gd name="connsiteX665" fmla="*/ 220909 w 397940"/>
                  <a:gd name="connsiteY665" fmla="*/ 8981 h 225957"/>
                  <a:gd name="connsiteX666" fmla="*/ 223000 w 397940"/>
                  <a:gd name="connsiteY666" fmla="*/ 8024 h 225957"/>
                  <a:gd name="connsiteX667" fmla="*/ 224459 w 397940"/>
                  <a:gd name="connsiteY667" fmla="*/ 7104 h 225957"/>
                  <a:gd name="connsiteX668" fmla="*/ 226232 w 397940"/>
                  <a:gd name="connsiteY668" fmla="*/ 2418 h 225957"/>
                  <a:gd name="connsiteX669" fmla="*/ 226858 w 397940"/>
                  <a:gd name="connsiteY669" fmla="*/ 1744 h 225957"/>
                  <a:gd name="connsiteX670" fmla="*/ 227834 w 397940"/>
                  <a:gd name="connsiteY670" fmla="*/ 1376 h 225957"/>
                  <a:gd name="connsiteX671" fmla="*/ 229437 w 397940"/>
                  <a:gd name="connsiteY671" fmla="*/ 1337 h 225957"/>
                  <a:gd name="connsiteX672" fmla="*/ 232477 w 397940"/>
                  <a:gd name="connsiteY672" fmla="*/ 2211 h 225957"/>
                  <a:gd name="connsiteX673" fmla="*/ 236038 w 397940"/>
                  <a:gd name="connsiteY673" fmla="*/ 2996 h 225957"/>
                  <a:gd name="connsiteX674" fmla="*/ 238100 w 397940"/>
                  <a:gd name="connsiteY674" fmla="*/ 2886 h 225957"/>
                  <a:gd name="connsiteX675" fmla="*/ 243600 w 397940"/>
                  <a:gd name="connsiteY675" fmla="*/ 390 h 225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</a:cxnLst>
                <a:rect l="l" t="t" r="r" b="b"/>
                <a:pathLst>
                  <a:path w="397940" h="225957">
                    <a:moveTo>
                      <a:pt x="207344" y="171473"/>
                    </a:moveTo>
                    <a:lnTo>
                      <a:pt x="209026" y="173412"/>
                    </a:lnTo>
                    <a:lnTo>
                      <a:pt x="210212" y="174260"/>
                    </a:lnTo>
                    <a:lnTo>
                      <a:pt x="218475" y="176160"/>
                    </a:lnTo>
                    <a:lnTo>
                      <a:pt x="221524" y="177522"/>
                    </a:lnTo>
                    <a:lnTo>
                      <a:pt x="218413" y="177159"/>
                    </a:lnTo>
                    <a:lnTo>
                      <a:pt x="211576" y="175879"/>
                    </a:lnTo>
                    <a:lnTo>
                      <a:pt x="208562" y="174670"/>
                    </a:lnTo>
                    <a:lnTo>
                      <a:pt x="207784" y="173318"/>
                    </a:lnTo>
                    <a:close/>
                    <a:moveTo>
                      <a:pt x="246666" y="0"/>
                    </a:moveTo>
                    <a:lnTo>
                      <a:pt x="250309" y="587"/>
                    </a:lnTo>
                    <a:lnTo>
                      <a:pt x="253881" y="622"/>
                    </a:lnTo>
                    <a:lnTo>
                      <a:pt x="256576" y="261"/>
                    </a:lnTo>
                    <a:lnTo>
                      <a:pt x="258424" y="1126"/>
                    </a:lnTo>
                    <a:lnTo>
                      <a:pt x="260707" y="3030"/>
                    </a:lnTo>
                    <a:lnTo>
                      <a:pt x="262769" y="5862"/>
                    </a:lnTo>
                    <a:lnTo>
                      <a:pt x="264930" y="11080"/>
                    </a:lnTo>
                    <a:lnTo>
                      <a:pt x="271227" y="16962"/>
                    </a:lnTo>
                    <a:lnTo>
                      <a:pt x="271335" y="18109"/>
                    </a:lnTo>
                    <a:lnTo>
                      <a:pt x="270817" y="18846"/>
                    </a:lnTo>
                    <a:lnTo>
                      <a:pt x="267718" y="19561"/>
                    </a:lnTo>
                    <a:lnTo>
                      <a:pt x="265107" y="19946"/>
                    </a:lnTo>
                    <a:lnTo>
                      <a:pt x="264982" y="20953"/>
                    </a:lnTo>
                    <a:lnTo>
                      <a:pt x="265675" y="22042"/>
                    </a:lnTo>
                    <a:lnTo>
                      <a:pt x="266872" y="23635"/>
                    </a:lnTo>
                    <a:lnTo>
                      <a:pt x="267057" y="25685"/>
                    </a:lnTo>
                    <a:lnTo>
                      <a:pt x="266997" y="27569"/>
                    </a:lnTo>
                    <a:lnTo>
                      <a:pt x="267513" y="29233"/>
                    </a:lnTo>
                    <a:lnTo>
                      <a:pt x="268511" y="29909"/>
                    </a:lnTo>
                    <a:lnTo>
                      <a:pt x="268636" y="30745"/>
                    </a:lnTo>
                    <a:lnTo>
                      <a:pt x="267481" y="31766"/>
                    </a:lnTo>
                    <a:lnTo>
                      <a:pt x="267159" y="32396"/>
                    </a:lnTo>
                    <a:lnTo>
                      <a:pt x="267608" y="32735"/>
                    </a:lnTo>
                    <a:lnTo>
                      <a:pt x="273287" y="32932"/>
                    </a:lnTo>
                    <a:lnTo>
                      <a:pt x="276068" y="33926"/>
                    </a:lnTo>
                    <a:lnTo>
                      <a:pt x="278180" y="34831"/>
                    </a:lnTo>
                    <a:lnTo>
                      <a:pt x="279243" y="34915"/>
                    </a:lnTo>
                    <a:lnTo>
                      <a:pt x="281635" y="34333"/>
                    </a:lnTo>
                    <a:lnTo>
                      <a:pt x="284326" y="33966"/>
                    </a:lnTo>
                    <a:lnTo>
                      <a:pt x="285958" y="33917"/>
                    </a:lnTo>
                    <a:lnTo>
                      <a:pt x="286589" y="34584"/>
                    </a:lnTo>
                    <a:lnTo>
                      <a:pt x="287092" y="36334"/>
                    </a:lnTo>
                    <a:lnTo>
                      <a:pt x="288038" y="38084"/>
                    </a:lnTo>
                    <a:lnTo>
                      <a:pt x="288921" y="38584"/>
                    </a:lnTo>
                    <a:lnTo>
                      <a:pt x="290493" y="38500"/>
                    </a:lnTo>
                    <a:lnTo>
                      <a:pt x="291439" y="38584"/>
                    </a:lnTo>
                    <a:lnTo>
                      <a:pt x="291944" y="39249"/>
                    </a:lnTo>
                    <a:lnTo>
                      <a:pt x="291376" y="40249"/>
                    </a:lnTo>
                    <a:lnTo>
                      <a:pt x="291502" y="41329"/>
                    </a:lnTo>
                    <a:lnTo>
                      <a:pt x="292195" y="42660"/>
                    </a:lnTo>
                    <a:lnTo>
                      <a:pt x="293015" y="45733"/>
                    </a:lnTo>
                    <a:lnTo>
                      <a:pt x="293771" y="46646"/>
                    </a:lnTo>
                    <a:lnTo>
                      <a:pt x="294274" y="47808"/>
                    </a:lnTo>
                    <a:lnTo>
                      <a:pt x="294274" y="49135"/>
                    </a:lnTo>
                    <a:lnTo>
                      <a:pt x="293644" y="50295"/>
                    </a:lnTo>
                    <a:lnTo>
                      <a:pt x="293203" y="51205"/>
                    </a:lnTo>
                    <a:lnTo>
                      <a:pt x="293644" y="53275"/>
                    </a:lnTo>
                    <a:lnTo>
                      <a:pt x="295343" y="55592"/>
                    </a:lnTo>
                    <a:lnTo>
                      <a:pt x="296604" y="56170"/>
                    </a:lnTo>
                    <a:lnTo>
                      <a:pt x="297613" y="58236"/>
                    </a:lnTo>
                    <a:lnTo>
                      <a:pt x="299439" y="58896"/>
                    </a:lnTo>
                    <a:lnTo>
                      <a:pt x="302147" y="57163"/>
                    </a:lnTo>
                    <a:lnTo>
                      <a:pt x="304227" y="56254"/>
                    </a:lnTo>
                    <a:lnTo>
                      <a:pt x="306827" y="56759"/>
                    </a:lnTo>
                    <a:lnTo>
                      <a:pt x="309228" y="57082"/>
                    </a:lnTo>
                    <a:lnTo>
                      <a:pt x="310843" y="58263"/>
                    </a:lnTo>
                    <a:lnTo>
                      <a:pt x="312035" y="59887"/>
                    </a:lnTo>
                    <a:lnTo>
                      <a:pt x="313422" y="60794"/>
                    </a:lnTo>
                    <a:lnTo>
                      <a:pt x="314810" y="60320"/>
                    </a:lnTo>
                    <a:lnTo>
                      <a:pt x="317706" y="60794"/>
                    </a:lnTo>
                    <a:lnTo>
                      <a:pt x="319029" y="62114"/>
                    </a:lnTo>
                    <a:lnTo>
                      <a:pt x="320351" y="62856"/>
                    </a:lnTo>
                    <a:lnTo>
                      <a:pt x="322052" y="61785"/>
                    </a:lnTo>
                    <a:lnTo>
                      <a:pt x="323439" y="60465"/>
                    </a:lnTo>
                    <a:lnTo>
                      <a:pt x="328511" y="59082"/>
                    </a:lnTo>
                    <a:lnTo>
                      <a:pt x="331668" y="58736"/>
                    </a:lnTo>
                    <a:lnTo>
                      <a:pt x="332549" y="58464"/>
                    </a:lnTo>
                    <a:lnTo>
                      <a:pt x="334402" y="57476"/>
                    </a:lnTo>
                    <a:lnTo>
                      <a:pt x="336354" y="56819"/>
                    </a:lnTo>
                    <a:lnTo>
                      <a:pt x="338116" y="56997"/>
                    </a:lnTo>
                    <a:lnTo>
                      <a:pt x="339852" y="59049"/>
                    </a:lnTo>
                    <a:lnTo>
                      <a:pt x="341643" y="60465"/>
                    </a:lnTo>
                    <a:lnTo>
                      <a:pt x="342146" y="62691"/>
                    </a:lnTo>
                    <a:lnTo>
                      <a:pt x="344337" y="65753"/>
                    </a:lnTo>
                    <a:lnTo>
                      <a:pt x="349779" y="69936"/>
                    </a:lnTo>
                    <a:lnTo>
                      <a:pt x="351915" y="71211"/>
                    </a:lnTo>
                    <a:lnTo>
                      <a:pt x="353366" y="70986"/>
                    </a:lnTo>
                    <a:lnTo>
                      <a:pt x="354124" y="70652"/>
                    </a:lnTo>
                    <a:lnTo>
                      <a:pt x="354476" y="70215"/>
                    </a:lnTo>
                    <a:lnTo>
                      <a:pt x="354804" y="68170"/>
                    </a:lnTo>
                    <a:lnTo>
                      <a:pt x="355493" y="67417"/>
                    </a:lnTo>
                    <a:lnTo>
                      <a:pt x="356596" y="67392"/>
                    </a:lnTo>
                    <a:lnTo>
                      <a:pt x="360855" y="69940"/>
                    </a:lnTo>
                    <a:lnTo>
                      <a:pt x="363083" y="70214"/>
                    </a:lnTo>
                    <a:lnTo>
                      <a:pt x="365201" y="70263"/>
                    </a:lnTo>
                    <a:lnTo>
                      <a:pt x="368052" y="72240"/>
                    </a:lnTo>
                    <a:lnTo>
                      <a:pt x="371185" y="73958"/>
                    </a:lnTo>
                    <a:lnTo>
                      <a:pt x="373603" y="74139"/>
                    </a:lnTo>
                    <a:lnTo>
                      <a:pt x="375532" y="73467"/>
                    </a:lnTo>
                    <a:lnTo>
                      <a:pt x="376856" y="73058"/>
                    </a:lnTo>
                    <a:lnTo>
                      <a:pt x="377674" y="73713"/>
                    </a:lnTo>
                    <a:lnTo>
                      <a:pt x="378430" y="75190"/>
                    </a:lnTo>
                    <a:lnTo>
                      <a:pt x="379689" y="76338"/>
                    </a:lnTo>
                    <a:lnTo>
                      <a:pt x="381138" y="76666"/>
                    </a:lnTo>
                    <a:lnTo>
                      <a:pt x="383223" y="76741"/>
                    </a:lnTo>
                    <a:lnTo>
                      <a:pt x="386845" y="78966"/>
                    </a:lnTo>
                    <a:lnTo>
                      <a:pt x="390250" y="81226"/>
                    </a:lnTo>
                    <a:lnTo>
                      <a:pt x="392379" y="81351"/>
                    </a:lnTo>
                    <a:lnTo>
                      <a:pt x="394185" y="80688"/>
                    </a:lnTo>
                    <a:lnTo>
                      <a:pt x="395780" y="80517"/>
                    </a:lnTo>
                    <a:lnTo>
                      <a:pt x="396886" y="81087"/>
                    </a:lnTo>
                    <a:lnTo>
                      <a:pt x="397201" y="82069"/>
                    </a:lnTo>
                    <a:lnTo>
                      <a:pt x="396381" y="83378"/>
                    </a:lnTo>
                    <a:lnTo>
                      <a:pt x="396381" y="85258"/>
                    </a:lnTo>
                    <a:lnTo>
                      <a:pt x="397892" y="87055"/>
                    </a:lnTo>
                    <a:lnTo>
                      <a:pt x="397940" y="88820"/>
                    </a:lnTo>
                    <a:lnTo>
                      <a:pt x="397508" y="90413"/>
                    </a:lnTo>
                    <a:lnTo>
                      <a:pt x="396651" y="91880"/>
                    </a:lnTo>
                    <a:lnTo>
                      <a:pt x="394580" y="93894"/>
                    </a:lnTo>
                    <a:lnTo>
                      <a:pt x="392664" y="95773"/>
                    </a:lnTo>
                    <a:lnTo>
                      <a:pt x="389784" y="96558"/>
                    </a:lnTo>
                    <a:lnTo>
                      <a:pt x="388171" y="97376"/>
                    </a:lnTo>
                    <a:lnTo>
                      <a:pt x="388594" y="98755"/>
                    </a:lnTo>
                    <a:lnTo>
                      <a:pt x="389648" y="100041"/>
                    </a:lnTo>
                    <a:lnTo>
                      <a:pt x="392090" y="101081"/>
                    </a:lnTo>
                    <a:lnTo>
                      <a:pt x="394863" y="101838"/>
                    </a:lnTo>
                    <a:lnTo>
                      <a:pt x="395182" y="102673"/>
                    </a:lnTo>
                    <a:lnTo>
                      <a:pt x="394759" y="103092"/>
                    </a:lnTo>
                    <a:lnTo>
                      <a:pt x="392982" y="103480"/>
                    </a:lnTo>
                    <a:lnTo>
                      <a:pt x="390522" y="103082"/>
                    </a:lnTo>
                    <a:lnTo>
                      <a:pt x="389704" y="103812"/>
                    </a:lnTo>
                    <a:lnTo>
                      <a:pt x="388570" y="105028"/>
                    </a:lnTo>
                    <a:lnTo>
                      <a:pt x="387815" y="107215"/>
                    </a:lnTo>
                    <a:lnTo>
                      <a:pt x="387246" y="109239"/>
                    </a:lnTo>
                    <a:lnTo>
                      <a:pt x="389916" y="109788"/>
                    </a:lnTo>
                    <a:lnTo>
                      <a:pt x="391468" y="110614"/>
                    </a:lnTo>
                    <a:lnTo>
                      <a:pt x="391952" y="112276"/>
                    </a:lnTo>
                    <a:lnTo>
                      <a:pt x="392507" y="114123"/>
                    </a:lnTo>
                    <a:lnTo>
                      <a:pt x="392667" y="115785"/>
                    </a:lnTo>
                    <a:lnTo>
                      <a:pt x="391783" y="116592"/>
                    </a:lnTo>
                    <a:lnTo>
                      <a:pt x="391730" y="117418"/>
                    </a:lnTo>
                    <a:lnTo>
                      <a:pt x="392146" y="117824"/>
                    </a:lnTo>
                    <a:lnTo>
                      <a:pt x="393293" y="118008"/>
                    </a:lnTo>
                    <a:lnTo>
                      <a:pt x="394172" y="118377"/>
                    </a:lnTo>
                    <a:lnTo>
                      <a:pt x="394241" y="119253"/>
                    </a:lnTo>
                    <a:lnTo>
                      <a:pt x="392561" y="121220"/>
                    </a:lnTo>
                    <a:lnTo>
                      <a:pt x="390989" y="124979"/>
                    </a:lnTo>
                    <a:lnTo>
                      <a:pt x="390144" y="126978"/>
                    </a:lnTo>
                    <a:lnTo>
                      <a:pt x="390209" y="129146"/>
                    </a:lnTo>
                    <a:lnTo>
                      <a:pt x="389263" y="130350"/>
                    </a:lnTo>
                    <a:lnTo>
                      <a:pt x="387551" y="130452"/>
                    </a:lnTo>
                    <a:lnTo>
                      <a:pt x="381636" y="130662"/>
                    </a:lnTo>
                    <a:lnTo>
                      <a:pt x="376495" y="130559"/>
                    </a:lnTo>
                    <a:lnTo>
                      <a:pt x="374269" y="130247"/>
                    </a:lnTo>
                    <a:lnTo>
                      <a:pt x="370785" y="130060"/>
                    </a:lnTo>
                    <a:lnTo>
                      <a:pt x="369060" y="130570"/>
                    </a:lnTo>
                    <a:lnTo>
                      <a:pt x="366776" y="134029"/>
                    </a:lnTo>
                    <a:lnTo>
                      <a:pt x="365044" y="135384"/>
                    </a:lnTo>
                    <a:lnTo>
                      <a:pt x="362176" y="136607"/>
                    </a:lnTo>
                    <a:lnTo>
                      <a:pt x="359034" y="136957"/>
                    </a:lnTo>
                    <a:lnTo>
                      <a:pt x="357233" y="138383"/>
                    </a:lnTo>
                    <a:lnTo>
                      <a:pt x="356601" y="140618"/>
                    </a:lnTo>
                    <a:lnTo>
                      <a:pt x="356551" y="142598"/>
                    </a:lnTo>
                    <a:lnTo>
                      <a:pt x="356257" y="143586"/>
                    </a:lnTo>
                    <a:lnTo>
                      <a:pt x="355575" y="144452"/>
                    </a:lnTo>
                    <a:lnTo>
                      <a:pt x="355331" y="145068"/>
                    </a:lnTo>
                    <a:lnTo>
                      <a:pt x="355477" y="145747"/>
                    </a:lnTo>
                    <a:lnTo>
                      <a:pt x="356208" y="145994"/>
                    </a:lnTo>
                    <a:lnTo>
                      <a:pt x="357086" y="146303"/>
                    </a:lnTo>
                    <a:lnTo>
                      <a:pt x="357086" y="146797"/>
                    </a:lnTo>
                    <a:lnTo>
                      <a:pt x="356745" y="147414"/>
                    </a:lnTo>
                    <a:lnTo>
                      <a:pt x="355769" y="148092"/>
                    </a:lnTo>
                    <a:lnTo>
                      <a:pt x="355331" y="149141"/>
                    </a:lnTo>
                    <a:lnTo>
                      <a:pt x="355430" y="150249"/>
                    </a:lnTo>
                    <a:lnTo>
                      <a:pt x="355618" y="151483"/>
                    </a:lnTo>
                    <a:lnTo>
                      <a:pt x="354821" y="151796"/>
                    </a:lnTo>
                    <a:lnTo>
                      <a:pt x="347091" y="151360"/>
                    </a:lnTo>
                    <a:lnTo>
                      <a:pt x="340781" y="151954"/>
                    </a:lnTo>
                    <a:lnTo>
                      <a:pt x="336281" y="156355"/>
                    </a:lnTo>
                    <a:lnTo>
                      <a:pt x="333599" y="156343"/>
                    </a:lnTo>
                    <a:lnTo>
                      <a:pt x="329818" y="157489"/>
                    </a:lnTo>
                    <a:lnTo>
                      <a:pt x="327263" y="158912"/>
                    </a:lnTo>
                    <a:lnTo>
                      <a:pt x="324229" y="161995"/>
                    </a:lnTo>
                    <a:lnTo>
                      <a:pt x="321882" y="160611"/>
                    </a:lnTo>
                    <a:lnTo>
                      <a:pt x="319010" y="160651"/>
                    </a:lnTo>
                    <a:lnTo>
                      <a:pt x="316207" y="161490"/>
                    </a:lnTo>
                    <a:lnTo>
                      <a:pt x="312834" y="163547"/>
                    </a:lnTo>
                    <a:lnTo>
                      <a:pt x="310958" y="163911"/>
                    </a:lnTo>
                    <a:lnTo>
                      <a:pt x="307205" y="163319"/>
                    </a:lnTo>
                    <a:lnTo>
                      <a:pt x="302832" y="164500"/>
                    </a:lnTo>
                    <a:lnTo>
                      <a:pt x="293391" y="171244"/>
                    </a:lnTo>
                    <a:lnTo>
                      <a:pt x="290217" y="176160"/>
                    </a:lnTo>
                    <a:lnTo>
                      <a:pt x="289061" y="177121"/>
                    </a:lnTo>
                    <a:lnTo>
                      <a:pt x="287468" y="178319"/>
                    </a:lnTo>
                    <a:lnTo>
                      <a:pt x="285764" y="178924"/>
                    </a:lnTo>
                    <a:lnTo>
                      <a:pt x="284864" y="178868"/>
                    </a:lnTo>
                    <a:lnTo>
                      <a:pt x="289357" y="175378"/>
                    </a:lnTo>
                    <a:lnTo>
                      <a:pt x="290737" y="174068"/>
                    </a:lnTo>
                    <a:lnTo>
                      <a:pt x="290975" y="173101"/>
                    </a:lnTo>
                    <a:lnTo>
                      <a:pt x="290998" y="171541"/>
                    </a:lnTo>
                    <a:lnTo>
                      <a:pt x="289636" y="169601"/>
                    </a:lnTo>
                    <a:lnTo>
                      <a:pt x="285958" y="174407"/>
                    </a:lnTo>
                    <a:lnTo>
                      <a:pt x="283868" y="175104"/>
                    </a:lnTo>
                    <a:lnTo>
                      <a:pt x="281216" y="176548"/>
                    </a:lnTo>
                    <a:lnTo>
                      <a:pt x="281087" y="179764"/>
                    </a:lnTo>
                    <a:lnTo>
                      <a:pt x="281387" y="182146"/>
                    </a:lnTo>
                    <a:lnTo>
                      <a:pt x="282477" y="185142"/>
                    </a:lnTo>
                    <a:lnTo>
                      <a:pt x="285047" y="190042"/>
                    </a:lnTo>
                    <a:lnTo>
                      <a:pt x="290295" y="197027"/>
                    </a:lnTo>
                    <a:lnTo>
                      <a:pt x="292810" y="199588"/>
                    </a:lnTo>
                    <a:lnTo>
                      <a:pt x="294659" y="200611"/>
                    </a:lnTo>
                    <a:lnTo>
                      <a:pt x="296881" y="200759"/>
                    </a:lnTo>
                    <a:lnTo>
                      <a:pt x="301147" y="198607"/>
                    </a:lnTo>
                    <a:lnTo>
                      <a:pt x="302972" y="198271"/>
                    </a:lnTo>
                    <a:lnTo>
                      <a:pt x="306939" y="199092"/>
                    </a:lnTo>
                    <a:lnTo>
                      <a:pt x="308360" y="197653"/>
                    </a:lnTo>
                    <a:lnTo>
                      <a:pt x="310424" y="196858"/>
                    </a:lnTo>
                    <a:lnTo>
                      <a:pt x="313074" y="196757"/>
                    </a:lnTo>
                    <a:lnTo>
                      <a:pt x="316097" y="197402"/>
                    </a:lnTo>
                    <a:lnTo>
                      <a:pt x="319368" y="198492"/>
                    </a:lnTo>
                    <a:lnTo>
                      <a:pt x="318025" y="200955"/>
                    </a:lnTo>
                    <a:lnTo>
                      <a:pt x="316622" y="202913"/>
                    </a:lnTo>
                    <a:lnTo>
                      <a:pt x="316127" y="205078"/>
                    </a:lnTo>
                    <a:lnTo>
                      <a:pt x="315352" y="207482"/>
                    </a:lnTo>
                    <a:lnTo>
                      <a:pt x="311737" y="208560"/>
                    </a:lnTo>
                    <a:lnTo>
                      <a:pt x="307865" y="208428"/>
                    </a:lnTo>
                    <a:lnTo>
                      <a:pt x="303782" y="209125"/>
                    </a:lnTo>
                    <a:lnTo>
                      <a:pt x="302311" y="208187"/>
                    </a:lnTo>
                    <a:lnTo>
                      <a:pt x="301335" y="207333"/>
                    </a:lnTo>
                    <a:lnTo>
                      <a:pt x="299524" y="206481"/>
                    </a:lnTo>
                    <a:lnTo>
                      <a:pt x="297135" y="206006"/>
                    </a:lnTo>
                    <a:lnTo>
                      <a:pt x="294991" y="206577"/>
                    </a:lnTo>
                    <a:lnTo>
                      <a:pt x="292454" y="209860"/>
                    </a:lnTo>
                    <a:lnTo>
                      <a:pt x="287965" y="212102"/>
                    </a:lnTo>
                    <a:lnTo>
                      <a:pt x="286481" y="214659"/>
                    </a:lnTo>
                    <a:lnTo>
                      <a:pt x="282061" y="214088"/>
                    </a:lnTo>
                    <a:lnTo>
                      <a:pt x="278282" y="214536"/>
                    </a:lnTo>
                    <a:lnTo>
                      <a:pt x="272821" y="216866"/>
                    </a:lnTo>
                    <a:lnTo>
                      <a:pt x="268660" y="221856"/>
                    </a:lnTo>
                    <a:lnTo>
                      <a:pt x="264075" y="224972"/>
                    </a:lnTo>
                    <a:lnTo>
                      <a:pt x="260439" y="225957"/>
                    </a:lnTo>
                    <a:lnTo>
                      <a:pt x="257027" y="225649"/>
                    </a:lnTo>
                    <a:lnTo>
                      <a:pt x="254820" y="224717"/>
                    </a:lnTo>
                    <a:lnTo>
                      <a:pt x="250283" y="221442"/>
                    </a:lnTo>
                    <a:lnTo>
                      <a:pt x="250549" y="220267"/>
                    </a:lnTo>
                    <a:lnTo>
                      <a:pt x="251182" y="219674"/>
                    </a:lnTo>
                    <a:lnTo>
                      <a:pt x="252039" y="217988"/>
                    </a:lnTo>
                    <a:lnTo>
                      <a:pt x="253855" y="211788"/>
                    </a:lnTo>
                    <a:lnTo>
                      <a:pt x="253611" y="209776"/>
                    </a:lnTo>
                    <a:lnTo>
                      <a:pt x="252594" y="206600"/>
                    </a:lnTo>
                    <a:lnTo>
                      <a:pt x="248996" y="204131"/>
                    </a:lnTo>
                    <a:lnTo>
                      <a:pt x="246100" y="204599"/>
                    </a:lnTo>
                    <a:lnTo>
                      <a:pt x="244451" y="203941"/>
                    </a:lnTo>
                    <a:lnTo>
                      <a:pt x="238519" y="199738"/>
                    </a:lnTo>
                    <a:lnTo>
                      <a:pt x="235291" y="199440"/>
                    </a:lnTo>
                    <a:lnTo>
                      <a:pt x="231723" y="200288"/>
                    </a:lnTo>
                    <a:lnTo>
                      <a:pt x="230408" y="199676"/>
                    </a:lnTo>
                    <a:lnTo>
                      <a:pt x="229439" y="198210"/>
                    </a:lnTo>
                    <a:lnTo>
                      <a:pt x="236515" y="193012"/>
                    </a:lnTo>
                    <a:lnTo>
                      <a:pt x="243464" y="188714"/>
                    </a:lnTo>
                    <a:lnTo>
                      <a:pt x="246511" y="188272"/>
                    </a:lnTo>
                    <a:lnTo>
                      <a:pt x="250627" y="186269"/>
                    </a:lnTo>
                    <a:lnTo>
                      <a:pt x="255019" y="183259"/>
                    </a:lnTo>
                    <a:lnTo>
                      <a:pt x="254397" y="180890"/>
                    </a:lnTo>
                    <a:lnTo>
                      <a:pt x="253455" y="179138"/>
                    </a:lnTo>
                    <a:lnTo>
                      <a:pt x="251348" y="179619"/>
                    </a:lnTo>
                    <a:lnTo>
                      <a:pt x="249823" y="180206"/>
                    </a:lnTo>
                    <a:lnTo>
                      <a:pt x="246144" y="178325"/>
                    </a:lnTo>
                    <a:lnTo>
                      <a:pt x="244790" y="176940"/>
                    </a:lnTo>
                    <a:lnTo>
                      <a:pt x="239031" y="178377"/>
                    </a:lnTo>
                    <a:lnTo>
                      <a:pt x="235826" y="178164"/>
                    </a:lnTo>
                    <a:lnTo>
                      <a:pt x="228748" y="179485"/>
                    </a:lnTo>
                    <a:lnTo>
                      <a:pt x="225500" y="178195"/>
                    </a:lnTo>
                    <a:lnTo>
                      <a:pt x="218996" y="174580"/>
                    </a:lnTo>
                    <a:lnTo>
                      <a:pt x="216551" y="173853"/>
                    </a:lnTo>
                    <a:lnTo>
                      <a:pt x="214474" y="174007"/>
                    </a:lnTo>
                    <a:lnTo>
                      <a:pt x="213340" y="172817"/>
                    </a:lnTo>
                    <a:lnTo>
                      <a:pt x="214731" y="172221"/>
                    </a:lnTo>
                    <a:lnTo>
                      <a:pt x="216346" y="172151"/>
                    </a:lnTo>
                    <a:lnTo>
                      <a:pt x="218022" y="171715"/>
                    </a:lnTo>
                    <a:lnTo>
                      <a:pt x="218495" y="171084"/>
                    </a:lnTo>
                    <a:lnTo>
                      <a:pt x="218394" y="169897"/>
                    </a:lnTo>
                    <a:lnTo>
                      <a:pt x="215016" y="168996"/>
                    </a:lnTo>
                    <a:lnTo>
                      <a:pt x="211874" y="168737"/>
                    </a:lnTo>
                    <a:lnTo>
                      <a:pt x="209883" y="167669"/>
                    </a:lnTo>
                    <a:lnTo>
                      <a:pt x="208363" y="166446"/>
                    </a:lnTo>
                    <a:lnTo>
                      <a:pt x="211926" y="166427"/>
                    </a:lnTo>
                    <a:lnTo>
                      <a:pt x="215506" y="167352"/>
                    </a:lnTo>
                    <a:lnTo>
                      <a:pt x="221112" y="167693"/>
                    </a:lnTo>
                    <a:lnTo>
                      <a:pt x="226195" y="168649"/>
                    </a:lnTo>
                    <a:lnTo>
                      <a:pt x="227469" y="167460"/>
                    </a:lnTo>
                    <a:lnTo>
                      <a:pt x="230423" y="165399"/>
                    </a:lnTo>
                    <a:lnTo>
                      <a:pt x="230987" y="164742"/>
                    </a:lnTo>
                    <a:lnTo>
                      <a:pt x="226035" y="166153"/>
                    </a:lnTo>
                    <a:lnTo>
                      <a:pt x="221019" y="165253"/>
                    </a:lnTo>
                    <a:lnTo>
                      <a:pt x="219186" y="163995"/>
                    </a:lnTo>
                    <a:lnTo>
                      <a:pt x="217637" y="162151"/>
                    </a:lnTo>
                    <a:lnTo>
                      <a:pt x="216987" y="160047"/>
                    </a:lnTo>
                    <a:lnTo>
                      <a:pt x="217411" y="158085"/>
                    </a:lnTo>
                    <a:lnTo>
                      <a:pt x="216869" y="154539"/>
                    </a:lnTo>
                    <a:lnTo>
                      <a:pt x="215215" y="151380"/>
                    </a:lnTo>
                    <a:lnTo>
                      <a:pt x="214628" y="149645"/>
                    </a:lnTo>
                    <a:lnTo>
                      <a:pt x="212880" y="148089"/>
                    </a:lnTo>
                    <a:lnTo>
                      <a:pt x="214599" y="151607"/>
                    </a:lnTo>
                    <a:lnTo>
                      <a:pt x="215241" y="153945"/>
                    </a:lnTo>
                    <a:lnTo>
                      <a:pt x="216275" y="156097"/>
                    </a:lnTo>
                    <a:lnTo>
                      <a:pt x="216031" y="161794"/>
                    </a:lnTo>
                    <a:lnTo>
                      <a:pt x="215394" y="163793"/>
                    </a:lnTo>
                    <a:lnTo>
                      <a:pt x="213332" y="164297"/>
                    </a:lnTo>
                    <a:lnTo>
                      <a:pt x="210622" y="163997"/>
                    </a:lnTo>
                    <a:lnTo>
                      <a:pt x="207860" y="163376"/>
                    </a:lnTo>
                    <a:lnTo>
                      <a:pt x="208551" y="160245"/>
                    </a:lnTo>
                    <a:lnTo>
                      <a:pt x="207080" y="161328"/>
                    </a:lnTo>
                    <a:lnTo>
                      <a:pt x="205003" y="164375"/>
                    </a:lnTo>
                    <a:lnTo>
                      <a:pt x="203176" y="164829"/>
                    </a:lnTo>
                    <a:lnTo>
                      <a:pt x="199119" y="164496"/>
                    </a:lnTo>
                    <a:lnTo>
                      <a:pt x="191589" y="166510"/>
                    </a:lnTo>
                    <a:lnTo>
                      <a:pt x="191071" y="168702"/>
                    </a:lnTo>
                    <a:lnTo>
                      <a:pt x="189939" y="171665"/>
                    </a:lnTo>
                    <a:lnTo>
                      <a:pt x="188847" y="173389"/>
                    </a:lnTo>
                    <a:lnTo>
                      <a:pt x="188503" y="174428"/>
                    </a:lnTo>
                    <a:lnTo>
                      <a:pt x="185292" y="178886"/>
                    </a:lnTo>
                    <a:lnTo>
                      <a:pt x="184882" y="179307"/>
                    </a:lnTo>
                    <a:lnTo>
                      <a:pt x="178825" y="185475"/>
                    </a:lnTo>
                    <a:lnTo>
                      <a:pt x="178054" y="185938"/>
                    </a:lnTo>
                    <a:lnTo>
                      <a:pt x="174128" y="187371"/>
                    </a:lnTo>
                    <a:lnTo>
                      <a:pt x="171807" y="188626"/>
                    </a:lnTo>
                    <a:lnTo>
                      <a:pt x="170028" y="189186"/>
                    </a:lnTo>
                    <a:lnTo>
                      <a:pt x="167017" y="188563"/>
                    </a:lnTo>
                    <a:lnTo>
                      <a:pt x="165765" y="189451"/>
                    </a:lnTo>
                    <a:lnTo>
                      <a:pt x="165173" y="190550"/>
                    </a:lnTo>
                    <a:lnTo>
                      <a:pt x="165162" y="192821"/>
                    </a:lnTo>
                    <a:lnTo>
                      <a:pt x="166691" y="194452"/>
                    </a:lnTo>
                    <a:lnTo>
                      <a:pt x="167944" y="199870"/>
                    </a:lnTo>
                    <a:lnTo>
                      <a:pt x="167477" y="202156"/>
                    </a:lnTo>
                    <a:lnTo>
                      <a:pt x="166285" y="200676"/>
                    </a:lnTo>
                    <a:lnTo>
                      <a:pt x="164422" y="199116"/>
                    </a:lnTo>
                    <a:lnTo>
                      <a:pt x="160796" y="197775"/>
                    </a:lnTo>
                    <a:lnTo>
                      <a:pt x="156812" y="198234"/>
                    </a:lnTo>
                    <a:lnTo>
                      <a:pt x="152476" y="200494"/>
                    </a:lnTo>
                    <a:lnTo>
                      <a:pt x="149533" y="201334"/>
                    </a:lnTo>
                    <a:lnTo>
                      <a:pt x="147984" y="200754"/>
                    </a:lnTo>
                    <a:lnTo>
                      <a:pt x="147043" y="200787"/>
                    </a:lnTo>
                    <a:lnTo>
                      <a:pt x="146708" y="201435"/>
                    </a:lnTo>
                    <a:lnTo>
                      <a:pt x="146780" y="201965"/>
                    </a:lnTo>
                    <a:lnTo>
                      <a:pt x="147257" y="202376"/>
                    </a:lnTo>
                    <a:lnTo>
                      <a:pt x="147187" y="202676"/>
                    </a:lnTo>
                    <a:lnTo>
                      <a:pt x="146579" y="202863"/>
                    </a:lnTo>
                    <a:lnTo>
                      <a:pt x="139736" y="201272"/>
                    </a:lnTo>
                    <a:lnTo>
                      <a:pt x="136782" y="199766"/>
                    </a:lnTo>
                    <a:lnTo>
                      <a:pt x="134456" y="196930"/>
                    </a:lnTo>
                    <a:lnTo>
                      <a:pt x="135613" y="196012"/>
                    </a:lnTo>
                    <a:lnTo>
                      <a:pt x="136620" y="195608"/>
                    </a:lnTo>
                    <a:lnTo>
                      <a:pt x="140181" y="195372"/>
                    </a:lnTo>
                    <a:lnTo>
                      <a:pt x="140792" y="195082"/>
                    </a:lnTo>
                    <a:lnTo>
                      <a:pt x="140852" y="194427"/>
                    </a:lnTo>
                    <a:lnTo>
                      <a:pt x="141118" y="193579"/>
                    </a:lnTo>
                    <a:lnTo>
                      <a:pt x="141023" y="192330"/>
                    </a:lnTo>
                    <a:lnTo>
                      <a:pt x="140627" y="191011"/>
                    </a:lnTo>
                    <a:lnTo>
                      <a:pt x="142191" y="189084"/>
                    </a:lnTo>
                    <a:lnTo>
                      <a:pt x="144519" y="187484"/>
                    </a:lnTo>
                    <a:lnTo>
                      <a:pt x="145883" y="185881"/>
                    </a:lnTo>
                    <a:lnTo>
                      <a:pt x="146093" y="183532"/>
                    </a:lnTo>
                    <a:lnTo>
                      <a:pt x="148542" y="182387"/>
                    </a:lnTo>
                    <a:lnTo>
                      <a:pt x="150714" y="180418"/>
                    </a:lnTo>
                    <a:lnTo>
                      <a:pt x="151247" y="178270"/>
                    </a:lnTo>
                    <a:lnTo>
                      <a:pt x="152007" y="176920"/>
                    </a:lnTo>
                    <a:lnTo>
                      <a:pt x="150625" y="173821"/>
                    </a:lnTo>
                    <a:lnTo>
                      <a:pt x="150334" y="171775"/>
                    </a:lnTo>
                    <a:lnTo>
                      <a:pt x="150265" y="170059"/>
                    </a:lnTo>
                    <a:lnTo>
                      <a:pt x="150949" y="169105"/>
                    </a:lnTo>
                    <a:lnTo>
                      <a:pt x="152973" y="168036"/>
                    </a:lnTo>
                    <a:lnTo>
                      <a:pt x="155104" y="167207"/>
                    </a:lnTo>
                    <a:lnTo>
                      <a:pt x="155987" y="167288"/>
                    </a:lnTo>
                    <a:lnTo>
                      <a:pt x="156309" y="167816"/>
                    </a:lnTo>
                    <a:lnTo>
                      <a:pt x="156393" y="171301"/>
                    </a:lnTo>
                    <a:lnTo>
                      <a:pt x="156819" y="171367"/>
                    </a:lnTo>
                    <a:lnTo>
                      <a:pt x="157499" y="170933"/>
                    </a:lnTo>
                    <a:lnTo>
                      <a:pt x="158611" y="168881"/>
                    </a:lnTo>
                    <a:lnTo>
                      <a:pt x="159377" y="169478"/>
                    </a:lnTo>
                    <a:lnTo>
                      <a:pt x="160556" y="169705"/>
                    </a:lnTo>
                    <a:lnTo>
                      <a:pt x="161440" y="169176"/>
                    </a:lnTo>
                    <a:lnTo>
                      <a:pt x="162014" y="169237"/>
                    </a:lnTo>
                    <a:lnTo>
                      <a:pt x="162726" y="169767"/>
                    </a:lnTo>
                    <a:lnTo>
                      <a:pt x="164143" y="170513"/>
                    </a:lnTo>
                    <a:lnTo>
                      <a:pt x="165467" y="170761"/>
                    </a:lnTo>
                    <a:lnTo>
                      <a:pt x="166564" y="170264"/>
                    </a:lnTo>
                    <a:lnTo>
                      <a:pt x="167499" y="169377"/>
                    </a:lnTo>
                    <a:lnTo>
                      <a:pt x="168497" y="169680"/>
                    </a:lnTo>
                    <a:lnTo>
                      <a:pt x="170397" y="172100"/>
                    </a:lnTo>
                    <a:lnTo>
                      <a:pt x="171284" y="171832"/>
                    </a:lnTo>
                    <a:lnTo>
                      <a:pt x="175655" y="171343"/>
                    </a:lnTo>
                    <a:lnTo>
                      <a:pt x="176359" y="170685"/>
                    </a:lnTo>
                    <a:lnTo>
                      <a:pt x="176879" y="170088"/>
                    </a:lnTo>
                    <a:lnTo>
                      <a:pt x="172308" y="166875"/>
                    </a:lnTo>
                    <a:lnTo>
                      <a:pt x="172539" y="164481"/>
                    </a:lnTo>
                    <a:lnTo>
                      <a:pt x="172710" y="161734"/>
                    </a:lnTo>
                    <a:lnTo>
                      <a:pt x="172170" y="160102"/>
                    </a:lnTo>
                    <a:lnTo>
                      <a:pt x="171280" y="158807"/>
                    </a:lnTo>
                    <a:lnTo>
                      <a:pt x="167784" y="157302"/>
                    </a:lnTo>
                    <a:lnTo>
                      <a:pt x="165087" y="155743"/>
                    </a:lnTo>
                    <a:lnTo>
                      <a:pt x="164517" y="155040"/>
                    </a:lnTo>
                    <a:lnTo>
                      <a:pt x="164443" y="154128"/>
                    </a:lnTo>
                    <a:lnTo>
                      <a:pt x="164329" y="152710"/>
                    </a:lnTo>
                    <a:lnTo>
                      <a:pt x="163258" y="151492"/>
                    </a:lnTo>
                    <a:lnTo>
                      <a:pt x="163167" y="150461"/>
                    </a:lnTo>
                    <a:lnTo>
                      <a:pt x="163850" y="148853"/>
                    </a:lnTo>
                    <a:lnTo>
                      <a:pt x="164016" y="147139"/>
                    </a:lnTo>
                    <a:lnTo>
                      <a:pt x="163791" y="146462"/>
                    </a:lnTo>
                    <a:lnTo>
                      <a:pt x="163161" y="145910"/>
                    </a:lnTo>
                    <a:lnTo>
                      <a:pt x="161945" y="145856"/>
                    </a:lnTo>
                    <a:lnTo>
                      <a:pt x="160347" y="144865"/>
                    </a:lnTo>
                    <a:lnTo>
                      <a:pt x="159250" y="143529"/>
                    </a:lnTo>
                    <a:lnTo>
                      <a:pt x="156305" y="141602"/>
                    </a:lnTo>
                    <a:lnTo>
                      <a:pt x="155402" y="141288"/>
                    </a:lnTo>
                    <a:lnTo>
                      <a:pt x="154851" y="140333"/>
                    </a:lnTo>
                    <a:lnTo>
                      <a:pt x="154588" y="139192"/>
                    </a:lnTo>
                    <a:lnTo>
                      <a:pt x="155206" y="137774"/>
                    </a:lnTo>
                    <a:lnTo>
                      <a:pt x="155983" y="135590"/>
                    </a:lnTo>
                    <a:lnTo>
                      <a:pt x="156529" y="133539"/>
                    </a:lnTo>
                    <a:lnTo>
                      <a:pt x="156538" y="132316"/>
                    </a:lnTo>
                    <a:lnTo>
                      <a:pt x="156177" y="129290"/>
                    </a:lnTo>
                    <a:lnTo>
                      <a:pt x="154642" y="126975"/>
                    </a:lnTo>
                    <a:lnTo>
                      <a:pt x="153925" y="126668"/>
                    </a:lnTo>
                    <a:lnTo>
                      <a:pt x="152686" y="127320"/>
                    </a:lnTo>
                    <a:lnTo>
                      <a:pt x="151279" y="127865"/>
                    </a:lnTo>
                    <a:lnTo>
                      <a:pt x="150170" y="127354"/>
                    </a:lnTo>
                    <a:lnTo>
                      <a:pt x="148902" y="126098"/>
                    </a:lnTo>
                    <a:lnTo>
                      <a:pt x="146868" y="122599"/>
                    </a:lnTo>
                    <a:lnTo>
                      <a:pt x="143061" y="121898"/>
                    </a:lnTo>
                    <a:lnTo>
                      <a:pt x="141487" y="121731"/>
                    </a:lnTo>
                    <a:lnTo>
                      <a:pt x="139997" y="123420"/>
                    </a:lnTo>
                    <a:lnTo>
                      <a:pt x="139531" y="122907"/>
                    </a:lnTo>
                    <a:lnTo>
                      <a:pt x="139112" y="121828"/>
                    </a:lnTo>
                    <a:lnTo>
                      <a:pt x="138326" y="121397"/>
                    </a:lnTo>
                    <a:lnTo>
                      <a:pt x="137287" y="121897"/>
                    </a:lnTo>
                    <a:lnTo>
                      <a:pt x="136987" y="121416"/>
                    </a:lnTo>
                    <a:lnTo>
                      <a:pt x="137434" y="119957"/>
                    </a:lnTo>
                    <a:lnTo>
                      <a:pt x="136192" y="119235"/>
                    </a:lnTo>
                    <a:lnTo>
                      <a:pt x="133268" y="119251"/>
                    </a:lnTo>
                    <a:lnTo>
                      <a:pt x="131714" y="118713"/>
                    </a:lnTo>
                    <a:lnTo>
                      <a:pt x="131528" y="117615"/>
                    </a:lnTo>
                    <a:lnTo>
                      <a:pt x="130608" y="116894"/>
                    </a:lnTo>
                    <a:lnTo>
                      <a:pt x="128947" y="116547"/>
                    </a:lnTo>
                    <a:lnTo>
                      <a:pt x="127339" y="115649"/>
                    </a:lnTo>
                    <a:lnTo>
                      <a:pt x="125778" y="114203"/>
                    </a:lnTo>
                    <a:lnTo>
                      <a:pt x="123443" y="113260"/>
                    </a:lnTo>
                    <a:lnTo>
                      <a:pt x="120331" y="112824"/>
                    </a:lnTo>
                    <a:lnTo>
                      <a:pt x="120077" y="112668"/>
                    </a:lnTo>
                    <a:lnTo>
                      <a:pt x="119790" y="112460"/>
                    </a:lnTo>
                    <a:lnTo>
                      <a:pt x="117781" y="113443"/>
                    </a:lnTo>
                    <a:lnTo>
                      <a:pt x="116574" y="114221"/>
                    </a:lnTo>
                    <a:lnTo>
                      <a:pt x="115095" y="113737"/>
                    </a:lnTo>
                    <a:lnTo>
                      <a:pt x="112698" y="115473"/>
                    </a:lnTo>
                    <a:lnTo>
                      <a:pt x="107833" y="115563"/>
                    </a:lnTo>
                    <a:lnTo>
                      <a:pt x="105447" y="115459"/>
                    </a:lnTo>
                    <a:lnTo>
                      <a:pt x="104263" y="115028"/>
                    </a:lnTo>
                    <a:lnTo>
                      <a:pt x="99694" y="117662"/>
                    </a:lnTo>
                    <a:lnTo>
                      <a:pt x="99219" y="118632"/>
                    </a:lnTo>
                    <a:lnTo>
                      <a:pt x="98191" y="118955"/>
                    </a:lnTo>
                    <a:lnTo>
                      <a:pt x="95315" y="119478"/>
                    </a:lnTo>
                    <a:lnTo>
                      <a:pt x="92292" y="120220"/>
                    </a:lnTo>
                    <a:lnTo>
                      <a:pt x="91657" y="122778"/>
                    </a:lnTo>
                    <a:lnTo>
                      <a:pt x="90756" y="124159"/>
                    </a:lnTo>
                    <a:lnTo>
                      <a:pt x="89131" y="126186"/>
                    </a:lnTo>
                    <a:lnTo>
                      <a:pt x="83514" y="126890"/>
                    </a:lnTo>
                    <a:lnTo>
                      <a:pt x="78662" y="127880"/>
                    </a:lnTo>
                    <a:lnTo>
                      <a:pt x="73687" y="128491"/>
                    </a:lnTo>
                    <a:lnTo>
                      <a:pt x="67171" y="130962"/>
                    </a:lnTo>
                    <a:lnTo>
                      <a:pt x="65053" y="133140"/>
                    </a:lnTo>
                    <a:lnTo>
                      <a:pt x="62959" y="133747"/>
                    </a:lnTo>
                    <a:lnTo>
                      <a:pt x="61063" y="133926"/>
                    </a:lnTo>
                    <a:lnTo>
                      <a:pt x="59836" y="132714"/>
                    </a:lnTo>
                    <a:lnTo>
                      <a:pt x="55703" y="129457"/>
                    </a:lnTo>
                    <a:lnTo>
                      <a:pt x="54109" y="127920"/>
                    </a:lnTo>
                    <a:lnTo>
                      <a:pt x="52013" y="127467"/>
                    </a:lnTo>
                    <a:lnTo>
                      <a:pt x="49733" y="127723"/>
                    </a:lnTo>
                    <a:lnTo>
                      <a:pt x="47543" y="128480"/>
                    </a:lnTo>
                    <a:lnTo>
                      <a:pt x="45239" y="128625"/>
                    </a:lnTo>
                    <a:lnTo>
                      <a:pt x="42630" y="127533"/>
                    </a:lnTo>
                    <a:lnTo>
                      <a:pt x="42356" y="127639"/>
                    </a:lnTo>
                    <a:lnTo>
                      <a:pt x="41350" y="127786"/>
                    </a:lnTo>
                    <a:lnTo>
                      <a:pt x="34874" y="126466"/>
                    </a:lnTo>
                    <a:lnTo>
                      <a:pt x="34278" y="126247"/>
                    </a:lnTo>
                    <a:lnTo>
                      <a:pt x="33991" y="126192"/>
                    </a:lnTo>
                    <a:lnTo>
                      <a:pt x="33099" y="126093"/>
                    </a:lnTo>
                    <a:lnTo>
                      <a:pt x="28223" y="126258"/>
                    </a:lnTo>
                    <a:lnTo>
                      <a:pt x="23677" y="123589"/>
                    </a:lnTo>
                    <a:lnTo>
                      <a:pt x="22280" y="123508"/>
                    </a:lnTo>
                    <a:lnTo>
                      <a:pt x="21205" y="124589"/>
                    </a:lnTo>
                    <a:lnTo>
                      <a:pt x="20408" y="125791"/>
                    </a:lnTo>
                    <a:lnTo>
                      <a:pt x="17270" y="126984"/>
                    </a:lnTo>
                    <a:lnTo>
                      <a:pt x="16469" y="127463"/>
                    </a:lnTo>
                    <a:lnTo>
                      <a:pt x="16014" y="127095"/>
                    </a:lnTo>
                    <a:lnTo>
                      <a:pt x="15802" y="126058"/>
                    </a:lnTo>
                    <a:lnTo>
                      <a:pt x="16040" y="125141"/>
                    </a:lnTo>
                    <a:lnTo>
                      <a:pt x="15575" y="124273"/>
                    </a:lnTo>
                    <a:lnTo>
                      <a:pt x="14381" y="123287"/>
                    </a:lnTo>
                    <a:lnTo>
                      <a:pt x="14092" y="122880"/>
                    </a:lnTo>
                    <a:lnTo>
                      <a:pt x="12598" y="122954"/>
                    </a:lnTo>
                    <a:lnTo>
                      <a:pt x="12190" y="123050"/>
                    </a:lnTo>
                    <a:lnTo>
                      <a:pt x="12040" y="123028"/>
                    </a:lnTo>
                    <a:lnTo>
                      <a:pt x="9963" y="122191"/>
                    </a:lnTo>
                    <a:lnTo>
                      <a:pt x="8585" y="120174"/>
                    </a:lnTo>
                    <a:lnTo>
                      <a:pt x="6456" y="119101"/>
                    </a:lnTo>
                    <a:lnTo>
                      <a:pt x="4828" y="118740"/>
                    </a:lnTo>
                    <a:lnTo>
                      <a:pt x="4087" y="117875"/>
                    </a:lnTo>
                    <a:lnTo>
                      <a:pt x="3610" y="116724"/>
                    </a:lnTo>
                    <a:lnTo>
                      <a:pt x="3102" y="115854"/>
                    </a:lnTo>
                    <a:lnTo>
                      <a:pt x="3042" y="115772"/>
                    </a:lnTo>
                    <a:lnTo>
                      <a:pt x="2695" y="114455"/>
                    </a:lnTo>
                    <a:lnTo>
                      <a:pt x="2196" y="114319"/>
                    </a:lnTo>
                    <a:lnTo>
                      <a:pt x="2107" y="114284"/>
                    </a:lnTo>
                    <a:lnTo>
                      <a:pt x="0" y="114513"/>
                    </a:lnTo>
                    <a:lnTo>
                      <a:pt x="244" y="109884"/>
                    </a:lnTo>
                    <a:lnTo>
                      <a:pt x="3612" y="106550"/>
                    </a:lnTo>
                    <a:lnTo>
                      <a:pt x="4439" y="104866"/>
                    </a:lnTo>
                    <a:lnTo>
                      <a:pt x="5696" y="101209"/>
                    </a:lnTo>
                    <a:lnTo>
                      <a:pt x="6638" y="99497"/>
                    </a:lnTo>
                    <a:lnTo>
                      <a:pt x="7769" y="98079"/>
                    </a:lnTo>
                    <a:lnTo>
                      <a:pt x="8674" y="96706"/>
                    </a:lnTo>
                    <a:lnTo>
                      <a:pt x="8996" y="95526"/>
                    </a:lnTo>
                    <a:lnTo>
                      <a:pt x="9909" y="95398"/>
                    </a:lnTo>
                    <a:lnTo>
                      <a:pt x="12591" y="96462"/>
                    </a:lnTo>
                    <a:lnTo>
                      <a:pt x="14990" y="97009"/>
                    </a:lnTo>
                    <a:lnTo>
                      <a:pt x="15653" y="96491"/>
                    </a:lnTo>
                    <a:lnTo>
                      <a:pt x="15925" y="95811"/>
                    </a:lnTo>
                    <a:lnTo>
                      <a:pt x="15815" y="95282"/>
                    </a:lnTo>
                    <a:lnTo>
                      <a:pt x="13893" y="93712"/>
                    </a:lnTo>
                    <a:lnTo>
                      <a:pt x="12688" y="92712"/>
                    </a:lnTo>
                    <a:lnTo>
                      <a:pt x="12615" y="92097"/>
                    </a:lnTo>
                    <a:lnTo>
                      <a:pt x="13049" y="90717"/>
                    </a:lnTo>
                    <a:lnTo>
                      <a:pt x="13280" y="89165"/>
                    </a:lnTo>
                    <a:lnTo>
                      <a:pt x="13003" y="87486"/>
                    </a:lnTo>
                    <a:lnTo>
                      <a:pt x="11693" y="83762"/>
                    </a:lnTo>
                    <a:lnTo>
                      <a:pt x="11444" y="82174"/>
                    </a:lnTo>
                    <a:lnTo>
                      <a:pt x="12699" y="80244"/>
                    </a:lnTo>
                    <a:lnTo>
                      <a:pt x="16780" y="75641"/>
                    </a:lnTo>
                    <a:lnTo>
                      <a:pt x="18141" y="73910"/>
                    </a:lnTo>
                    <a:lnTo>
                      <a:pt x="20000" y="71815"/>
                    </a:lnTo>
                    <a:lnTo>
                      <a:pt x="25044" y="66799"/>
                    </a:lnTo>
                    <a:lnTo>
                      <a:pt x="28232" y="63878"/>
                    </a:lnTo>
                    <a:lnTo>
                      <a:pt x="30389" y="62260"/>
                    </a:lnTo>
                    <a:lnTo>
                      <a:pt x="33548" y="59445"/>
                    </a:lnTo>
                    <a:lnTo>
                      <a:pt x="34934" y="57987"/>
                    </a:lnTo>
                    <a:lnTo>
                      <a:pt x="40704" y="57038"/>
                    </a:lnTo>
                    <a:lnTo>
                      <a:pt x="41419" y="55675"/>
                    </a:lnTo>
                    <a:lnTo>
                      <a:pt x="42473" y="54183"/>
                    </a:lnTo>
                    <a:lnTo>
                      <a:pt x="43297" y="53543"/>
                    </a:lnTo>
                    <a:lnTo>
                      <a:pt x="43403" y="51027"/>
                    </a:lnTo>
                    <a:lnTo>
                      <a:pt x="42332" y="47950"/>
                    </a:lnTo>
                    <a:lnTo>
                      <a:pt x="41471" y="46862"/>
                    </a:lnTo>
                    <a:lnTo>
                      <a:pt x="40832" y="46121"/>
                    </a:lnTo>
                    <a:lnTo>
                      <a:pt x="41244" y="45428"/>
                    </a:lnTo>
                    <a:lnTo>
                      <a:pt x="41883" y="45231"/>
                    </a:lnTo>
                    <a:lnTo>
                      <a:pt x="42671" y="45133"/>
                    </a:lnTo>
                    <a:lnTo>
                      <a:pt x="43647" y="44391"/>
                    </a:lnTo>
                    <a:lnTo>
                      <a:pt x="43427" y="43581"/>
                    </a:lnTo>
                    <a:lnTo>
                      <a:pt x="40994" y="41606"/>
                    </a:lnTo>
                    <a:lnTo>
                      <a:pt x="39940" y="40085"/>
                    </a:lnTo>
                    <a:lnTo>
                      <a:pt x="38290" y="36177"/>
                    </a:lnTo>
                    <a:lnTo>
                      <a:pt x="34945" y="32109"/>
                    </a:lnTo>
                    <a:lnTo>
                      <a:pt x="33889" y="30793"/>
                    </a:lnTo>
                    <a:lnTo>
                      <a:pt x="33738" y="29548"/>
                    </a:lnTo>
                    <a:lnTo>
                      <a:pt x="34226" y="28303"/>
                    </a:lnTo>
                    <a:lnTo>
                      <a:pt x="33766" y="26716"/>
                    </a:lnTo>
                    <a:lnTo>
                      <a:pt x="32581" y="24690"/>
                    </a:lnTo>
                    <a:lnTo>
                      <a:pt x="32768" y="24471"/>
                    </a:lnTo>
                    <a:lnTo>
                      <a:pt x="32654" y="21968"/>
                    </a:lnTo>
                    <a:lnTo>
                      <a:pt x="33496" y="21427"/>
                    </a:lnTo>
                    <a:lnTo>
                      <a:pt x="34826" y="21061"/>
                    </a:lnTo>
                    <a:lnTo>
                      <a:pt x="36703" y="21184"/>
                    </a:lnTo>
                    <a:lnTo>
                      <a:pt x="38307" y="21571"/>
                    </a:lnTo>
                    <a:lnTo>
                      <a:pt x="40229" y="22716"/>
                    </a:lnTo>
                    <a:lnTo>
                      <a:pt x="40829" y="22532"/>
                    </a:lnTo>
                    <a:lnTo>
                      <a:pt x="44114" y="20373"/>
                    </a:lnTo>
                    <a:lnTo>
                      <a:pt x="47502" y="17130"/>
                    </a:lnTo>
                    <a:lnTo>
                      <a:pt x="48467" y="15251"/>
                    </a:lnTo>
                    <a:lnTo>
                      <a:pt x="49311" y="14392"/>
                    </a:lnTo>
                    <a:lnTo>
                      <a:pt x="52259" y="13933"/>
                    </a:lnTo>
                    <a:lnTo>
                      <a:pt x="54826" y="13743"/>
                    </a:lnTo>
                    <a:lnTo>
                      <a:pt x="56459" y="13779"/>
                    </a:lnTo>
                    <a:lnTo>
                      <a:pt x="60467" y="13459"/>
                    </a:lnTo>
                    <a:lnTo>
                      <a:pt x="62842" y="13104"/>
                    </a:lnTo>
                    <a:lnTo>
                      <a:pt x="64896" y="12531"/>
                    </a:lnTo>
                    <a:lnTo>
                      <a:pt x="69329" y="12318"/>
                    </a:lnTo>
                    <a:lnTo>
                      <a:pt x="76252" y="12702"/>
                    </a:lnTo>
                    <a:lnTo>
                      <a:pt x="80795" y="12729"/>
                    </a:lnTo>
                    <a:lnTo>
                      <a:pt x="83881" y="13034"/>
                    </a:lnTo>
                    <a:lnTo>
                      <a:pt x="91439" y="14761"/>
                    </a:lnTo>
                    <a:lnTo>
                      <a:pt x="94252" y="15074"/>
                    </a:lnTo>
                    <a:lnTo>
                      <a:pt x="95559" y="15988"/>
                    </a:lnTo>
                    <a:lnTo>
                      <a:pt x="98068" y="16328"/>
                    </a:lnTo>
                    <a:lnTo>
                      <a:pt x="102635" y="17248"/>
                    </a:lnTo>
                    <a:lnTo>
                      <a:pt x="106602" y="17741"/>
                    </a:lnTo>
                    <a:lnTo>
                      <a:pt x="109284" y="17539"/>
                    </a:lnTo>
                    <a:lnTo>
                      <a:pt x="110785" y="17798"/>
                    </a:lnTo>
                    <a:lnTo>
                      <a:pt x="113618" y="21877"/>
                    </a:lnTo>
                    <a:lnTo>
                      <a:pt x="114196" y="22353"/>
                    </a:lnTo>
                    <a:lnTo>
                      <a:pt x="115332" y="22449"/>
                    </a:lnTo>
                    <a:lnTo>
                      <a:pt x="117647" y="22097"/>
                    </a:lnTo>
                    <a:lnTo>
                      <a:pt x="120943" y="22229"/>
                    </a:lnTo>
                    <a:lnTo>
                      <a:pt x="122897" y="23088"/>
                    </a:lnTo>
                    <a:lnTo>
                      <a:pt x="122610" y="25513"/>
                    </a:lnTo>
                    <a:lnTo>
                      <a:pt x="123123" y="25864"/>
                    </a:lnTo>
                    <a:lnTo>
                      <a:pt x="124037" y="25729"/>
                    </a:lnTo>
                    <a:lnTo>
                      <a:pt x="125088" y="24360"/>
                    </a:lnTo>
                    <a:lnTo>
                      <a:pt x="125972" y="22940"/>
                    </a:lnTo>
                    <a:lnTo>
                      <a:pt x="126630" y="22501"/>
                    </a:lnTo>
                    <a:lnTo>
                      <a:pt x="129995" y="23460"/>
                    </a:lnTo>
                    <a:lnTo>
                      <a:pt x="131532" y="23305"/>
                    </a:lnTo>
                    <a:lnTo>
                      <a:pt x="132951" y="22228"/>
                    </a:lnTo>
                    <a:lnTo>
                      <a:pt x="133821" y="22045"/>
                    </a:lnTo>
                    <a:lnTo>
                      <a:pt x="136205" y="22811"/>
                    </a:lnTo>
                    <a:lnTo>
                      <a:pt x="139146" y="23347"/>
                    </a:lnTo>
                    <a:lnTo>
                      <a:pt x="141522" y="23381"/>
                    </a:lnTo>
                    <a:lnTo>
                      <a:pt x="143003" y="23964"/>
                    </a:lnTo>
                    <a:lnTo>
                      <a:pt x="144080" y="26494"/>
                    </a:lnTo>
                    <a:lnTo>
                      <a:pt x="145020" y="27013"/>
                    </a:lnTo>
                    <a:lnTo>
                      <a:pt x="145927" y="27174"/>
                    </a:lnTo>
                    <a:lnTo>
                      <a:pt x="147298" y="24913"/>
                    </a:lnTo>
                    <a:lnTo>
                      <a:pt x="148542" y="24036"/>
                    </a:lnTo>
                    <a:lnTo>
                      <a:pt x="150267" y="23390"/>
                    </a:lnTo>
                    <a:lnTo>
                      <a:pt x="151377" y="23107"/>
                    </a:lnTo>
                    <a:lnTo>
                      <a:pt x="152158" y="22308"/>
                    </a:lnTo>
                    <a:lnTo>
                      <a:pt x="153212" y="21528"/>
                    </a:lnTo>
                    <a:lnTo>
                      <a:pt x="154126" y="21466"/>
                    </a:lnTo>
                    <a:lnTo>
                      <a:pt x="154868" y="21768"/>
                    </a:lnTo>
                    <a:lnTo>
                      <a:pt x="155721" y="22847"/>
                    </a:lnTo>
                    <a:lnTo>
                      <a:pt x="156965" y="25305"/>
                    </a:lnTo>
                    <a:lnTo>
                      <a:pt x="158477" y="27771"/>
                    </a:lnTo>
                    <a:lnTo>
                      <a:pt x="159531" y="28666"/>
                    </a:lnTo>
                    <a:lnTo>
                      <a:pt x="162254" y="27909"/>
                    </a:lnTo>
                    <a:lnTo>
                      <a:pt x="164100" y="27139"/>
                    </a:lnTo>
                    <a:lnTo>
                      <a:pt x="167482" y="26993"/>
                    </a:lnTo>
                    <a:lnTo>
                      <a:pt x="171964" y="26451"/>
                    </a:lnTo>
                    <a:lnTo>
                      <a:pt x="175392" y="25745"/>
                    </a:lnTo>
                    <a:lnTo>
                      <a:pt x="177536" y="25867"/>
                    </a:lnTo>
                    <a:lnTo>
                      <a:pt x="178836" y="26650"/>
                    </a:lnTo>
                    <a:lnTo>
                      <a:pt x="180814" y="28166"/>
                    </a:lnTo>
                    <a:lnTo>
                      <a:pt x="181354" y="30339"/>
                    </a:lnTo>
                    <a:lnTo>
                      <a:pt x="183921" y="31841"/>
                    </a:lnTo>
                    <a:lnTo>
                      <a:pt x="186022" y="32112"/>
                    </a:lnTo>
                    <a:lnTo>
                      <a:pt x="186739" y="30549"/>
                    </a:lnTo>
                    <a:lnTo>
                      <a:pt x="187968" y="29462"/>
                    </a:lnTo>
                    <a:lnTo>
                      <a:pt x="187508" y="27968"/>
                    </a:lnTo>
                    <a:lnTo>
                      <a:pt x="187301" y="26062"/>
                    </a:lnTo>
                    <a:lnTo>
                      <a:pt x="186380" y="24291"/>
                    </a:lnTo>
                    <a:lnTo>
                      <a:pt x="185767" y="22384"/>
                    </a:lnTo>
                    <a:lnTo>
                      <a:pt x="186892" y="19657"/>
                    </a:lnTo>
                    <a:lnTo>
                      <a:pt x="188121" y="17267"/>
                    </a:lnTo>
                    <a:lnTo>
                      <a:pt x="188736" y="15968"/>
                    </a:lnTo>
                    <a:lnTo>
                      <a:pt x="190682" y="13576"/>
                    </a:lnTo>
                    <a:lnTo>
                      <a:pt x="192682" y="11865"/>
                    </a:lnTo>
                    <a:lnTo>
                      <a:pt x="195666" y="9111"/>
                    </a:lnTo>
                    <a:lnTo>
                      <a:pt x="197847" y="8201"/>
                    </a:lnTo>
                    <a:lnTo>
                      <a:pt x="199818" y="8616"/>
                    </a:lnTo>
                    <a:lnTo>
                      <a:pt x="200913" y="8992"/>
                    </a:lnTo>
                    <a:lnTo>
                      <a:pt x="203744" y="7360"/>
                    </a:lnTo>
                    <a:lnTo>
                      <a:pt x="208780" y="7279"/>
                    </a:lnTo>
                    <a:lnTo>
                      <a:pt x="212973" y="7487"/>
                    </a:lnTo>
                    <a:lnTo>
                      <a:pt x="213394" y="7536"/>
                    </a:lnTo>
                    <a:lnTo>
                      <a:pt x="215455" y="8380"/>
                    </a:lnTo>
                    <a:lnTo>
                      <a:pt x="217627" y="9098"/>
                    </a:lnTo>
                    <a:lnTo>
                      <a:pt x="219125" y="9146"/>
                    </a:lnTo>
                    <a:lnTo>
                      <a:pt x="220909" y="8981"/>
                    </a:lnTo>
                    <a:lnTo>
                      <a:pt x="223000" y="8024"/>
                    </a:lnTo>
                    <a:lnTo>
                      <a:pt x="224459" y="7104"/>
                    </a:lnTo>
                    <a:lnTo>
                      <a:pt x="226232" y="2418"/>
                    </a:lnTo>
                    <a:lnTo>
                      <a:pt x="226858" y="1744"/>
                    </a:lnTo>
                    <a:lnTo>
                      <a:pt x="227834" y="1376"/>
                    </a:lnTo>
                    <a:lnTo>
                      <a:pt x="229437" y="1337"/>
                    </a:lnTo>
                    <a:lnTo>
                      <a:pt x="232477" y="2211"/>
                    </a:lnTo>
                    <a:lnTo>
                      <a:pt x="236038" y="2996"/>
                    </a:lnTo>
                    <a:lnTo>
                      <a:pt x="238100" y="2886"/>
                    </a:lnTo>
                    <a:lnTo>
                      <a:pt x="243600" y="390"/>
                    </a:lnTo>
                    <a:close/>
                  </a:path>
                </a:pathLst>
              </a:custGeom>
              <a:pattFill prst="dkUpDiag">
                <a:fgClr>
                  <a:srgbClr val="FDDEBE"/>
                </a:fgClr>
                <a:bgClr>
                  <a:srgbClr val="D9D9D9"/>
                </a:bgClr>
              </a:patt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47" name="ee4p_VA_1_15912">
                <a:extLst>
                  <a:ext uri="{FF2B5EF4-FFF2-40B4-BE49-F238E27FC236}">
                    <a16:creationId xmlns:a16="http://schemas.microsoft.com/office/drawing/2014/main" id="{CBD2ED9C-8C70-6ED9-B6DC-DFAE92B863C5}"/>
                  </a:ext>
                </a:extLst>
              </p:cNvPr>
              <p:cNvSpPr>
                <a:spLocks noChangeAspect="1"/>
              </p:cNvSpPr>
              <p:nvPr>
                <p:custDataLst>
                  <p:tags r:id="rId278"/>
                </p:custDataLst>
              </p:nvPr>
            </p:nvSpPr>
            <p:spPr>
              <a:xfrm>
                <a:off x="4861078" y="5418212"/>
                <a:ext cx="1023" cy="916"/>
              </a:xfrm>
              <a:custGeom>
                <a:avLst/>
                <a:gdLst/>
                <a:ahLst/>
                <a:cxnLst/>
                <a:rect l="0" t="0" r="0" b="0"/>
                <a:pathLst>
                  <a:path w="258" h="231">
                    <a:moveTo>
                      <a:pt x="257" y="208"/>
                    </a:moveTo>
                    <a:lnTo>
                      <a:pt x="67" y="230"/>
                    </a:lnTo>
                    <a:lnTo>
                      <a:pt x="0" y="145"/>
                    </a:lnTo>
                    <a:lnTo>
                      <a:pt x="67" y="20"/>
                    </a:lnTo>
                    <a:lnTo>
                      <a:pt x="240" y="0"/>
                    </a:lnTo>
                    <a:close/>
                  </a:path>
                </a:pathLst>
              </a:custGeom>
              <a:solidFill>
                <a:srgbClr val="6F7072"/>
              </a:solidFill>
              <a:ln w="317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568" name="ee4p_IE_1_15912">
              <a:extLst>
                <a:ext uri="{FF2B5EF4-FFF2-40B4-BE49-F238E27FC236}">
                  <a16:creationId xmlns:a16="http://schemas.microsoft.com/office/drawing/2014/main" id="{356F560A-B7D3-46FA-7AA2-F7475022C515}"/>
                </a:ext>
              </a:extLst>
            </p:cNvPr>
            <p:cNvSpPr>
              <a:spLocks noChangeAspect="1"/>
            </p:cNvSpPr>
            <p:nvPr>
              <p:custDataLst>
                <p:tags r:id="rId1"/>
              </p:custDataLst>
            </p:nvPr>
          </p:nvSpPr>
          <p:spPr>
            <a:xfrm>
              <a:off x="6224142" y="3682272"/>
              <a:ext cx="440866" cy="590055"/>
            </a:xfrm>
            <a:custGeom>
              <a:avLst/>
              <a:gdLst>
                <a:gd name="connsiteX0" fmla="*/ 4626 w 96471"/>
                <a:gd name="connsiteY0" fmla="*/ 41297 h 117212"/>
                <a:gd name="connsiteX1" fmla="*/ 5539 w 96471"/>
                <a:gd name="connsiteY1" fmla="*/ 41650 h 117212"/>
                <a:gd name="connsiteX2" fmla="*/ 8709 w 96471"/>
                <a:gd name="connsiteY2" fmla="*/ 41699 h 117212"/>
                <a:gd name="connsiteX3" fmla="*/ 9599 w 96471"/>
                <a:gd name="connsiteY3" fmla="*/ 42196 h 117212"/>
                <a:gd name="connsiteX4" fmla="*/ 9774 w 96471"/>
                <a:gd name="connsiteY4" fmla="*/ 44442 h 117212"/>
                <a:gd name="connsiteX5" fmla="*/ 9681 w 96471"/>
                <a:gd name="connsiteY5" fmla="*/ 45307 h 117212"/>
                <a:gd name="connsiteX6" fmla="*/ 8043 w 96471"/>
                <a:gd name="connsiteY6" fmla="*/ 44217 h 117212"/>
                <a:gd name="connsiteX7" fmla="*/ 7247 w 96471"/>
                <a:gd name="connsiteY7" fmla="*/ 43030 h 117212"/>
                <a:gd name="connsiteX8" fmla="*/ 2753 w 96471"/>
                <a:gd name="connsiteY8" fmla="*/ 42485 h 117212"/>
                <a:gd name="connsiteX9" fmla="*/ 68137 w 96471"/>
                <a:gd name="connsiteY9" fmla="*/ 0 h 117212"/>
                <a:gd name="connsiteX10" fmla="*/ 69511 w 96471"/>
                <a:gd name="connsiteY10" fmla="*/ 395 h 117212"/>
                <a:gd name="connsiteX11" fmla="*/ 71531 w 96471"/>
                <a:gd name="connsiteY11" fmla="*/ 1873 h 117212"/>
                <a:gd name="connsiteX12" fmla="*/ 73633 w 96471"/>
                <a:gd name="connsiteY12" fmla="*/ 3031 h 117212"/>
                <a:gd name="connsiteX13" fmla="*/ 75813 w 96471"/>
                <a:gd name="connsiteY13" fmla="*/ 3949 h 117212"/>
                <a:gd name="connsiteX14" fmla="*/ 73718 w 96471"/>
                <a:gd name="connsiteY14" fmla="*/ 5785 h 117212"/>
                <a:gd name="connsiteX15" fmla="*/ 71143 w 96471"/>
                <a:gd name="connsiteY15" fmla="*/ 7058 h 117212"/>
                <a:gd name="connsiteX16" fmla="*/ 70130 w 96471"/>
                <a:gd name="connsiteY16" fmla="*/ 8444 h 117212"/>
                <a:gd name="connsiteX17" fmla="*/ 66631 w 96471"/>
                <a:gd name="connsiteY17" fmla="*/ 10422 h 117212"/>
                <a:gd name="connsiteX18" fmla="*/ 66089 w 96471"/>
                <a:gd name="connsiteY18" fmla="*/ 11171 h 117212"/>
                <a:gd name="connsiteX19" fmla="*/ 65103 w 96471"/>
                <a:gd name="connsiteY19" fmla="*/ 14188 h 117212"/>
                <a:gd name="connsiteX20" fmla="*/ 64987 w 96471"/>
                <a:gd name="connsiteY20" fmla="*/ 15048 h 117212"/>
                <a:gd name="connsiteX21" fmla="*/ 63861 w 96471"/>
                <a:gd name="connsiteY21" fmla="*/ 16633 h 117212"/>
                <a:gd name="connsiteX22" fmla="*/ 62795 w 96471"/>
                <a:gd name="connsiteY22" fmla="*/ 18395 h 117212"/>
                <a:gd name="connsiteX23" fmla="*/ 61555 w 96471"/>
                <a:gd name="connsiteY23" fmla="*/ 19077 h 117212"/>
                <a:gd name="connsiteX24" fmla="*/ 59708 w 96471"/>
                <a:gd name="connsiteY24" fmla="*/ 19618 h 117212"/>
                <a:gd name="connsiteX25" fmla="*/ 58658 w 96471"/>
                <a:gd name="connsiteY25" fmla="*/ 20156 h 117212"/>
                <a:gd name="connsiteX26" fmla="*/ 57336 w 96471"/>
                <a:gd name="connsiteY26" fmla="*/ 19886 h 117212"/>
                <a:gd name="connsiteX27" fmla="*/ 55662 w 96471"/>
                <a:gd name="connsiteY27" fmla="*/ 19929 h 117212"/>
                <a:gd name="connsiteX28" fmla="*/ 54830 w 96471"/>
                <a:gd name="connsiteY28" fmla="*/ 20527 h 117212"/>
                <a:gd name="connsiteX29" fmla="*/ 54871 w 96471"/>
                <a:gd name="connsiteY29" fmla="*/ 20986 h 117212"/>
                <a:gd name="connsiteX30" fmla="*/ 55371 w 96471"/>
                <a:gd name="connsiteY30" fmla="*/ 21515 h 117212"/>
                <a:gd name="connsiteX31" fmla="*/ 56837 w 96471"/>
                <a:gd name="connsiteY31" fmla="*/ 22322 h 117212"/>
                <a:gd name="connsiteX32" fmla="*/ 58463 w 96471"/>
                <a:gd name="connsiteY32" fmla="*/ 23052 h 117212"/>
                <a:gd name="connsiteX33" fmla="*/ 58284 w 96471"/>
                <a:gd name="connsiteY33" fmla="*/ 23691 h 117212"/>
                <a:gd name="connsiteX34" fmla="*/ 57413 w 96471"/>
                <a:gd name="connsiteY34" fmla="*/ 24415 h 117212"/>
                <a:gd name="connsiteX35" fmla="*/ 51873 w 96471"/>
                <a:gd name="connsiteY35" fmla="*/ 26211 h 117212"/>
                <a:gd name="connsiteX36" fmla="*/ 50223 w 96471"/>
                <a:gd name="connsiteY36" fmla="*/ 27295 h 117212"/>
                <a:gd name="connsiteX37" fmla="*/ 49651 w 96471"/>
                <a:gd name="connsiteY37" fmla="*/ 28010 h 117212"/>
                <a:gd name="connsiteX38" fmla="*/ 50238 w 96471"/>
                <a:gd name="connsiteY38" fmla="*/ 29208 h 117212"/>
                <a:gd name="connsiteX39" fmla="*/ 54656 w 96471"/>
                <a:gd name="connsiteY39" fmla="*/ 32794 h 117212"/>
                <a:gd name="connsiteX40" fmla="*/ 55408 w 96471"/>
                <a:gd name="connsiteY40" fmla="*/ 33184 h 117212"/>
                <a:gd name="connsiteX41" fmla="*/ 56061 w 96471"/>
                <a:gd name="connsiteY41" fmla="*/ 35268 h 117212"/>
                <a:gd name="connsiteX42" fmla="*/ 59956 w 96471"/>
                <a:gd name="connsiteY42" fmla="*/ 36139 h 117212"/>
                <a:gd name="connsiteX43" fmla="*/ 61553 w 96471"/>
                <a:gd name="connsiteY43" fmla="*/ 37440 h 117212"/>
                <a:gd name="connsiteX44" fmla="*/ 62927 w 96471"/>
                <a:gd name="connsiteY44" fmla="*/ 37752 h 117212"/>
                <a:gd name="connsiteX45" fmla="*/ 65912 w 96471"/>
                <a:gd name="connsiteY45" fmla="*/ 37639 h 117212"/>
                <a:gd name="connsiteX46" fmla="*/ 67112 w 96471"/>
                <a:gd name="connsiteY46" fmla="*/ 38128 h 117212"/>
                <a:gd name="connsiteX47" fmla="*/ 67790 w 96471"/>
                <a:gd name="connsiteY47" fmla="*/ 37757 h 117212"/>
                <a:gd name="connsiteX48" fmla="*/ 68183 w 96471"/>
                <a:gd name="connsiteY48" fmla="*/ 37071 h 117212"/>
                <a:gd name="connsiteX49" fmla="*/ 70696 w 96471"/>
                <a:gd name="connsiteY49" fmla="*/ 35304 h 117212"/>
                <a:gd name="connsiteX50" fmla="*/ 71527 w 96471"/>
                <a:gd name="connsiteY50" fmla="*/ 34532 h 117212"/>
                <a:gd name="connsiteX51" fmla="*/ 71028 w 96471"/>
                <a:gd name="connsiteY51" fmla="*/ 33454 h 117212"/>
                <a:gd name="connsiteX52" fmla="*/ 70485 w 96471"/>
                <a:gd name="connsiteY52" fmla="*/ 32635 h 117212"/>
                <a:gd name="connsiteX53" fmla="*/ 72013 w 96471"/>
                <a:gd name="connsiteY53" fmla="*/ 31003 h 117212"/>
                <a:gd name="connsiteX54" fmla="*/ 73866 w 96471"/>
                <a:gd name="connsiteY54" fmla="*/ 29391 h 117212"/>
                <a:gd name="connsiteX55" fmla="*/ 74795 w 96471"/>
                <a:gd name="connsiteY55" fmla="*/ 29439 h 117212"/>
                <a:gd name="connsiteX56" fmla="*/ 76377 w 96471"/>
                <a:gd name="connsiteY56" fmla="*/ 30426 h 117212"/>
                <a:gd name="connsiteX57" fmla="*/ 77680 w 96471"/>
                <a:gd name="connsiteY57" fmla="*/ 31804 h 117212"/>
                <a:gd name="connsiteX58" fmla="*/ 77857 w 96471"/>
                <a:gd name="connsiteY58" fmla="*/ 32871 h 117212"/>
                <a:gd name="connsiteX59" fmla="*/ 78097 w 96471"/>
                <a:gd name="connsiteY59" fmla="*/ 33645 h 117212"/>
                <a:gd name="connsiteX60" fmla="*/ 79330 w 96471"/>
                <a:gd name="connsiteY60" fmla="*/ 35297 h 117212"/>
                <a:gd name="connsiteX61" fmla="*/ 80126 w 96471"/>
                <a:gd name="connsiteY61" fmla="*/ 35867 h 117212"/>
                <a:gd name="connsiteX62" fmla="*/ 82273 w 96471"/>
                <a:gd name="connsiteY62" fmla="*/ 36198 h 117212"/>
                <a:gd name="connsiteX63" fmla="*/ 82773 w 96471"/>
                <a:gd name="connsiteY63" fmla="*/ 36846 h 117212"/>
                <a:gd name="connsiteX64" fmla="*/ 82390 w 96471"/>
                <a:gd name="connsiteY64" fmla="*/ 39235 h 117212"/>
                <a:gd name="connsiteX65" fmla="*/ 82709 w 96471"/>
                <a:gd name="connsiteY65" fmla="*/ 40029 h 117212"/>
                <a:gd name="connsiteX66" fmla="*/ 84957 w 96471"/>
                <a:gd name="connsiteY66" fmla="*/ 40070 h 117212"/>
                <a:gd name="connsiteX67" fmla="*/ 87342 w 96471"/>
                <a:gd name="connsiteY67" fmla="*/ 39877 h 117212"/>
                <a:gd name="connsiteX68" fmla="*/ 88175 w 96471"/>
                <a:gd name="connsiteY68" fmla="*/ 39968 h 117212"/>
                <a:gd name="connsiteX69" fmla="*/ 89036 w 96471"/>
                <a:gd name="connsiteY69" fmla="*/ 39468 h 117212"/>
                <a:gd name="connsiteX70" fmla="*/ 90363 w 96471"/>
                <a:gd name="connsiteY70" fmla="*/ 38929 h 117212"/>
                <a:gd name="connsiteX71" fmla="*/ 92257 w 96471"/>
                <a:gd name="connsiteY71" fmla="*/ 39115 h 117212"/>
                <a:gd name="connsiteX72" fmla="*/ 93191 w 96471"/>
                <a:gd name="connsiteY72" fmla="*/ 40184 h 117212"/>
                <a:gd name="connsiteX73" fmla="*/ 93607 w 96471"/>
                <a:gd name="connsiteY73" fmla="*/ 41285 h 117212"/>
                <a:gd name="connsiteX74" fmla="*/ 91977 w 96471"/>
                <a:gd name="connsiteY74" fmla="*/ 41699 h 117212"/>
                <a:gd name="connsiteX75" fmla="*/ 90275 w 96471"/>
                <a:gd name="connsiteY75" fmla="*/ 41473 h 117212"/>
                <a:gd name="connsiteX76" fmla="*/ 89445 w 96471"/>
                <a:gd name="connsiteY76" fmla="*/ 42196 h 117212"/>
                <a:gd name="connsiteX77" fmla="*/ 89391 w 96471"/>
                <a:gd name="connsiteY77" fmla="*/ 43588 h 117212"/>
                <a:gd name="connsiteX78" fmla="*/ 89966 w 96471"/>
                <a:gd name="connsiteY78" fmla="*/ 45379 h 117212"/>
                <a:gd name="connsiteX79" fmla="*/ 91104 w 96471"/>
                <a:gd name="connsiteY79" fmla="*/ 46649 h 117212"/>
                <a:gd name="connsiteX80" fmla="*/ 92014 w 96471"/>
                <a:gd name="connsiteY80" fmla="*/ 49509 h 117212"/>
                <a:gd name="connsiteX81" fmla="*/ 92768 w 96471"/>
                <a:gd name="connsiteY81" fmla="*/ 52676 h 117212"/>
                <a:gd name="connsiteX82" fmla="*/ 93941 w 96471"/>
                <a:gd name="connsiteY82" fmla="*/ 54588 h 117212"/>
                <a:gd name="connsiteX83" fmla="*/ 94182 w 96471"/>
                <a:gd name="connsiteY83" fmla="*/ 56958 h 117212"/>
                <a:gd name="connsiteX84" fmla="*/ 94009 w 96471"/>
                <a:gd name="connsiteY84" fmla="*/ 58122 h 117212"/>
                <a:gd name="connsiteX85" fmla="*/ 94223 w 96471"/>
                <a:gd name="connsiteY85" fmla="*/ 60212 h 117212"/>
                <a:gd name="connsiteX86" fmla="*/ 93724 w 96471"/>
                <a:gd name="connsiteY86" fmla="*/ 60948 h 117212"/>
                <a:gd name="connsiteX87" fmla="*/ 94098 w 96471"/>
                <a:gd name="connsiteY87" fmla="*/ 62908 h 117212"/>
                <a:gd name="connsiteX88" fmla="*/ 95479 w 96471"/>
                <a:gd name="connsiteY88" fmla="*/ 66960 h 117212"/>
                <a:gd name="connsiteX89" fmla="*/ 96082 w 96471"/>
                <a:gd name="connsiteY89" fmla="*/ 69214 h 117212"/>
                <a:gd name="connsiteX90" fmla="*/ 96471 w 96471"/>
                <a:gd name="connsiteY90" fmla="*/ 74127 h 117212"/>
                <a:gd name="connsiteX91" fmla="*/ 95497 w 96471"/>
                <a:gd name="connsiteY91" fmla="*/ 75966 h 117212"/>
                <a:gd name="connsiteX92" fmla="*/ 94188 w 96471"/>
                <a:gd name="connsiteY92" fmla="*/ 77709 h 117212"/>
                <a:gd name="connsiteX93" fmla="*/ 93333 w 96471"/>
                <a:gd name="connsiteY93" fmla="*/ 79774 h 117212"/>
                <a:gd name="connsiteX94" fmla="*/ 92672 w 96471"/>
                <a:gd name="connsiteY94" fmla="*/ 82001 h 117212"/>
                <a:gd name="connsiteX95" fmla="*/ 92274 w 96471"/>
                <a:gd name="connsiteY95" fmla="*/ 85587 h 117212"/>
                <a:gd name="connsiteX96" fmla="*/ 89440 w 96471"/>
                <a:gd name="connsiteY96" fmla="*/ 89784 h 117212"/>
                <a:gd name="connsiteX97" fmla="*/ 88234 w 96471"/>
                <a:gd name="connsiteY97" fmla="*/ 90826 h 117212"/>
                <a:gd name="connsiteX98" fmla="*/ 86835 w 96471"/>
                <a:gd name="connsiteY98" fmla="*/ 91467 h 117212"/>
                <a:gd name="connsiteX99" fmla="*/ 89891 w 96471"/>
                <a:gd name="connsiteY99" fmla="*/ 94395 h 117212"/>
                <a:gd name="connsiteX100" fmla="*/ 87394 w 96471"/>
                <a:gd name="connsiteY100" fmla="*/ 95700 h 117212"/>
                <a:gd name="connsiteX101" fmla="*/ 84671 w 96471"/>
                <a:gd name="connsiteY101" fmla="*/ 96111 h 117212"/>
                <a:gd name="connsiteX102" fmla="*/ 81658 w 96471"/>
                <a:gd name="connsiteY102" fmla="*/ 95379 h 117212"/>
                <a:gd name="connsiteX103" fmla="*/ 79781 w 96471"/>
                <a:gd name="connsiteY103" fmla="*/ 95468 h 117212"/>
                <a:gd name="connsiteX104" fmla="*/ 78067 w 96471"/>
                <a:gd name="connsiteY104" fmla="*/ 96415 h 117212"/>
                <a:gd name="connsiteX105" fmla="*/ 77392 w 96471"/>
                <a:gd name="connsiteY105" fmla="*/ 96988 h 117212"/>
                <a:gd name="connsiteX106" fmla="*/ 76853 w 96471"/>
                <a:gd name="connsiteY106" fmla="*/ 96711 h 117212"/>
                <a:gd name="connsiteX107" fmla="*/ 75722 w 96471"/>
                <a:gd name="connsiteY107" fmla="*/ 94311 h 117212"/>
                <a:gd name="connsiteX108" fmla="*/ 74893 w 96471"/>
                <a:gd name="connsiteY108" fmla="*/ 96790 h 117212"/>
                <a:gd name="connsiteX109" fmla="*/ 73157 w 96471"/>
                <a:gd name="connsiteY109" fmla="*/ 97578 h 117212"/>
                <a:gd name="connsiteX110" fmla="*/ 70184 w 96471"/>
                <a:gd name="connsiteY110" fmla="*/ 97410 h 117212"/>
                <a:gd name="connsiteX111" fmla="*/ 65217 w 96471"/>
                <a:gd name="connsiteY111" fmla="*/ 98070 h 117212"/>
                <a:gd name="connsiteX112" fmla="*/ 63306 w 96471"/>
                <a:gd name="connsiteY112" fmla="*/ 98775 h 117212"/>
                <a:gd name="connsiteX113" fmla="*/ 62512 w 96471"/>
                <a:gd name="connsiteY113" fmla="*/ 99878 h 117212"/>
                <a:gd name="connsiteX114" fmla="*/ 61922 w 96471"/>
                <a:gd name="connsiteY114" fmla="*/ 101152 h 117212"/>
                <a:gd name="connsiteX115" fmla="*/ 61147 w 96471"/>
                <a:gd name="connsiteY115" fmla="*/ 101904 h 117212"/>
                <a:gd name="connsiteX116" fmla="*/ 60271 w 96471"/>
                <a:gd name="connsiteY116" fmla="*/ 102300 h 117212"/>
                <a:gd name="connsiteX117" fmla="*/ 56436 w 96471"/>
                <a:gd name="connsiteY117" fmla="*/ 103238 h 117212"/>
                <a:gd name="connsiteX118" fmla="*/ 55680 w 96471"/>
                <a:gd name="connsiteY118" fmla="*/ 103613 h 117212"/>
                <a:gd name="connsiteX119" fmla="*/ 53904 w 96471"/>
                <a:gd name="connsiteY119" fmla="*/ 105667 h 117212"/>
                <a:gd name="connsiteX120" fmla="*/ 51575 w 96471"/>
                <a:gd name="connsiteY120" fmla="*/ 106853 h 117212"/>
                <a:gd name="connsiteX121" fmla="*/ 49646 w 96471"/>
                <a:gd name="connsiteY121" fmla="*/ 107208 h 117212"/>
                <a:gd name="connsiteX122" fmla="*/ 47934 w 96471"/>
                <a:gd name="connsiteY122" fmla="*/ 106014 h 117212"/>
                <a:gd name="connsiteX123" fmla="*/ 47230 w 96471"/>
                <a:gd name="connsiteY123" fmla="*/ 105296 h 117212"/>
                <a:gd name="connsiteX124" fmla="*/ 46435 w 96471"/>
                <a:gd name="connsiteY124" fmla="*/ 104931 h 117212"/>
                <a:gd name="connsiteX125" fmla="*/ 43805 w 96471"/>
                <a:gd name="connsiteY125" fmla="*/ 104987 h 117212"/>
                <a:gd name="connsiteX126" fmla="*/ 44636 w 96471"/>
                <a:gd name="connsiteY126" fmla="*/ 105357 h 117212"/>
                <a:gd name="connsiteX127" fmla="*/ 45172 w 96471"/>
                <a:gd name="connsiteY127" fmla="*/ 106200 h 117212"/>
                <a:gd name="connsiteX128" fmla="*/ 45432 w 96471"/>
                <a:gd name="connsiteY128" fmla="*/ 107815 h 117212"/>
                <a:gd name="connsiteX129" fmla="*/ 45133 w 96471"/>
                <a:gd name="connsiteY129" fmla="*/ 109397 h 117212"/>
                <a:gd name="connsiteX130" fmla="*/ 43836 w 96471"/>
                <a:gd name="connsiteY130" fmla="*/ 110200 h 117212"/>
                <a:gd name="connsiteX131" fmla="*/ 42287 w 96471"/>
                <a:gd name="connsiteY131" fmla="*/ 110348 h 117212"/>
                <a:gd name="connsiteX132" fmla="*/ 39845 w 96471"/>
                <a:gd name="connsiteY132" fmla="*/ 111987 h 117212"/>
                <a:gd name="connsiteX133" fmla="*/ 36612 w 96471"/>
                <a:gd name="connsiteY133" fmla="*/ 112435 h 117212"/>
                <a:gd name="connsiteX134" fmla="*/ 34866 w 96471"/>
                <a:gd name="connsiteY134" fmla="*/ 113943 h 117212"/>
                <a:gd name="connsiteX135" fmla="*/ 24185 w 96471"/>
                <a:gd name="connsiteY135" fmla="*/ 116492 h 117212"/>
                <a:gd name="connsiteX136" fmla="*/ 23579 w 96471"/>
                <a:gd name="connsiteY136" fmla="*/ 116522 h 117212"/>
                <a:gd name="connsiteX137" fmla="*/ 22105 w 96471"/>
                <a:gd name="connsiteY137" fmla="*/ 115873 h 117212"/>
                <a:gd name="connsiteX138" fmla="*/ 20506 w 96471"/>
                <a:gd name="connsiteY138" fmla="*/ 115586 h 117212"/>
                <a:gd name="connsiteX139" fmla="*/ 18914 w 96471"/>
                <a:gd name="connsiteY139" fmla="*/ 115789 h 117212"/>
                <a:gd name="connsiteX140" fmla="*/ 14438 w 96471"/>
                <a:gd name="connsiteY140" fmla="*/ 117212 h 117212"/>
                <a:gd name="connsiteX141" fmla="*/ 12270 w 96471"/>
                <a:gd name="connsiteY141" fmla="*/ 116929 h 117212"/>
                <a:gd name="connsiteX142" fmla="*/ 15033 w 96471"/>
                <a:gd name="connsiteY142" fmla="*/ 113390 h 117212"/>
                <a:gd name="connsiteX143" fmla="*/ 18748 w 96471"/>
                <a:gd name="connsiteY143" fmla="*/ 111602 h 117212"/>
                <a:gd name="connsiteX144" fmla="*/ 19134 w 96471"/>
                <a:gd name="connsiteY144" fmla="*/ 111112 h 117212"/>
                <a:gd name="connsiteX145" fmla="*/ 17920 w 96471"/>
                <a:gd name="connsiteY145" fmla="*/ 110872 h 117212"/>
                <a:gd name="connsiteX146" fmla="*/ 10862 w 96471"/>
                <a:gd name="connsiteY146" fmla="*/ 112114 h 117212"/>
                <a:gd name="connsiteX147" fmla="*/ 8410 w 96471"/>
                <a:gd name="connsiteY147" fmla="*/ 113172 h 117212"/>
                <a:gd name="connsiteX148" fmla="*/ 5959 w 96471"/>
                <a:gd name="connsiteY148" fmla="*/ 113479 h 117212"/>
                <a:gd name="connsiteX149" fmla="*/ 7094 w 96471"/>
                <a:gd name="connsiteY149" fmla="*/ 111864 h 117212"/>
                <a:gd name="connsiteX150" fmla="*/ 10256 w 96471"/>
                <a:gd name="connsiteY150" fmla="*/ 109650 h 117212"/>
                <a:gd name="connsiteX151" fmla="*/ 11952 w 96471"/>
                <a:gd name="connsiteY151" fmla="*/ 108607 h 117212"/>
                <a:gd name="connsiteX152" fmla="*/ 12987 w 96471"/>
                <a:gd name="connsiteY152" fmla="*/ 108193 h 117212"/>
                <a:gd name="connsiteX153" fmla="*/ 14168 w 96471"/>
                <a:gd name="connsiteY153" fmla="*/ 106891 h 117212"/>
                <a:gd name="connsiteX154" fmla="*/ 17500 w 96471"/>
                <a:gd name="connsiteY154" fmla="*/ 105411 h 117212"/>
                <a:gd name="connsiteX155" fmla="*/ 6767 w 96471"/>
                <a:gd name="connsiteY155" fmla="*/ 108463 h 117212"/>
                <a:gd name="connsiteX156" fmla="*/ 3947 w 96471"/>
                <a:gd name="connsiteY156" fmla="*/ 108091 h 117212"/>
                <a:gd name="connsiteX157" fmla="*/ 3283 w 96471"/>
                <a:gd name="connsiteY157" fmla="*/ 107240 h 117212"/>
                <a:gd name="connsiteX158" fmla="*/ 1087 w 96471"/>
                <a:gd name="connsiteY158" fmla="*/ 107639 h 117212"/>
                <a:gd name="connsiteX159" fmla="*/ 255 w 96471"/>
                <a:gd name="connsiteY159" fmla="*/ 105579 h 117212"/>
                <a:gd name="connsiteX160" fmla="*/ 3508 w 96471"/>
                <a:gd name="connsiteY160" fmla="*/ 102454 h 117212"/>
                <a:gd name="connsiteX161" fmla="*/ 5404 w 96471"/>
                <a:gd name="connsiteY161" fmla="*/ 101109 h 117212"/>
                <a:gd name="connsiteX162" fmla="*/ 7655 w 96471"/>
                <a:gd name="connsiteY162" fmla="*/ 100382 h 117212"/>
                <a:gd name="connsiteX163" fmla="*/ 9822 w 96471"/>
                <a:gd name="connsiteY163" fmla="*/ 99339 h 117212"/>
                <a:gd name="connsiteX164" fmla="*/ 10626 w 96471"/>
                <a:gd name="connsiteY164" fmla="*/ 98063 h 117212"/>
                <a:gd name="connsiteX165" fmla="*/ 9606 w 96471"/>
                <a:gd name="connsiteY165" fmla="*/ 97656 h 117212"/>
                <a:gd name="connsiteX166" fmla="*/ 3112 w 96471"/>
                <a:gd name="connsiteY166" fmla="*/ 97980 h 117212"/>
                <a:gd name="connsiteX167" fmla="*/ 0 w 96471"/>
                <a:gd name="connsiteY167" fmla="*/ 97708 h 117212"/>
                <a:gd name="connsiteX168" fmla="*/ 168 w 96471"/>
                <a:gd name="connsiteY168" fmla="*/ 96696 h 117212"/>
                <a:gd name="connsiteX169" fmla="*/ 742 w 96471"/>
                <a:gd name="connsiteY169" fmla="*/ 95574 h 117212"/>
                <a:gd name="connsiteX170" fmla="*/ 3965 w 96471"/>
                <a:gd name="connsiteY170" fmla="*/ 93654 h 117212"/>
                <a:gd name="connsiteX171" fmla="*/ 5708 w 96471"/>
                <a:gd name="connsiteY171" fmla="*/ 93345 h 117212"/>
                <a:gd name="connsiteX172" fmla="*/ 7263 w 96471"/>
                <a:gd name="connsiteY172" fmla="*/ 93528 h 117212"/>
                <a:gd name="connsiteX173" fmla="*/ 8781 w 96471"/>
                <a:gd name="connsiteY173" fmla="*/ 94020 h 117212"/>
                <a:gd name="connsiteX174" fmla="*/ 10015 w 96471"/>
                <a:gd name="connsiteY174" fmla="*/ 94663 h 117212"/>
                <a:gd name="connsiteX175" fmla="*/ 13668 w 96471"/>
                <a:gd name="connsiteY175" fmla="*/ 94294 h 117212"/>
                <a:gd name="connsiteX176" fmla="*/ 12143 w 96471"/>
                <a:gd name="connsiteY176" fmla="*/ 93067 h 117212"/>
                <a:gd name="connsiteX177" fmla="*/ 11874 w 96471"/>
                <a:gd name="connsiteY177" fmla="*/ 90572 h 117212"/>
                <a:gd name="connsiteX178" fmla="*/ 10706 w 96471"/>
                <a:gd name="connsiteY178" fmla="*/ 89733 h 117212"/>
                <a:gd name="connsiteX179" fmla="*/ 12201 w 96471"/>
                <a:gd name="connsiteY179" fmla="*/ 88575 h 117212"/>
                <a:gd name="connsiteX180" fmla="*/ 13911 w 96471"/>
                <a:gd name="connsiteY180" fmla="*/ 87871 h 117212"/>
                <a:gd name="connsiteX181" fmla="*/ 16761 w 96471"/>
                <a:gd name="connsiteY181" fmla="*/ 85473 h 117212"/>
                <a:gd name="connsiteX182" fmla="*/ 17776 w 96471"/>
                <a:gd name="connsiteY182" fmla="*/ 85108 h 117212"/>
                <a:gd name="connsiteX183" fmla="*/ 23416 w 96471"/>
                <a:gd name="connsiteY183" fmla="*/ 84525 h 117212"/>
                <a:gd name="connsiteX184" fmla="*/ 29499 w 96471"/>
                <a:gd name="connsiteY184" fmla="*/ 83263 h 117212"/>
                <a:gd name="connsiteX185" fmla="*/ 35529 w 96471"/>
                <a:gd name="connsiteY185" fmla="*/ 81519 h 117212"/>
                <a:gd name="connsiteX186" fmla="*/ 32437 w 96471"/>
                <a:gd name="connsiteY186" fmla="*/ 80544 h 117212"/>
                <a:gd name="connsiteX187" fmla="*/ 30956 w 96471"/>
                <a:gd name="connsiteY187" fmla="*/ 79257 h 117212"/>
                <a:gd name="connsiteX188" fmla="*/ 28576 w 96471"/>
                <a:gd name="connsiteY188" fmla="*/ 81858 h 117212"/>
                <a:gd name="connsiteX189" fmla="*/ 26863 w 96471"/>
                <a:gd name="connsiteY189" fmla="*/ 82852 h 117212"/>
                <a:gd name="connsiteX190" fmla="*/ 22024 w 96471"/>
                <a:gd name="connsiteY190" fmla="*/ 83383 h 117212"/>
                <a:gd name="connsiteX191" fmla="*/ 20492 w 96471"/>
                <a:gd name="connsiteY191" fmla="*/ 83091 h 117212"/>
                <a:gd name="connsiteX192" fmla="*/ 18335 w 96471"/>
                <a:gd name="connsiteY192" fmla="*/ 82284 h 117212"/>
                <a:gd name="connsiteX193" fmla="*/ 17665 w 96471"/>
                <a:gd name="connsiteY193" fmla="*/ 82592 h 117212"/>
                <a:gd name="connsiteX194" fmla="*/ 17042 w 96471"/>
                <a:gd name="connsiteY194" fmla="*/ 83215 h 117212"/>
                <a:gd name="connsiteX195" fmla="*/ 13839 w 96471"/>
                <a:gd name="connsiteY195" fmla="*/ 84489 h 117212"/>
                <a:gd name="connsiteX196" fmla="*/ 10473 w 96471"/>
                <a:gd name="connsiteY196" fmla="*/ 84794 h 117212"/>
                <a:gd name="connsiteX197" fmla="*/ 14387 w 96471"/>
                <a:gd name="connsiteY197" fmla="*/ 82456 h 117212"/>
                <a:gd name="connsiteX198" fmla="*/ 19353 w 96471"/>
                <a:gd name="connsiteY198" fmla="*/ 78489 h 117212"/>
                <a:gd name="connsiteX199" fmla="*/ 20461 w 96471"/>
                <a:gd name="connsiteY199" fmla="*/ 77234 h 117212"/>
                <a:gd name="connsiteX200" fmla="*/ 22037 w 96471"/>
                <a:gd name="connsiteY200" fmla="*/ 75050 h 117212"/>
                <a:gd name="connsiteX201" fmla="*/ 21549 w 96471"/>
                <a:gd name="connsiteY201" fmla="*/ 74078 h 117212"/>
                <a:gd name="connsiteX202" fmla="*/ 20526 w 96471"/>
                <a:gd name="connsiteY202" fmla="*/ 73524 h 117212"/>
                <a:gd name="connsiteX203" fmla="*/ 24125 w 96471"/>
                <a:gd name="connsiteY203" fmla="*/ 69022 h 117212"/>
                <a:gd name="connsiteX204" fmla="*/ 25392 w 96471"/>
                <a:gd name="connsiteY204" fmla="*/ 68204 h 117212"/>
                <a:gd name="connsiteX205" fmla="*/ 27699 w 96471"/>
                <a:gd name="connsiteY205" fmla="*/ 68072 h 117212"/>
                <a:gd name="connsiteX206" fmla="*/ 29389 w 96471"/>
                <a:gd name="connsiteY206" fmla="*/ 67357 h 117212"/>
                <a:gd name="connsiteX207" fmla="*/ 30134 w 96471"/>
                <a:gd name="connsiteY207" fmla="*/ 67354 h 117212"/>
                <a:gd name="connsiteX208" fmla="*/ 30804 w 96471"/>
                <a:gd name="connsiteY208" fmla="*/ 67088 h 117212"/>
                <a:gd name="connsiteX209" fmla="*/ 32286 w 96471"/>
                <a:gd name="connsiteY209" fmla="*/ 65736 h 117212"/>
                <a:gd name="connsiteX210" fmla="*/ 29999 w 96471"/>
                <a:gd name="connsiteY210" fmla="*/ 64876 h 117212"/>
                <a:gd name="connsiteX211" fmla="*/ 27638 w 96471"/>
                <a:gd name="connsiteY211" fmla="*/ 64433 h 117212"/>
                <a:gd name="connsiteX212" fmla="*/ 20332 w 96471"/>
                <a:gd name="connsiteY212" fmla="*/ 64902 h 117212"/>
                <a:gd name="connsiteX213" fmla="*/ 19371 w 96471"/>
                <a:gd name="connsiteY213" fmla="*/ 64801 h 117212"/>
                <a:gd name="connsiteX214" fmla="*/ 18465 w 96471"/>
                <a:gd name="connsiteY214" fmla="*/ 64386 h 117212"/>
                <a:gd name="connsiteX215" fmla="*/ 17877 w 96471"/>
                <a:gd name="connsiteY215" fmla="*/ 63787 h 117212"/>
                <a:gd name="connsiteX216" fmla="*/ 17435 w 96471"/>
                <a:gd name="connsiteY216" fmla="*/ 62252 h 117212"/>
                <a:gd name="connsiteX217" fmla="*/ 16899 w 96471"/>
                <a:gd name="connsiteY217" fmla="*/ 61909 h 117212"/>
                <a:gd name="connsiteX218" fmla="*/ 15250 w 96471"/>
                <a:gd name="connsiteY218" fmla="*/ 61909 h 117212"/>
                <a:gd name="connsiteX219" fmla="*/ 13625 w 96471"/>
                <a:gd name="connsiteY219" fmla="*/ 62378 h 117212"/>
                <a:gd name="connsiteX220" fmla="*/ 12490 w 96471"/>
                <a:gd name="connsiteY220" fmla="*/ 62333 h 117212"/>
                <a:gd name="connsiteX221" fmla="*/ 11376 w 96471"/>
                <a:gd name="connsiteY221" fmla="*/ 61660 h 117212"/>
                <a:gd name="connsiteX222" fmla="*/ 13153 w 96471"/>
                <a:gd name="connsiteY222" fmla="*/ 60088 h 117212"/>
                <a:gd name="connsiteX223" fmla="*/ 10862 w 96471"/>
                <a:gd name="connsiteY223" fmla="*/ 59718 h 117212"/>
                <a:gd name="connsiteX224" fmla="*/ 8542 w 96471"/>
                <a:gd name="connsiteY224" fmla="*/ 60027 h 117212"/>
                <a:gd name="connsiteX225" fmla="*/ 6611 w 96471"/>
                <a:gd name="connsiteY225" fmla="*/ 59551 h 117212"/>
                <a:gd name="connsiteX226" fmla="*/ 6551 w 96471"/>
                <a:gd name="connsiteY226" fmla="*/ 58564 h 117212"/>
                <a:gd name="connsiteX227" fmla="*/ 7426 w 96471"/>
                <a:gd name="connsiteY227" fmla="*/ 57579 h 117212"/>
                <a:gd name="connsiteX228" fmla="*/ 6279 w 96471"/>
                <a:gd name="connsiteY228" fmla="*/ 56644 h 117212"/>
                <a:gd name="connsiteX229" fmla="*/ 6042 w 96471"/>
                <a:gd name="connsiteY229" fmla="*/ 55462 h 117212"/>
                <a:gd name="connsiteX230" fmla="*/ 7264 w 96471"/>
                <a:gd name="connsiteY230" fmla="*/ 54881 h 117212"/>
                <a:gd name="connsiteX231" fmla="*/ 8599 w 96471"/>
                <a:gd name="connsiteY231" fmla="*/ 55074 h 117212"/>
                <a:gd name="connsiteX232" fmla="*/ 11320 w 96471"/>
                <a:gd name="connsiteY232" fmla="*/ 54199 h 117212"/>
                <a:gd name="connsiteX233" fmla="*/ 14806 w 96471"/>
                <a:gd name="connsiteY233" fmla="*/ 53774 h 117212"/>
                <a:gd name="connsiteX234" fmla="*/ 11816 w 96471"/>
                <a:gd name="connsiteY234" fmla="*/ 52911 h 117212"/>
                <a:gd name="connsiteX235" fmla="*/ 10625 w 96471"/>
                <a:gd name="connsiteY235" fmla="*/ 52171 h 117212"/>
                <a:gd name="connsiteX236" fmla="*/ 10568 w 96471"/>
                <a:gd name="connsiteY236" fmla="*/ 51038 h 117212"/>
                <a:gd name="connsiteX237" fmla="*/ 10805 w 96471"/>
                <a:gd name="connsiteY237" fmla="*/ 50068 h 117212"/>
                <a:gd name="connsiteX238" fmla="*/ 14266 w 96471"/>
                <a:gd name="connsiteY238" fmla="*/ 48427 h 117212"/>
                <a:gd name="connsiteX239" fmla="*/ 17955 w 96471"/>
                <a:gd name="connsiteY239" fmla="*/ 47703 h 117212"/>
                <a:gd name="connsiteX240" fmla="*/ 17683 w 96471"/>
                <a:gd name="connsiteY240" fmla="*/ 46621 h 117212"/>
                <a:gd name="connsiteX241" fmla="*/ 17941 w 96471"/>
                <a:gd name="connsiteY241" fmla="*/ 45450 h 117212"/>
                <a:gd name="connsiteX242" fmla="*/ 14212 w 96471"/>
                <a:gd name="connsiteY242" fmla="*/ 45112 h 117212"/>
                <a:gd name="connsiteX243" fmla="*/ 10529 w 96471"/>
                <a:gd name="connsiteY243" fmla="*/ 45938 h 117212"/>
                <a:gd name="connsiteX244" fmla="*/ 10923 w 96471"/>
                <a:gd name="connsiteY244" fmla="*/ 43700 h 117212"/>
                <a:gd name="connsiteX245" fmla="*/ 11805 w 96471"/>
                <a:gd name="connsiteY245" fmla="*/ 41678 h 117212"/>
                <a:gd name="connsiteX246" fmla="*/ 11979 w 96471"/>
                <a:gd name="connsiteY246" fmla="*/ 40343 h 117212"/>
                <a:gd name="connsiteX247" fmla="*/ 11803 w 96471"/>
                <a:gd name="connsiteY247" fmla="*/ 38914 h 117212"/>
                <a:gd name="connsiteX248" fmla="*/ 10078 w 96471"/>
                <a:gd name="connsiteY248" fmla="*/ 39525 h 117212"/>
                <a:gd name="connsiteX249" fmla="*/ 9876 w 96471"/>
                <a:gd name="connsiteY249" fmla="*/ 37509 h 117212"/>
                <a:gd name="connsiteX250" fmla="*/ 9135 w 96471"/>
                <a:gd name="connsiteY250" fmla="*/ 36125 h 117212"/>
                <a:gd name="connsiteX251" fmla="*/ 6580 w 96471"/>
                <a:gd name="connsiteY251" fmla="*/ 37078 h 117212"/>
                <a:gd name="connsiteX252" fmla="*/ 6646 w 96471"/>
                <a:gd name="connsiteY252" fmla="*/ 35252 h 117212"/>
                <a:gd name="connsiteX253" fmla="*/ 7382 w 96471"/>
                <a:gd name="connsiteY253" fmla="*/ 33975 h 117212"/>
                <a:gd name="connsiteX254" fmla="*/ 8718 w 96471"/>
                <a:gd name="connsiteY254" fmla="*/ 33420 h 117212"/>
                <a:gd name="connsiteX255" fmla="*/ 10045 w 96471"/>
                <a:gd name="connsiteY255" fmla="*/ 33661 h 117212"/>
                <a:gd name="connsiteX256" fmla="*/ 12508 w 96471"/>
                <a:gd name="connsiteY256" fmla="*/ 33637 h 117212"/>
                <a:gd name="connsiteX257" fmla="*/ 14883 w 96471"/>
                <a:gd name="connsiteY257" fmla="*/ 32677 h 117212"/>
                <a:gd name="connsiteX258" fmla="*/ 18307 w 96471"/>
                <a:gd name="connsiteY258" fmla="*/ 32430 h 117212"/>
                <a:gd name="connsiteX259" fmla="*/ 23764 w 96471"/>
                <a:gd name="connsiteY259" fmla="*/ 32732 h 117212"/>
                <a:gd name="connsiteX260" fmla="*/ 27515 w 96471"/>
                <a:gd name="connsiteY260" fmla="*/ 35441 h 117212"/>
                <a:gd name="connsiteX261" fmla="*/ 28483 w 96471"/>
                <a:gd name="connsiteY261" fmla="*/ 34957 h 117212"/>
                <a:gd name="connsiteX262" fmla="*/ 29983 w 96471"/>
                <a:gd name="connsiteY262" fmla="*/ 33245 h 117212"/>
                <a:gd name="connsiteX263" fmla="*/ 30687 w 96471"/>
                <a:gd name="connsiteY263" fmla="*/ 33056 h 117212"/>
                <a:gd name="connsiteX264" fmla="*/ 36340 w 96471"/>
                <a:gd name="connsiteY264" fmla="*/ 33802 h 117212"/>
                <a:gd name="connsiteX265" fmla="*/ 39851 w 96471"/>
                <a:gd name="connsiteY265" fmla="*/ 34787 h 117212"/>
                <a:gd name="connsiteX266" fmla="*/ 40790 w 96471"/>
                <a:gd name="connsiteY266" fmla="*/ 34480 h 117212"/>
                <a:gd name="connsiteX267" fmla="*/ 40283 w 96471"/>
                <a:gd name="connsiteY267" fmla="*/ 32580 h 117212"/>
                <a:gd name="connsiteX268" fmla="*/ 39074 w 96471"/>
                <a:gd name="connsiteY268" fmla="*/ 31262 h 117212"/>
                <a:gd name="connsiteX269" fmla="*/ 40593 w 96471"/>
                <a:gd name="connsiteY269" fmla="*/ 29534 h 117212"/>
                <a:gd name="connsiteX270" fmla="*/ 42438 w 96471"/>
                <a:gd name="connsiteY270" fmla="*/ 28363 h 117212"/>
                <a:gd name="connsiteX271" fmla="*/ 43671 w 96471"/>
                <a:gd name="connsiteY271" fmla="*/ 27779 h 117212"/>
                <a:gd name="connsiteX272" fmla="*/ 46518 w 96471"/>
                <a:gd name="connsiteY272" fmla="*/ 27053 h 117212"/>
                <a:gd name="connsiteX273" fmla="*/ 47759 w 96471"/>
                <a:gd name="connsiteY273" fmla="*/ 26369 h 117212"/>
                <a:gd name="connsiteX274" fmla="*/ 48586 w 96471"/>
                <a:gd name="connsiteY274" fmla="*/ 24143 h 117212"/>
                <a:gd name="connsiteX275" fmla="*/ 49902 w 96471"/>
                <a:gd name="connsiteY275" fmla="*/ 22287 h 117212"/>
                <a:gd name="connsiteX276" fmla="*/ 42758 w 96471"/>
                <a:gd name="connsiteY276" fmla="*/ 23252 h 117212"/>
                <a:gd name="connsiteX277" fmla="*/ 35961 w 96471"/>
                <a:gd name="connsiteY277" fmla="*/ 21052 h 117212"/>
                <a:gd name="connsiteX278" fmla="*/ 37039 w 96471"/>
                <a:gd name="connsiteY278" fmla="*/ 19495 h 117212"/>
                <a:gd name="connsiteX279" fmla="*/ 38474 w 96471"/>
                <a:gd name="connsiteY279" fmla="*/ 18612 h 117212"/>
                <a:gd name="connsiteX280" fmla="*/ 40950 w 96471"/>
                <a:gd name="connsiteY280" fmla="*/ 17935 h 117212"/>
                <a:gd name="connsiteX281" fmla="*/ 41185 w 96471"/>
                <a:gd name="connsiteY281" fmla="*/ 17122 h 117212"/>
                <a:gd name="connsiteX282" fmla="*/ 42438 w 96471"/>
                <a:gd name="connsiteY282" fmla="*/ 16446 h 117212"/>
                <a:gd name="connsiteX283" fmla="*/ 44510 w 96471"/>
                <a:gd name="connsiteY283" fmla="*/ 14669 h 117212"/>
                <a:gd name="connsiteX284" fmla="*/ 43749 w 96471"/>
                <a:gd name="connsiteY284" fmla="*/ 12346 h 117212"/>
                <a:gd name="connsiteX285" fmla="*/ 44157 w 96471"/>
                <a:gd name="connsiteY285" fmla="*/ 10646 h 117212"/>
                <a:gd name="connsiteX286" fmla="*/ 45649 w 96471"/>
                <a:gd name="connsiteY286" fmla="*/ 9537 h 117212"/>
                <a:gd name="connsiteX287" fmla="*/ 46116 w 96471"/>
                <a:gd name="connsiteY287" fmla="*/ 7945 h 117212"/>
                <a:gd name="connsiteX288" fmla="*/ 46781 w 96471"/>
                <a:gd name="connsiteY288" fmla="*/ 6772 h 117212"/>
                <a:gd name="connsiteX289" fmla="*/ 49808 w 96471"/>
                <a:gd name="connsiteY289" fmla="*/ 6352 h 117212"/>
                <a:gd name="connsiteX290" fmla="*/ 52718 w 96471"/>
                <a:gd name="connsiteY290" fmla="*/ 5261 h 117212"/>
                <a:gd name="connsiteX291" fmla="*/ 53769 w 96471"/>
                <a:gd name="connsiteY291" fmla="*/ 5367 h 117212"/>
                <a:gd name="connsiteX292" fmla="*/ 57205 w 96471"/>
                <a:gd name="connsiteY292" fmla="*/ 5115 h 117212"/>
                <a:gd name="connsiteX293" fmla="*/ 58369 w 96471"/>
                <a:gd name="connsiteY293" fmla="*/ 5555 h 117212"/>
                <a:gd name="connsiteX294" fmla="*/ 58104 w 96471"/>
                <a:gd name="connsiteY294" fmla="*/ 3626 h 117212"/>
                <a:gd name="connsiteX295" fmla="*/ 60214 w 96471"/>
                <a:gd name="connsiteY295" fmla="*/ 3375 h 117212"/>
                <a:gd name="connsiteX296" fmla="*/ 61039 w 96471"/>
                <a:gd name="connsiteY296" fmla="*/ 3760 h 117212"/>
                <a:gd name="connsiteX297" fmla="*/ 61402 w 96471"/>
                <a:gd name="connsiteY297" fmla="*/ 5127 h 117212"/>
                <a:gd name="connsiteX298" fmla="*/ 62361 w 96471"/>
                <a:gd name="connsiteY298" fmla="*/ 5999 h 117212"/>
                <a:gd name="connsiteX299" fmla="*/ 62657 w 96471"/>
                <a:gd name="connsiteY299" fmla="*/ 7513 h 117212"/>
                <a:gd name="connsiteX300" fmla="*/ 62014 w 96471"/>
                <a:gd name="connsiteY300" fmla="*/ 8682 h 117212"/>
                <a:gd name="connsiteX301" fmla="*/ 60940 w 96471"/>
                <a:gd name="connsiteY301" fmla="*/ 9582 h 117212"/>
                <a:gd name="connsiteX302" fmla="*/ 61922 w 96471"/>
                <a:gd name="connsiteY302" fmla="*/ 10503 h 117212"/>
                <a:gd name="connsiteX303" fmla="*/ 60399 w 96471"/>
                <a:gd name="connsiteY303" fmla="*/ 12166 h 117212"/>
                <a:gd name="connsiteX304" fmla="*/ 62043 w 96471"/>
                <a:gd name="connsiteY304" fmla="*/ 11458 h 117212"/>
                <a:gd name="connsiteX305" fmla="*/ 64386 w 96471"/>
                <a:gd name="connsiteY305" fmla="*/ 9829 h 117212"/>
                <a:gd name="connsiteX306" fmla="*/ 64265 w 96471"/>
                <a:gd name="connsiteY306" fmla="*/ 8496 h 117212"/>
                <a:gd name="connsiteX307" fmla="*/ 63866 w 96471"/>
                <a:gd name="connsiteY307" fmla="*/ 6820 h 117212"/>
                <a:gd name="connsiteX308" fmla="*/ 63214 w 96471"/>
                <a:gd name="connsiteY308" fmla="*/ 5307 h 117212"/>
                <a:gd name="connsiteX309" fmla="*/ 63514 w 96471"/>
                <a:gd name="connsiteY309" fmla="*/ 3639 h 117212"/>
                <a:gd name="connsiteX310" fmla="*/ 64831 w 96471"/>
                <a:gd name="connsiteY310" fmla="*/ 2595 h 117212"/>
                <a:gd name="connsiteX311" fmla="*/ 68293 w 96471"/>
                <a:gd name="connsiteY311" fmla="*/ 2070 h 117212"/>
                <a:gd name="connsiteX312" fmla="*/ 66873 w 96471"/>
                <a:gd name="connsiteY312" fmla="*/ 174 h 11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</a:cxnLst>
              <a:rect l="l" t="t" r="r" b="b"/>
              <a:pathLst>
                <a:path w="96471" h="117212">
                  <a:moveTo>
                    <a:pt x="4626" y="41297"/>
                  </a:moveTo>
                  <a:lnTo>
                    <a:pt x="5539" y="41650"/>
                  </a:lnTo>
                  <a:lnTo>
                    <a:pt x="8709" y="41699"/>
                  </a:lnTo>
                  <a:lnTo>
                    <a:pt x="9599" y="42196"/>
                  </a:lnTo>
                  <a:lnTo>
                    <a:pt x="9774" y="44442"/>
                  </a:lnTo>
                  <a:lnTo>
                    <a:pt x="9681" y="45307"/>
                  </a:lnTo>
                  <a:lnTo>
                    <a:pt x="8043" y="44217"/>
                  </a:lnTo>
                  <a:lnTo>
                    <a:pt x="7247" y="43030"/>
                  </a:lnTo>
                  <a:lnTo>
                    <a:pt x="2753" y="42485"/>
                  </a:lnTo>
                  <a:close/>
                  <a:moveTo>
                    <a:pt x="68137" y="0"/>
                  </a:moveTo>
                  <a:lnTo>
                    <a:pt x="69511" y="395"/>
                  </a:lnTo>
                  <a:lnTo>
                    <a:pt x="71531" y="1873"/>
                  </a:lnTo>
                  <a:lnTo>
                    <a:pt x="73633" y="3031"/>
                  </a:lnTo>
                  <a:lnTo>
                    <a:pt x="75813" y="3949"/>
                  </a:lnTo>
                  <a:lnTo>
                    <a:pt x="73718" y="5785"/>
                  </a:lnTo>
                  <a:lnTo>
                    <a:pt x="71143" y="7058"/>
                  </a:lnTo>
                  <a:lnTo>
                    <a:pt x="70130" y="8444"/>
                  </a:lnTo>
                  <a:lnTo>
                    <a:pt x="66631" y="10422"/>
                  </a:lnTo>
                  <a:lnTo>
                    <a:pt x="66089" y="11171"/>
                  </a:lnTo>
                  <a:lnTo>
                    <a:pt x="65103" y="14188"/>
                  </a:lnTo>
                  <a:lnTo>
                    <a:pt x="64987" y="15048"/>
                  </a:lnTo>
                  <a:lnTo>
                    <a:pt x="63861" y="16633"/>
                  </a:lnTo>
                  <a:lnTo>
                    <a:pt x="62795" y="18395"/>
                  </a:lnTo>
                  <a:lnTo>
                    <a:pt x="61555" y="19077"/>
                  </a:lnTo>
                  <a:lnTo>
                    <a:pt x="59708" y="19618"/>
                  </a:lnTo>
                  <a:lnTo>
                    <a:pt x="58658" y="20156"/>
                  </a:lnTo>
                  <a:lnTo>
                    <a:pt x="57336" y="19886"/>
                  </a:lnTo>
                  <a:lnTo>
                    <a:pt x="55662" y="19929"/>
                  </a:lnTo>
                  <a:lnTo>
                    <a:pt x="54830" y="20527"/>
                  </a:lnTo>
                  <a:lnTo>
                    <a:pt x="54871" y="20986"/>
                  </a:lnTo>
                  <a:lnTo>
                    <a:pt x="55371" y="21515"/>
                  </a:lnTo>
                  <a:lnTo>
                    <a:pt x="56837" y="22322"/>
                  </a:lnTo>
                  <a:lnTo>
                    <a:pt x="58463" y="23052"/>
                  </a:lnTo>
                  <a:lnTo>
                    <a:pt x="58284" y="23691"/>
                  </a:lnTo>
                  <a:lnTo>
                    <a:pt x="57413" y="24415"/>
                  </a:lnTo>
                  <a:lnTo>
                    <a:pt x="51873" y="26211"/>
                  </a:lnTo>
                  <a:lnTo>
                    <a:pt x="50223" y="27295"/>
                  </a:lnTo>
                  <a:lnTo>
                    <a:pt x="49651" y="28010"/>
                  </a:lnTo>
                  <a:lnTo>
                    <a:pt x="50238" y="29208"/>
                  </a:lnTo>
                  <a:lnTo>
                    <a:pt x="54656" y="32794"/>
                  </a:lnTo>
                  <a:lnTo>
                    <a:pt x="55408" y="33184"/>
                  </a:lnTo>
                  <a:lnTo>
                    <a:pt x="56061" y="35268"/>
                  </a:lnTo>
                  <a:lnTo>
                    <a:pt x="59956" y="36139"/>
                  </a:lnTo>
                  <a:lnTo>
                    <a:pt x="61553" y="37440"/>
                  </a:lnTo>
                  <a:lnTo>
                    <a:pt x="62927" y="37752"/>
                  </a:lnTo>
                  <a:lnTo>
                    <a:pt x="65912" y="37639"/>
                  </a:lnTo>
                  <a:lnTo>
                    <a:pt x="67112" y="38128"/>
                  </a:lnTo>
                  <a:lnTo>
                    <a:pt x="67790" y="37757"/>
                  </a:lnTo>
                  <a:lnTo>
                    <a:pt x="68183" y="37071"/>
                  </a:lnTo>
                  <a:lnTo>
                    <a:pt x="70696" y="35304"/>
                  </a:lnTo>
                  <a:lnTo>
                    <a:pt x="71527" y="34532"/>
                  </a:lnTo>
                  <a:lnTo>
                    <a:pt x="71028" y="33454"/>
                  </a:lnTo>
                  <a:lnTo>
                    <a:pt x="70485" y="32635"/>
                  </a:lnTo>
                  <a:lnTo>
                    <a:pt x="72013" y="31003"/>
                  </a:lnTo>
                  <a:lnTo>
                    <a:pt x="73866" y="29391"/>
                  </a:lnTo>
                  <a:lnTo>
                    <a:pt x="74795" y="29439"/>
                  </a:lnTo>
                  <a:lnTo>
                    <a:pt x="76377" y="30426"/>
                  </a:lnTo>
                  <a:lnTo>
                    <a:pt x="77680" y="31804"/>
                  </a:lnTo>
                  <a:lnTo>
                    <a:pt x="77857" y="32871"/>
                  </a:lnTo>
                  <a:lnTo>
                    <a:pt x="78097" y="33645"/>
                  </a:lnTo>
                  <a:lnTo>
                    <a:pt x="79330" y="35297"/>
                  </a:lnTo>
                  <a:lnTo>
                    <a:pt x="80126" y="35867"/>
                  </a:lnTo>
                  <a:lnTo>
                    <a:pt x="82273" y="36198"/>
                  </a:lnTo>
                  <a:lnTo>
                    <a:pt x="82773" y="36846"/>
                  </a:lnTo>
                  <a:lnTo>
                    <a:pt x="82390" y="39235"/>
                  </a:lnTo>
                  <a:lnTo>
                    <a:pt x="82709" y="40029"/>
                  </a:lnTo>
                  <a:lnTo>
                    <a:pt x="84957" y="40070"/>
                  </a:lnTo>
                  <a:lnTo>
                    <a:pt x="87342" y="39877"/>
                  </a:lnTo>
                  <a:lnTo>
                    <a:pt x="88175" y="39968"/>
                  </a:lnTo>
                  <a:lnTo>
                    <a:pt x="89036" y="39468"/>
                  </a:lnTo>
                  <a:lnTo>
                    <a:pt x="90363" y="38929"/>
                  </a:lnTo>
                  <a:lnTo>
                    <a:pt x="92257" y="39115"/>
                  </a:lnTo>
                  <a:lnTo>
                    <a:pt x="93191" y="40184"/>
                  </a:lnTo>
                  <a:lnTo>
                    <a:pt x="93607" y="41285"/>
                  </a:lnTo>
                  <a:lnTo>
                    <a:pt x="91977" y="41699"/>
                  </a:lnTo>
                  <a:lnTo>
                    <a:pt x="90275" y="41473"/>
                  </a:lnTo>
                  <a:lnTo>
                    <a:pt x="89445" y="42196"/>
                  </a:lnTo>
                  <a:lnTo>
                    <a:pt x="89391" y="43588"/>
                  </a:lnTo>
                  <a:lnTo>
                    <a:pt x="89966" y="45379"/>
                  </a:lnTo>
                  <a:lnTo>
                    <a:pt x="91104" y="46649"/>
                  </a:lnTo>
                  <a:lnTo>
                    <a:pt x="92014" y="49509"/>
                  </a:lnTo>
                  <a:lnTo>
                    <a:pt x="92768" y="52676"/>
                  </a:lnTo>
                  <a:lnTo>
                    <a:pt x="93941" y="54588"/>
                  </a:lnTo>
                  <a:lnTo>
                    <a:pt x="94182" y="56958"/>
                  </a:lnTo>
                  <a:lnTo>
                    <a:pt x="94009" y="58122"/>
                  </a:lnTo>
                  <a:lnTo>
                    <a:pt x="94223" y="60212"/>
                  </a:lnTo>
                  <a:lnTo>
                    <a:pt x="93724" y="60948"/>
                  </a:lnTo>
                  <a:lnTo>
                    <a:pt x="94098" y="62908"/>
                  </a:lnTo>
                  <a:lnTo>
                    <a:pt x="95479" y="66960"/>
                  </a:lnTo>
                  <a:lnTo>
                    <a:pt x="96082" y="69214"/>
                  </a:lnTo>
                  <a:lnTo>
                    <a:pt x="96471" y="74127"/>
                  </a:lnTo>
                  <a:lnTo>
                    <a:pt x="95497" y="75966"/>
                  </a:lnTo>
                  <a:lnTo>
                    <a:pt x="94188" y="77709"/>
                  </a:lnTo>
                  <a:lnTo>
                    <a:pt x="93333" y="79774"/>
                  </a:lnTo>
                  <a:lnTo>
                    <a:pt x="92672" y="82001"/>
                  </a:lnTo>
                  <a:lnTo>
                    <a:pt x="92274" y="85587"/>
                  </a:lnTo>
                  <a:lnTo>
                    <a:pt x="89440" y="89784"/>
                  </a:lnTo>
                  <a:lnTo>
                    <a:pt x="88234" y="90826"/>
                  </a:lnTo>
                  <a:lnTo>
                    <a:pt x="86835" y="91467"/>
                  </a:lnTo>
                  <a:lnTo>
                    <a:pt x="89891" y="94395"/>
                  </a:lnTo>
                  <a:lnTo>
                    <a:pt x="87394" y="95700"/>
                  </a:lnTo>
                  <a:lnTo>
                    <a:pt x="84671" y="96111"/>
                  </a:lnTo>
                  <a:lnTo>
                    <a:pt x="81658" y="95379"/>
                  </a:lnTo>
                  <a:lnTo>
                    <a:pt x="79781" y="95468"/>
                  </a:lnTo>
                  <a:lnTo>
                    <a:pt x="78067" y="96415"/>
                  </a:lnTo>
                  <a:lnTo>
                    <a:pt x="77392" y="96988"/>
                  </a:lnTo>
                  <a:lnTo>
                    <a:pt x="76853" y="96711"/>
                  </a:lnTo>
                  <a:lnTo>
                    <a:pt x="75722" y="94311"/>
                  </a:lnTo>
                  <a:lnTo>
                    <a:pt x="74893" y="96790"/>
                  </a:lnTo>
                  <a:lnTo>
                    <a:pt x="73157" y="97578"/>
                  </a:lnTo>
                  <a:lnTo>
                    <a:pt x="70184" y="97410"/>
                  </a:lnTo>
                  <a:lnTo>
                    <a:pt x="65217" y="98070"/>
                  </a:lnTo>
                  <a:lnTo>
                    <a:pt x="63306" y="98775"/>
                  </a:lnTo>
                  <a:lnTo>
                    <a:pt x="62512" y="99878"/>
                  </a:lnTo>
                  <a:lnTo>
                    <a:pt x="61922" y="101152"/>
                  </a:lnTo>
                  <a:lnTo>
                    <a:pt x="61147" y="101904"/>
                  </a:lnTo>
                  <a:lnTo>
                    <a:pt x="60271" y="102300"/>
                  </a:lnTo>
                  <a:lnTo>
                    <a:pt x="56436" y="103238"/>
                  </a:lnTo>
                  <a:lnTo>
                    <a:pt x="55680" y="103613"/>
                  </a:lnTo>
                  <a:lnTo>
                    <a:pt x="53904" y="105667"/>
                  </a:lnTo>
                  <a:lnTo>
                    <a:pt x="51575" y="106853"/>
                  </a:lnTo>
                  <a:lnTo>
                    <a:pt x="49646" y="107208"/>
                  </a:lnTo>
                  <a:lnTo>
                    <a:pt x="47934" y="106014"/>
                  </a:lnTo>
                  <a:lnTo>
                    <a:pt x="47230" y="105296"/>
                  </a:lnTo>
                  <a:lnTo>
                    <a:pt x="46435" y="104931"/>
                  </a:lnTo>
                  <a:lnTo>
                    <a:pt x="43805" y="104987"/>
                  </a:lnTo>
                  <a:lnTo>
                    <a:pt x="44636" y="105357"/>
                  </a:lnTo>
                  <a:lnTo>
                    <a:pt x="45172" y="106200"/>
                  </a:lnTo>
                  <a:lnTo>
                    <a:pt x="45432" y="107815"/>
                  </a:lnTo>
                  <a:lnTo>
                    <a:pt x="45133" y="109397"/>
                  </a:lnTo>
                  <a:lnTo>
                    <a:pt x="43836" y="110200"/>
                  </a:lnTo>
                  <a:lnTo>
                    <a:pt x="42287" y="110348"/>
                  </a:lnTo>
                  <a:lnTo>
                    <a:pt x="39845" y="111987"/>
                  </a:lnTo>
                  <a:lnTo>
                    <a:pt x="36612" y="112435"/>
                  </a:lnTo>
                  <a:lnTo>
                    <a:pt x="34866" y="113943"/>
                  </a:lnTo>
                  <a:lnTo>
                    <a:pt x="24185" y="116492"/>
                  </a:lnTo>
                  <a:lnTo>
                    <a:pt x="23579" y="116522"/>
                  </a:lnTo>
                  <a:lnTo>
                    <a:pt x="22105" y="115873"/>
                  </a:lnTo>
                  <a:lnTo>
                    <a:pt x="20506" y="115586"/>
                  </a:lnTo>
                  <a:lnTo>
                    <a:pt x="18914" y="115789"/>
                  </a:lnTo>
                  <a:lnTo>
                    <a:pt x="14438" y="117212"/>
                  </a:lnTo>
                  <a:lnTo>
                    <a:pt x="12270" y="116929"/>
                  </a:lnTo>
                  <a:lnTo>
                    <a:pt x="15033" y="113390"/>
                  </a:lnTo>
                  <a:lnTo>
                    <a:pt x="18748" y="111602"/>
                  </a:lnTo>
                  <a:lnTo>
                    <a:pt x="19134" y="111112"/>
                  </a:lnTo>
                  <a:lnTo>
                    <a:pt x="17920" y="110872"/>
                  </a:lnTo>
                  <a:lnTo>
                    <a:pt x="10862" y="112114"/>
                  </a:lnTo>
                  <a:lnTo>
                    <a:pt x="8410" y="113172"/>
                  </a:lnTo>
                  <a:lnTo>
                    <a:pt x="5959" y="113479"/>
                  </a:lnTo>
                  <a:lnTo>
                    <a:pt x="7094" y="111864"/>
                  </a:lnTo>
                  <a:lnTo>
                    <a:pt x="10256" y="109650"/>
                  </a:lnTo>
                  <a:lnTo>
                    <a:pt x="11952" y="108607"/>
                  </a:lnTo>
                  <a:lnTo>
                    <a:pt x="12987" y="108193"/>
                  </a:lnTo>
                  <a:lnTo>
                    <a:pt x="14168" y="106891"/>
                  </a:lnTo>
                  <a:lnTo>
                    <a:pt x="17500" y="105411"/>
                  </a:lnTo>
                  <a:lnTo>
                    <a:pt x="6767" y="108463"/>
                  </a:lnTo>
                  <a:lnTo>
                    <a:pt x="3947" y="108091"/>
                  </a:lnTo>
                  <a:lnTo>
                    <a:pt x="3283" y="107240"/>
                  </a:lnTo>
                  <a:lnTo>
                    <a:pt x="1087" y="107639"/>
                  </a:lnTo>
                  <a:lnTo>
                    <a:pt x="255" y="105579"/>
                  </a:lnTo>
                  <a:lnTo>
                    <a:pt x="3508" y="102454"/>
                  </a:lnTo>
                  <a:lnTo>
                    <a:pt x="5404" y="101109"/>
                  </a:lnTo>
                  <a:lnTo>
                    <a:pt x="7655" y="100382"/>
                  </a:lnTo>
                  <a:lnTo>
                    <a:pt x="9822" y="99339"/>
                  </a:lnTo>
                  <a:lnTo>
                    <a:pt x="10626" y="98063"/>
                  </a:lnTo>
                  <a:lnTo>
                    <a:pt x="9606" y="97656"/>
                  </a:lnTo>
                  <a:lnTo>
                    <a:pt x="3112" y="97980"/>
                  </a:lnTo>
                  <a:lnTo>
                    <a:pt x="0" y="97708"/>
                  </a:lnTo>
                  <a:lnTo>
                    <a:pt x="168" y="96696"/>
                  </a:lnTo>
                  <a:lnTo>
                    <a:pt x="742" y="95574"/>
                  </a:lnTo>
                  <a:lnTo>
                    <a:pt x="3965" y="93654"/>
                  </a:lnTo>
                  <a:lnTo>
                    <a:pt x="5708" y="93345"/>
                  </a:lnTo>
                  <a:lnTo>
                    <a:pt x="7263" y="93528"/>
                  </a:lnTo>
                  <a:lnTo>
                    <a:pt x="8781" y="94020"/>
                  </a:lnTo>
                  <a:lnTo>
                    <a:pt x="10015" y="94663"/>
                  </a:lnTo>
                  <a:lnTo>
                    <a:pt x="13668" y="94294"/>
                  </a:lnTo>
                  <a:lnTo>
                    <a:pt x="12143" y="93067"/>
                  </a:lnTo>
                  <a:lnTo>
                    <a:pt x="11874" y="90572"/>
                  </a:lnTo>
                  <a:lnTo>
                    <a:pt x="10706" y="89733"/>
                  </a:lnTo>
                  <a:lnTo>
                    <a:pt x="12201" y="88575"/>
                  </a:lnTo>
                  <a:lnTo>
                    <a:pt x="13911" y="87871"/>
                  </a:lnTo>
                  <a:lnTo>
                    <a:pt x="16761" y="85473"/>
                  </a:lnTo>
                  <a:lnTo>
                    <a:pt x="17776" y="85108"/>
                  </a:lnTo>
                  <a:lnTo>
                    <a:pt x="23416" y="84525"/>
                  </a:lnTo>
                  <a:lnTo>
                    <a:pt x="29499" y="83263"/>
                  </a:lnTo>
                  <a:lnTo>
                    <a:pt x="35529" y="81519"/>
                  </a:lnTo>
                  <a:lnTo>
                    <a:pt x="32437" y="80544"/>
                  </a:lnTo>
                  <a:lnTo>
                    <a:pt x="30956" y="79257"/>
                  </a:lnTo>
                  <a:lnTo>
                    <a:pt x="28576" y="81858"/>
                  </a:lnTo>
                  <a:lnTo>
                    <a:pt x="26863" y="82852"/>
                  </a:lnTo>
                  <a:lnTo>
                    <a:pt x="22024" y="83383"/>
                  </a:lnTo>
                  <a:lnTo>
                    <a:pt x="20492" y="83091"/>
                  </a:lnTo>
                  <a:lnTo>
                    <a:pt x="18335" y="82284"/>
                  </a:lnTo>
                  <a:lnTo>
                    <a:pt x="17665" y="82592"/>
                  </a:lnTo>
                  <a:lnTo>
                    <a:pt x="17042" y="83215"/>
                  </a:lnTo>
                  <a:lnTo>
                    <a:pt x="13839" y="84489"/>
                  </a:lnTo>
                  <a:lnTo>
                    <a:pt x="10473" y="84794"/>
                  </a:lnTo>
                  <a:lnTo>
                    <a:pt x="14387" y="82456"/>
                  </a:lnTo>
                  <a:lnTo>
                    <a:pt x="19353" y="78489"/>
                  </a:lnTo>
                  <a:lnTo>
                    <a:pt x="20461" y="77234"/>
                  </a:lnTo>
                  <a:lnTo>
                    <a:pt x="22037" y="75050"/>
                  </a:lnTo>
                  <a:lnTo>
                    <a:pt x="21549" y="74078"/>
                  </a:lnTo>
                  <a:lnTo>
                    <a:pt x="20526" y="73524"/>
                  </a:lnTo>
                  <a:lnTo>
                    <a:pt x="24125" y="69022"/>
                  </a:lnTo>
                  <a:lnTo>
                    <a:pt x="25392" y="68204"/>
                  </a:lnTo>
                  <a:lnTo>
                    <a:pt x="27699" y="68072"/>
                  </a:lnTo>
                  <a:lnTo>
                    <a:pt x="29389" y="67357"/>
                  </a:lnTo>
                  <a:lnTo>
                    <a:pt x="30134" y="67354"/>
                  </a:lnTo>
                  <a:lnTo>
                    <a:pt x="30804" y="67088"/>
                  </a:lnTo>
                  <a:lnTo>
                    <a:pt x="32286" y="65736"/>
                  </a:lnTo>
                  <a:lnTo>
                    <a:pt x="29999" y="64876"/>
                  </a:lnTo>
                  <a:lnTo>
                    <a:pt x="27638" y="64433"/>
                  </a:lnTo>
                  <a:lnTo>
                    <a:pt x="20332" y="64902"/>
                  </a:lnTo>
                  <a:lnTo>
                    <a:pt x="19371" y="64801"/>
                  </a:lnTo>
                  <a:lnTo>
                    <a:pt x="18465" y="64386"/>
                  </a:lnTo>
                  <a:lnTo>
                    <a:pt x="17877" y="63787"/>
                  </a:lnTo>
                  <a:lnTo>
                    <a:pt x="17435" y="62252"/>
                  </a:lnTo>
                  <a:lnTo>
                    <a:pt x="16899" y="61909"/>
                  </a:lnTo>
                  <a:lnTo>
                    <a:pt x="15250" y="61909"/>
                  </a:lnTo>
                  <a:lnTo>
                    <a:pt x="13625" y="62378"/>
                  </a:lnTo>
                  <a:lnTo>
                    <a:pt x="12490" y="62333"/>
                  </a:lnTo>
                  <a:lnTo>
                    <a:pt x="11376" y="61660"/>
                  </a:lnTo>
                  <a:lnTo>
                    <a:pt x="13153" y="60088"/>
                  </a:lnTo>
                  <a:lnTo>
                    <a:pt x="10862" y="59718"/>
                  </a:lnTo>
                  <a:lnTo>
                    <a:pt x="8542" y="60027"/>
                  </a:lnTo>
                  <a:lnTo>
                    <a:pt x="6611" y="59551"/>
                  </a:lnTo>
                  <a:lnTo>
                    <a:pt x="6551" y="58564"/>
                  </a:lnTo>
                  <a:lnTo>
                    <a:pt x="7426" y="57579"/>
                  </a:lnTo>
                  <a:lnTo>
                    <a:pt x="6279" y="56644"/>
                  </a:lnTo>
                  <a:lnTo>
                    <a:pt x="6042" y="55462"/>
                  </a:lnTo>
                  <a:lnTo>
                    <a:pt x="7264" y="54881"/>
                  </a:lnTo>
                  <a:lnTo>
                    <a:pt x="8599" y="55074"/>
                  </a:lnTo>
                  <a:lnTo>
                    <a:pt x="11320" y="54199"/>
                  </a:lnTo>
                  <a:lnTo>
                    <a:pt x="14806" y="53774"/>
                  </a:lnTo>
                  <a:lnTo>
                    <a:pt x="11816" y="52911"/>
                  </a:lnTo>
                  <a:lnTo>
                    <a:pt x="10625" y="52171"/>
                  </a:lnTo>
                  <a:lnTo>
                    <a:pt x="10568" y="51038"/>
                  </a:lnTo>
                  <a:lnTo>
                    <a:pt x="10805" y="50068"/>
                  </a:lnTo>
                  <a:lnTo>
                    <a:pt x="14266" y="48427"/>
                  </a:lnTo>
                  <a:lnTo>
                    <a:pt x="17955" y="47703"/>
                  </a:lnTo>
                  <a:lnTo>
                    <a:pt x="17683" y="46621"/>
                  </a:lnTo>
                  <a:lnTo>
                    <a:pt x="17941" y="45450"/>
                  </a:lnTo>
                  <a:lnTo>
                    <a:pt x="14212" y="45112"/>
                  </a:lnTo>
                  <a:lnTo>
                    <a:pt x="10529" y="45938"/>
                  </a:lnTo>
                  <a:lnTo>
                    <a:pt x="10923" y="43700"/>
                  </a:lnTo>
                  <a:lnTo>
                    <a:pt x="11805" y="41678"/>
                  </a:lnTo>
                  <a:lnTo>
                    <a:pt x="11979" y="40343"/>
                  </a:lnTo>
                  <a:lnTo>
                    <a:pt x="11803" y="38914"/>
                  </a:lnTo>
                  <a:lnTo>
                    <a:pt x="10078" y="39525"/>
                  </a:lnTo>
                  <a:lnTo>
                    <a:pt x="9876" y="37509"/>
                  </a:lnTo>
                  <a:lnTo>
                    <a:pt x="9135" y="36125"/>
                  </a:lnTo>
                  <a:lnTo>
                    <a:pt x="6580" y="37078"/>
                  </a:lnTo>
                  <a:lnTo>
                    <a:pt x="6646" y="35252"/>
                  </a:lnTo>
                  <a:lnTo>
                    <a:pt x="7382" y="33975"/>
                  </a:lnTo>
                  <a:lnTo>
                    <a:pt x="8718" y="33420"/>
                  </a:lnTo>
                  <a:lnTo>
                    <a:pt x="10045" y="33661"/>
                  </a:lnTo>
                  <a:lnTo>
                    <a:pt x="12508" y="33637"/>
                  </a:lnTo>
                  <a:lnTo>
                    <a:pt x="14883" y="32677"/>
                  </a:lnTo>
                  <a:lnTo>
                    <a:pt x="18307" y="32430"/>
                  </a:lnTo>
                  <a:lnTo>
                    <a:pt x="23764" y="32732"/>
                  </a:lnTo>
                  <a:lnTo>
                    <a:pt x="27515" y="35441"/>
                  </a:lnTo>
                  <a:lnTo>
                    <a:pt x="28483" y="34957"/>
                  </a:lnTo>
                  <a:lnTo>
                    <a:pt x="29983" y="33245"/>
                  </a:lnTo>
                  <a:lnTo>
                    <a:pt x="30687" y="33056"/>
                  </a:lnTo>
                  <a:lnTo>
                    <a:pt x="36340" y="33802"/>
                  </a:lnTo>
                  <a:lnTo>
                    <a:pt x="39851" y="34787"/>
                  </a:lnTo>
                  <a:lnTo>
                    <a:pt x="40790" y="34480"/>
                  </a:lnTo>
                  <a:lnTo>
                    <a:pt x="40283" y="32580"/>
                  </a:lnTo>
                  <a:lnTo>
                    <a:pt x="39074" y="31262"/>
                  </a:lnTo>
                  <a:lnTo>
                    <a:pt x="40593" y="29534"/>
                  </a:lnTo>
                  <a:lnTo>
                    <a:pt x="42438" y="28363"/>
                  </a:lnTo>
                  <a:lnTo>
                    <a:pt x="43671" y="27779"/>
                  </a:lnTo>
                  <a:lnTo>
                    <a:pt x="46518" y="27053"/>
                  </a:lnTo>
                  <a:lnTo>
                    <a:pt x="47759" y="26369"/>
                  </a:lnTo>
                  <a:lnTo>
                    <a:pt x="48586" y="24143"/>
                  </a:lnTo>
                  <a:lnTo>
                    <a:pt x="49902" y="22287"/>
                  </a:lnTo>
                  <a:lnTo>
                    <a:pt x="42758" y="23252"/>
                  </a:lnTo>
                  <a:lnTo>
                    <a:pt x="35961" y="21052"/>
                  </a:lnTo>
                  <a:lnTo>
                    <a:pt x="37039" y="19495"/>
                  </a:lnTo>
                  <a:lnTo>
                    <a:pt x="38474" y="18612"/>
                  </a:lnTo>
                  <a:lnTo>
                    <a:pt x="40950" y="17935"/>
                  </a:lnTo>
                  <a:lnTo>
                    <a:pt x="41185" y="17122"/>
                  </a:lnTo>
                  <a:lnTo>
                    <a:pt x="42438" y="16446"/>
                  </a:lnTo>
                  <a:lnTo>
                    <a:pt x="44510" y="14669"/>
                  </a:lnTo>
                  <a:lnTo>
                    <a:pt x="43749" y="12346"/>
                  </a:lnTo>
                  <a:lnTo>
                    <a:pt x="44157" y="10646"/>
                  </a:lnTo>
                  <a:lnTo>
                    <a:pt x="45649" y="9537"/>
                  </a:lnTo>
                  <a:lnTo>
                    <a:pt x="46116" y="7945"/>
                  </a:lnTo>
                  <a:lnTo>
                    <a:pt x="46781" y="6772"/>
                  </a:lnTo>
                  <a:lnTo>
                    <a:pt x="49808" y="6352"/>
                  </a:lnTo>
                  <a:lnTo>
                    <a:pt x="52718" y="5261"/>
                  </a:lnTo>
                  <a:lnTo>
                    <a:pt x="53769" y="5367"/>
                  </a:lnTo>
                  <a:lnTo>
                    <a:pt x="57205" y="5115"/>
                  </a:lnTo>
                  <a:lnTo>
                    <a:pt x="58369" y="5555"/>
                  </a:lnTo>
                  <a:lnTo>
                    <a:pt x="58104" y="3626"/>
                  </a:lnTo>
                  <a:lnTo>
                    <a:pt x="60214" y="3375"/>
                  </a:lnTo>
                  <a:lnTo>
                    <a:pt x="61039" y="3760"/>
                  </a:lnTo>
                  <a:lnTo>
                    <a:pt x="61402" y="5127"/>
                  </a:lnTo>
                  <a:lnTo>
                    <a:pt x="62361" y="5999"/>
                  </a:lnTo>
                  <a:lnTo>
                    <a:pt x="62657" y="7513"/>
                  </a:lnTo>
                  <a:lnTo>
                    <a:pt x="62014" y="8682"/>
                  </a:lnTo>
                  <a:lnTo>
                    <a:pt x="60940" y="9582"/>
                  </a:lnTo>
                  <a:lnTo>
                    <a:pt x="61922" y="10503"/>
                  </a:lnTo>
                  <a:lnTo>
                    <a:pt x="60399" y="12166"/>
                  </a:lnTo>
                  <a:lnTo>
                    <a:pt x="62043" y="11458"/>
                  </a:lnTo>
                  <a:lnTo>
                    <a:pt x="64386" y="9829"/>
                  </a:lnTo>
                  <a:lnTo>
                    <a:pt x="64265" y="8496"/>
                  </a:lnTo>
                  <a:lnTo>
                    <a:pt x="63866" y="6820"/>
                  </a:lnTo>
                  <a:lnTo>
                    <a:pt x="63214" y="5307"/>
                  </a:lnTo>
                  <a:lnTo>
                    <a:pt x="63514" y="3639"/>
                  </a:lnTo>
                  <a:lnTo>
                    <a:pt x="64831" y="2595"/>
                  </a:lnTo>
                  <a:lnTo>
                    <a:pt x="68293" y="2070"/>
                  </a:lnTo>
                  <a:lnTo>
                    <a:pt x="66873" y="174"/>
                  </a:lnTo>
                  <a:close/>
                </a:path>
              </a:pathLst>
            </a:custGeom>
            <a:solidFill>
              <a:srgbClr val="AB5905">
                <a:lumMod val="20000"/>
                <a:lumOff val="80000"/>
              </a:srgbClr>
            </a:solidFill>
            <a:ln w="317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74295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kern="0" dirty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1569" name="Gruppieren 89">
              <a:extLst>
                <a:ext uri="{FF2B5EF4-FFF2-40B4-BE49-F238E27FC236}">
                  <a16:creationId xmlns:a16="http://schemas.microsoft.com/office/drawing/2014/main" id="{6AF9C003-351A-0937-D3E8-160DFBFD25E5}"/>
                </a:ext>
              </a:extLst>
            </p:cNvPr>
            <p:cNvGrpSpPr>
              <a:grpSpLocks/>
            </p:cNvGrpSpPr>
            <p:nvPr/>
          </p:nvGrpSpPr>
          <p:grpSpPr>
            <a:xfrm>
              <a:off x="6492542" y="3710426"/>
              <a:ext cx="273895" cy="199211"/>
              <a:chOff x="1303207" y="3604926"/>
              <a:chExt cx="592827" cy="476174"/>
            </a:xfrm>
            <a:solidFill>
              <a:srgbClr val="AB5905">
                <a:lumMod val="20000"/>
                <a:lumOff val="80000"/>
              </a:srgbClr>
            </a:solidFill>
          </p:grpSpPr>
          <p:sp>
            <p:nvSpPr>
              <p:cNvPr id="1780" name="Freeform 82">
                <a:extLst>
                  <a:ext uri="{FF2B5EF4-FFF2-40B4-BE49-F238E27FC236}">
                    <a16:creationId xmlns:a16="http://schemas.microsoft.com/office/drawing/2014/main" id="{4E997EBD-FED3-54DD-FEBD-CD63A4318B8B}"/>
                  </a:ext>
                </a:extLst>
              </p:cNvPr>
              <p:cNvSpPr>
                <a:spLocks noChangeAspect="1"/>
              </p:cNvSpPr>
              <p:nvPr>
                <p:custDataLst>
                  <p:tags r:id="rId211"/>
                </p:custDataLst>
              </p:nvPr>
            </p:nvSpPr>
            <p:spPr>
              <a:xfrm>
                <a:off x="1760733" y="3848033"/>
                <a:ext cx="55463" cy="45889"/>
              </a:xfrm>
              <a:custGeom>
                <a:avLst/>
                <a:gdLst/>
                <a:ahLst/>
                <a:cxnLst/>
                <a:rect l="0" t="0" r="0" b="0"/>
                <a:pathLst>
                  <a:path w="56946" h="47116">
                    <a:moveTo>
                      <a:pt x="22622" y="6406"/>
                    </a:moveTo>
                    <a:lnTo>
                      <a:pt x="28203" y="1727"/>
                    </a:lnTo>
                    <a:lnTo>
                      <a:pt x="33829" y="6830"/>
                    </a:lnTo>
                    <a:lnTo>
                      <a:pt x="33828" y="6832"/>
                    </a:lnTo>
                    <a:lnTo>
                      <a:pt x="30789" y="12029"/>
                    </a:lnTo>
                    <a:lnTo>
                      <a:pt x="33395" y="13927"/>
                    </a:lnTo>
                    <a:lnTo>
                      <a:pt x="34203" y="17316"/>
                    </a:lnTo>
                    <a:lnTo>
                      <a:pt x="34299" y="20727"/>
                    </a:lnTo>
                    <a:lnTo>
                      <a:pt x="34808" y="22628"/>
                    </a:lnTo>
                    <a:lnTo>
                      <a:pt x="37560" y="23036"/>
                    </a:lnTo>
                    <a:lnTo>
                      <a:pt x="39310" y="21184"/>
                    </a:lnTo>
                    <a:lnTo>
                      <a:pt x="40564" y="18801"/>
                    </a:lnTo>
                    <a:lnTo>
                      <a:pt x="43076" y="16541"/>
                    </a:lnTo>
                    <a:lnTo>
                      <a:pt x="43200" y="16354"/>
                    </a:lnTo>
                    <a:lnTo>
                      <a:pt x="43207" y="16357"/>
                    </a:lnTo>
                    <a:lnTo>
                      <a:pt x="43365" y="16412"/>
                    </a:lnTo>
                    <a:lnTo>
                      <a:pt x="43378" y="16373"/>
                    </a:lnTo>
                    <a:lnTo>
                      <a:pt x="56945" y="20043"/>
                    </a:lnTo>
                    <a:lnTo>
                      <a:pt x="54826" y="28150"/>
                    </a:lnTo>
                    <a:lnTo>
                      <a:pt x="50041" y="27670"/>
                    </a:lnTo>
                    <a:lnTo>
                      <a:pt x="45135" y="30681"/>
                    </a:lnTo>
                    <a:lnTo>
                      <a:pt x="37285" y="31691"/>
                    </a:lnTo>
                    <a:lnTo>
                      <a:pt x="34524" y="34982"/>
                    </a:lnTo>
                    <a:lnTo>
                      <a:pt x="25009" y="39216"/>
                    </a:lnTo>
                    <a:lnTo>
                      <a:pt x="23626" y="41814"/>
                    </a:lnTo>
                    <a:lnTo>
                      <a:pt x="21467" y="43555"/>
                    </a:lnTo>
                    <a:lnTo>
                      <a:pt x="20478" y="47115"/>
                    </a:lnTo>
                    <a:lnTo>
                      <a:pt x="17855" y="46288"/>
                    </a:lnTo>
                    <a:lnTo>
                      <a:pt x="16348" y="38576"/>
                    </a:lnTo>
                    <a:lnTo>
                      <a:pt x="6962" y="31115"/>
                    </a:lnTo>
                    <a:lnTo>
                      <a:pt x="6773" y="26018"/>
                    </a:lnTo>
                    <a:lnTo>
                      <a:pt x="4895" y="20514"/>
                    </a:lnTo>
                    <a:lnTo>
                      <a:pt x="0" y="14817"/>
                    </a:lnTo>
                    <a:lnTo>
                      <a:pt x="4589" y="12332"/>
                    </a:lnTo>
                    <a:lnTo>
                      <a:pt x="1302" y="4670"/>
                    </a:lnTo>
                    <a:lnTo>
                      <a:pt x="2024" y="3412"/>
                    </a:lnTo>
                    <a:lnTo>
                      <a:pt x="6956" y="2963"/>
                    </a:lnTo>
                    <a:lnTo>
                      <a:pt x="10152" y="0"/>
                    </a:lnTo>
                    <a:lnTo>
                      <a:pt x="18680" y="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1" name="Freeform 83">
                <a:extLst>
                  <a:ext uri="{FF2B5EF4-FFF2-40B4-BE49-F238E27FC236}">
                    <a16:creationId xmlns:a16="http://schemas.microsoft.com/office/drawing/2014/main" id="{7E08F2F6-77DD-F8A1-7320-91D145D2C6A3}"/>
                  </a:ext>
                </a:extLst>
              </p:cNvPr>
              <p:cNvSpPr>
                <a:spLocks noChangeAspect="1"/>
              </p:cNvSpPr>
              <p:nvPr>
                <p:custDataLst>
                  <p:tags r:id="rId212"/>
                </p:custDataLst>
              </p:nvPr>
            </p:nvSpPr>
            <p:spPr>
              <a:xfrm>
                <a:off x="1477058" y="3684722"/>
                <a:ext cx="84076" cy="99999"/>
              </a:xfrm>
              <a:custGeom>
                <a:avLst/>
                <a:gdLst/>
                <a:ahLst/>
                <a:cxnLst/>
                <a:rect l="0" t="0" r="0" b="0"/>
                <a:pathLst>
                  <a:path w="86324" h="102672">
                    <a:moveTo>
                      <a:pt x="60373" y="9036"/>
                    </a:moveTo>
                    <a:lnTo>
                      <a:pt x="60360" y="9056"/>
                    </a:lnTo>
                    <a:lnTo>
                      <a:pt x="60186" y="9333"/>
                    </a:lnTo>
                    <a:lnTo>
                      <a:pt x="54714" y="15270"/>
                    </a:lnTo>
                    <a:lnTo>
                      <a:pt x="59047" y="20704"/>
                    </a:lnTo>
                    <a:lnTo>
                      <a:pt x="63149" y="34204"/>
                    </a:lnTo>
                    <a:lnTo>
                      <a:pt x="66932" y="32911"/>
                    </a:lnTo>
                    <a:lnTo>
                      <a:pt x="72826" y="34625"/>
                    </a:lnTo>
                    <a:lnTo>
                      <a:pt x="70072" y="41698"/>
                    </a:lnTo>
                    <a:lnTo>
                      <a:pt x="70572" y="50763"/>
                    </a:lnTo>
                    <a:lnTo>
                      <a:pt x="72432" y="57228"/>
                    </a:lnTo>
                    <a:lnTo>
                      <a:pt x="78806" y="62564"/>
                    </a:lnTo>
                    <a:lnTo>
                      <a:pt x="80063" y="71450"/>
                    </a:lnTo>
                    <a:lnTo>
                      <a:pt x="82410" y="74440"/>
                    </a:lnTo>
                    <a:lnTo>
                      <a:pt x="80706" y="79027"/>
                    </a:lnTo>
                    <a:lnTo>
                      <a:pt x="80369" y="90391"/>
                    </a:lnTo>
                    <a:lnTo>
                      <a:pt x="86323" y="99617"/>
                    </a:lnTo>
                    <a:lnTo>
                      <a:pt x="78343" y="99848"/>
                    </a:lnTo>
                    <a:lnTo>
                      <a:pt x="73115" y="102671"/>
                    </a:lnTo>
                    <a:lnTo>
                      <a:pt x="64476" y="99124"/>
                    </a:lnTo>
                    <a:lnTo>
                      <a:pt x="63286" y="95125"/>
                    </a:lnTo>
                    <a:lnTo>
                      <a:pt x="53641" y="84309"/>
                    </a:lnTo>
                    <a:lnTo>
                      <a:pt x="46200" y="86253"/>
                    </a:lnTo>
                    <a:lnTo>
                      <a:pt x="43999" y="84957"/>
                    </a:lnTo>
                    <a:lnTo>
                      <a:pt x="46441" y="81795"/>
                    </a:lnTo>
                    <a:lnTo>
                      <a:pt x="43673" y="78560"/>
                    </a:lnTo>
                    <a:lnTo>
                      <a:pt x="43933" y="71335"/>
                    </a:lnTo>
                    <a:lnTo>
                      <a:pt x="29328" y="69172"/>
                    </a:lnTo>
                    <a:lnTo>
                      <a:pt x="28857" y="66585"/>
                    </a:lnTo>
                    <a:lnTo>
                      <a:pt x="33231" y="60446"/>
                    </a:lnTo>
                    <a:lnTo>
                      <a:pt x="32995" y="59148"/>
                    </a:lnTo>
                    <a:lnTo>
                      <a:pt x="21047" y="55204"/>
                    </a:lnTo>
                    <a:lnTo>
                      <a:pt x="14935" y="57512"/>
                    </a:lnTo>
                    <a:lnTo>
                      <a:pt x="8598" y="56206"/>
                    </a:lnTo>
                    <a:lnTo>
                      <a:pt x="5111" y="48768"/>
                    </a:lnTo>
                    <a:lnTo>
                      <a:pt x="209" y="45878"/>
                    </a:lnTo>
                    <a:lnTo>
                      <a:pt x="0" y="45618"/>
                    </a:lnTo>
                    <a:lnTo>
                      <a:pt x="1700" y="43133"/>
                    </a:lnTo>
                    <a:lnTo>
                      <a:pt x="2152" y="39974"/>
                    </a:lnTo>
                    <a:lnTo>
                      <a:pt x="1463" y="30162"/>
                    </a:lnTo>
                    <a:lnTo>
                      <a:pt x="2499" y="27511"/>
                    </a:lnTo>
                    <a:lnTo>
                      <a:pt x="3688" y="27164"/>
                    </a:lnTo>
                    <a:lnTo>
                      <a:pt x="4301" y="26546"/>
                    </a:lnTo>
                    <a:lnTo>
                      <a:pt x="3587" y="23162"/>
                    </a:lnTo>
                    <a:lnTo>
                      <a:pt x="10317" y="13852"/>
                    </a:lnTo>
                    <a:lnTo>
                      <a:pt x="12652" y="11431"/>
                    </a:lnTo>
                    <a:lnTo>
                      <a:pt x="15377" y="9527"/>
                    </a:lnTo>
                    <a:lnTo>
                      <a:pt x="29458" y="8137"/>
                    </a:lnTo>
                    <a:lnTo>
                      <a:pt x="31352" y="6245"/>
                    </a:lnTo>
                    <a:lnTo>
                      <a:pt x="33182" y="3656"/>
                    </a:lnTo>
                    <a:lnTo>
                      <a:pt x="35234" y="1355"/>
                    </a:lnTo>
                    <a:lnTo>
                      <a:pt x="39560" y="0"/>
                    </a:lnTo>
                    <a:lnTo>
                      <a:pt x="39559" y="3"/>
                    </a:lnTo>
                    <a:lnTo>
                      <a:pt x="37063" y="6999"/>
                    </a:lnTo>
                    <a:lnTo>
                      <a:pt x="40504" y="7343"/>
                    </a:lnTo>
                    <a:lnTo>
                      <a:pt x="50615" y="4917"/>
                    </a:lnTo>
                    <a:lnTo>
                      <a:pt x="54513" y="554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2" name="Freeform 84">
                <a:extLst>
                  <a:ext uri="{FF2B5EF4-FFF2-40B4-BE49-F238E27FC236}">
                    <a16:creationId xmlns:a16="http://schemas.microsoft.com/office/drawing/2014/main" id="{D4FA3B4A-5911-DCF9-6C7E-C13B3063F202}"/>
                  </a:ext>
                </a:extLst>
              </p:cNvPr>
              <p:cNvSpPr>
                <a:spLocks noChangeAspect="1"/>
              </p:cNvSpPr>
              <p:nvPr>
                <p:custDataLst>
                  <p:tags r:id="rId213"/>
                </p:custDataLst>
              </p:nvPr>
            </p:nvSpPr>
            <p:spPr>
              <a:xfrm>
                <a:off x="1410045" y="3796112"/>
                <a:ext cx="167447" cy="132361"/>
              </a:xfrm>
              <a:custGeom>
                <a:avLst/>
                <a:gdLst/>
                <a:ahLst/>
                <a:cxnLst/>
                <a:rect l="0" t="0" r="0" b="0"/>
                <a:pathLst>
                  <a:path w="171923" h="135899">
                    <a:moveTo>
                      <a:pt x="166598" y="4244"/>
                    </a:moveTo>
                    <a:lnTo>
                      <a:pt x="171922" y="4393"/>
                    </a:lnTo>
                    <a:lnTo>
                      <a:pt x="170095" y="10352"/>
                    </a:lnTo>
                    <a:lnTo>
                      <a:pt x="162614" y="13910"/>
                    </a:lnTo>
                    <a:lnTo>
                      <a:pt x="156836" y="17769"/>
                    </a:lnTo>
                    <a:lnTo>
                      <a:pt x="157703" y="32051"/>
                    </a:lnTo>
                    <a:lnTo>
                      <a:pt x="154583" y="39119"/>
                    </a:lnTo>
                    <a:lnTo>
                      <a:pt x="161278" y="43919"/>
                    </a:lnTo>
                    <a:lnTo>
                      <a:pt x="157948" y="47804"/>
                    </a:lnTo>
                    <a:lnTo>
                      <a:pt x="160162" y="51526"/>
                    </a:lnTo>
                    <a:lnTo>
                      <a:pt x="164360" y="65868"/>
                    </a:lnTo>
                    <a:lnTo>
                      <a:pt x="161269" y="76982"/>
                    </a:lnTo>
                    <a:lnTo>
                      <a:pt x="157841" y="83928"/>
                    </a:lnTo>
                    <a:lnTo>
                      <a:pt x="159557" y="87752"/>
                    </a:lnTo>
                    <a:lnTo>
                      <a:pt x="158010" y="91590"/>
                    </a:lnTo>
                    <a:lnTo>
                      <a:pt x="151296" y="97526"/>
                    </a:lnTo>
                    <a:lnTo>
                      <a:pt x="145714" y="98090"/>
                    </a:lnTo>
                    <a:lnTo>
                      <a:pt x="144279" y="103227"/>
                    </a:lnTo>
                    <a:lnTo>
                      <a:pt x="142931" y="104215"/>
                    </a:lnTo>
                    <a:lnTo>
                      <a:pt x="131054" y="107207"/>
                    </a:lnTo>
                    <a:lnTo>
                      <a:pt x="127875" y="113645"/>
                    </a:lnTo>
                    <a:lnTo>
                      <a:pt x="125679" y="115547"/>
                    </a:lnTo>
                    <a:lnTo>
                      <a:pt x="122855" y="116249"/>
                    </a:lnTo>
                    <a:lnTo>
                      <a:pt x="119714" y="113847"/>
                    </a:lnTo>
                    <a:lnTo>
                      <a:pt x="117763" y="115761"/>
                    </a:lnTo>
                    <a:lnTo>
                      <a:pt x="112979" y="115079"/>
                    </a:lnTo>
                    <a:lnTo>
                      <a:pt x="102399" y="118762"/>
                    </a:lnTo>
                    <a:lnTo>
                      <a:pt x="99029" y="122842"/>
                    </a:lnTo>
                    <a:lnTo>
                      <a:pt x="95389" y="123810"/>
                    </a:lnTo>
                    <a:lnTo>
                      <a:pt x="91635" y="122437"/>
                    </a:lnTo>
                    <a:lnTo>
                      <a:pt x="81103" y="126307"/>
                    </a:lnTo>
                    <a:lnTo>
                      <a:pt x="73359" y="125460"/>
                    </a:lnTo>
                    <a:lnTo>
                      <a:pt x="69014" y="128084"/>
                    </a:lnTo>
                    <a:lnTo>
                      <a:pt x="56688" y="125149"/>
                    </a:lnTo>
                    <a:lnTo>
                      <a:pt x="52124" y="129239"/>
                    </a:lnTo>
                    <a:lnTo>
                      <a:pt x="46341" y="129876"/>
                    </a:lnTo>
                    <a:lnTo>
                      <a:pt x="36591" y="135898"/>
                    </a:lnTo>
                    <a:lnTo>
                      <a:pt x="30756" y="131836"/>
                    </a:lnTo>
                    <a:lnTo>
                      <a:pt x="28216" y="126692"/>
                    </a:lnTo>
                    <a:lnTo>
                      <a:pt x="25776" y="126014"/>
                    </a:lnTo>
                    <a:lnTo>
                      <a:pt x="26273" y="115627"/>
                    </a:lnTo>
                    <a:lnTo>
                      <a:pt x="23255" y="105021"/>
                    </a:lnTo>
                    <a:lnTo>
                      <a:pt x="25191" y="100447"/>
                    </a:lnTo>
                    <a:lnTo>
                      <a:pt x="23190" y="96608"/>
                    </a:lnTo>
                    <a:lnTo>
                      <a:pt x="27912" y="82544"/>
                    </a:lnTo>
                    <a:lnTo>
                      <a:pt x="34064" y="81621"/>
                    </a:lnTo>
                    <a:lnTo>
                      <a:pt x="34161" y="79074"/>
                    </a:lnTo>
                    <a:lnTo>
                      <a:pt x="31115" y="74216"/>
                    </a:lnTo>
                    <a:lnTo>
                      <a:pt x="20280" y="75067"/>
                    </a:lnTo>
                    <a:lnTo>
                      <a:pt x="11599" y="67522"/>
                    </a:lnTo>
                    <a:lnTo>
                      <a:pt x="4647" y="67527"/>
                    </a:lnTo>
                    <a:lnTo>
                      <a:pt x="0" y="58746"/>
                    </a:lnTo>
                    <a:lnTo>
                      <a:pt x="9467" y="49843"/>
                    </a:lnTo>
                    <a:lnTo>
                      <a:pt x="18511" y="50921"/>
                    </a:lnTo>
                    <a:lnTo>
                      <a:pt x="30452" y="44727"/>
                    </a:lnTo>
                    <a:lnTo>
                      <a:pt x="33476" y="44579"/>
                    </a:lnTo>
                    <a:lnTo>
                      <a:pt x="33949" y="46842"/>
                    </a:lnTo>
                    <a:lnTo>
                      <a:pt x="41490" y="43140"/>
                    </a:lnTo>
                    <a:lnTo>
                      <a:pt x="47687" y="42334"/>
                    </a:lnTo>
                    <a:lnTo>
                      <a:pt x="51277" y="46143"/>
                    </a:lnTo>
                    <a:lnTo>
                      <a:pt x="56469" y="45709"/>
                    </a:lnTo>
                    <a:lnTo>
                      <a:pt x="57290" y="41068"/>
                    </a:lnTo>
                    <a:lnTo>
                      <a:pt x="63074" y="36611"/>
                    </a:lnTo>
                    <a:lnTo>
                      <a:pt x="68936" y="27707"/>
                    </a:lnTo>
                    <a:lnTo>
                      <a:pt x="82643" y="22090"/>
                    </a:lnTo>
                    <a:lnTo>
                      <a:pt x="87891" y="13767"/>
                    </a:lnTo>
                    <a:lnTo>
                      <a:pt x="93822" y="13037"/>
                    </a:lnTo>
                    <a:lnTo>
                      <a:pt x="96591" y="15316"/>
                    </a:lnTo>
                    <a:lnTo>
                      <a:pt x="102959" y="9711"/>
                    </a:lnTo>
                    <a:lnTo>
                      <a:pt x="110903" y="6948"/>
                    </a:lnTo>
                    <a:lnTo>
                      <a:pt x="131925" y="9554"/>
                    </a:lnTo>
                    <a:lnTo>
                      <a:pt x="138092" y="5310"/>
                    </a:lnTo>
                    <a:lnTo>
                      <a:pt x="151572" y="3142"/>
                    </a:lnTo>
                    <a:lnTo>
                      <a:pt x="156630" y="0"/>
                    </a:lnTo>
                    <a:lnTo>
                      <a:pt x="162534" y="9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3" name="Freeform 85">
                <a:extLst>
                  <a:ext uri="{FF2B5EF4-FFF2-40B4-BE49-F238E27FC236}">
                    <a16:creationId xmlns:a16="http://schemas.microsoft.com/office/drawing/2014/main" id="{7A04A33B-A85F-ADFE-2B36-482E160A73E6}"/>
                  </a:ext>
                </a:extLst>
              </p:cNvPr>
              <p:cNvSpPr>
                <a:spLocks noChangeAspect="1"/>
              </p:cNvSpPr>
              <p:nvPr>
                <p:custDataLst>
                  <p:tags r:id="rId214"/>
                </p:custDataLst>
              </p:nvPr>
            </p:nvSpPr>
            <p:spPr>
              <a:xfrm>
                <a:off x="1578709" y="3916081"/>
                <a:ext cx="113330" cy="108094"/>
              </a:xfrm>
              <a:custGeom>
                <a:avLst/>
                <a:gdLst/>
                <a:ahLst/>
                <a:cxnLst/>
                <a:rect l="0" t="0" r="0" b="0"/>
                <a:pathLst>
                  <a:path w="116359" h="110984">
                    <a:moveTo>
                      <a:pt x="62945" y="6081"/>
                    </a:moveTo>
                    <a:lnTo>
                      <a:pt x="67603" y="2675"/>
                    </a:lnTo>
                    <a:lnTo>
                      <a:pt x="73320" y="3150"/>
                    </a:lnTo>
                    <a:lnTo>
                      <a:pt x="76135" y="1340"/>
                    </a:lnTo>
                    <a:lnTo>
                      <a:pt x="85233" y="18980"/>
                    </a:lnTo>
                    <a:lnTo>
                      <a:pt x="90943" y="19765"/>
                    </a:lnTo>
                    <a:lnTo>
                      <a:pt x="90641" y="28034"/>
                    </a:lnTo>
                    <a:lnTo>
                      <a:pt x="95248" y="34718"/>
                    </a:lnTo>
                    <a:lnTo>
                      <a:pt x="101278" y="35413"/>
                    </a:lnTo>
                    <a:lnTo>
                      <a:pt x="108161" y="29324"/>
                    </a:lnTo>
                    <a:lnTo>
                      <a:pt x="108421" y="34869"/>
                    </a:lnTo>
                    <a:lnTo>
                      <a:pt x="111241" y="39762"/>
                    </a:lnTo>
                    <a:lnTo>
                      <a:pt x="111655" y="44564"/>
                    </a:lnTo>
                    <a:lnTo>
                      <a:pt x="114093" y="49874"/>
                    </a:lnTo>
                    <a:lnTo>
                      <a:pt x="112653" y="67979"/>
                    </a:lnTo>
                    <a:lnTo>
                      <a:pt x="116358" y="74400"/>
                    </a:lnTo>
                    <a:lnTo>
                      <a:pt x="113099" y="77980"/>
                    </a:lnTo>
                    <a:lnTo>
                      <a:pt x="107244" y="74233"/>
                    </a:lnTo>
                    <a:lnTo>
                      <a:pt x="103723" y="76850"/>
                    </a:lnTo>
                    <a:lnTo>
                      <a:pt x="97270" y="76889"/>
                    </a:lnTo>
                    <a:lnTo>
                      <a:pt x="92968" y="81486"/>
                    </a:lnTo>
                    <a:lnTo>
                      <a:pt x="87989" y="82110"/>
                    </a:lnTo>
                    <a:lnTo>
                      <a:pt x="85748" y="89139"/>
                    </a:lnTo>
                    <a:lnTo>
                      <a:pt x="83369" y="89666"/>
                    </a:lnTo>
                    <a:lnTo>
                      <a:pt x="81635" y="92457"/>
                    </a:lnTo>
                    <a:lnTo>
                      <a:pt x="76025" y="88809"/>
                    </a:lnTo>
                    <a:lnTo>
                      <a:pt x="69690" y="91510"/>
                    </a:lnTo>
                    <a:lnTo>
                      <a:pt x="66982" y="95205"/>
                    </a:lnTo>
                    <a:lnTo>
                      <a:pt x="60680" y="94386"/>
                    </a:lnTo>
                    <a:lnTo>
                      <a:pt x="53019" y="101588"/>
                    </a:lnTo>
                    <a:lnTo>
                      <a:pt x="50868" y="105660"/>
                    </a:lnTo>
                    <a:lnTo>
                      <a:pt x="51331" y="109695"/>
                    </a:lnTo>
                    <a:lnTo>
                      <a:pt x="50272" y="110983"/>
                    </a:lnTo>
                    <a:lnTo>
                      <a:pt x="47194" y="106953"/>
                    </a:lnTo>
                    <a:lnTo>
                      <a:pt x="42705" y="102712"/>
                    </a:lnTo>
                    <a:lnTo>
                      <a:pt x="40381" y="101219"/>
                    </a:lnTo>
                    <a:lnTo>
                      <a:pt x="37744" y="100741"/>
                    </a:lnTo>
                    <a:lnTo>
                      <a:pt x="35288" y="102070"/>
                    </a:lnTo>
                    <a:lnTo>
                      <a:pt x="33487" y="104474"/>
                    </a:lnTo>
                    <a:lnTo>
                      <a:pt x="31596" y="106324"/>
                    </a:lnTo>
                    <a:lnTo>
                      <a:pt x="28941" y="105960"/>
                    </a:lnTo>
                    <a:lnTo>
                      <a:pt x="24242" y="102613"/>
                    </a:lnTo>
                    <a:lnTo>
                      <a:pt x="19671" y="98321"/>
                    </a:lnTo>
                    <a:lnTo>
                      <a:pt x="15555" y="93022"/>
                    </a:lnTo>
                    <a:lnTo>
                      <a:pt x="12149" y="86728"/>
                    </a:lnTo>
                    <a:lnTo>
                      <a:pt x="11043" y="82839"/>
                    </a:lnTo>
                    <a:lnTo>
                      <a:pt x="10450" y="79092"/>
                    </a:lnTo>
                    <a:lnTo>
                      <a:pt x="9592" y="75828"/>
                    </a:lnTo>
                    <a:lnTo>
                      <a:pt x="7710" y="73462"/>
                    </a:lnTo>
                    <a:lnTo>
                      <a:pt x="0" y="68951"/>
                    </a:lnTo>
                    <a:lnTo>
                      <a:pt x="4006" y="67052"/>
                    </a:lnTo>
                    <a:lnTo>
                      <a:pt x="5978" y="63293"/>
                    </a:lnTo>
                    <a:lnTo>
                      <a:pt x="5857" y="57732"/>
                    </a:lnTo>
                    <a:lnTo>
                      <a:pt x="3623" y="50478"/>
                    </a:lnTo>
                    <a:lnTo>
                      <a:pt x="4234" y="49782"/>
                    </a:lnTo>
                    <a:lnTo>
                      <a:pt x="5206" y="49473"/>
                    </a:lnTo>
                    <a:lnTo>
                      <a:pt x="9561" y="48086"/>
                    </a:lnTo>
                    <a:lnTo>
                      <a:pt x="12808" y="45061"/>
                    </a:lnTo>
                    <a:lnTo>
                      <a:pt x="12511" y="38344"/>
                    </a:lnTo>
                    <a:lnTo>
                      <a:pt x="18953" y="30490"/>
                    </a:lnTo>
                    <a:lnTo>
                      <a:pt x="19575" y="27850"/>
                    </a:lnTo>
                    <a:lnTo>
                      <a:pt x="18292" y="22470"/>
                    </a:lnTo>
                    <a:lnTo>
                      <a:pt x="21713" y="18068"/>
                    </a:lnTo>
                    <a:lnTo>
                      <a:pt x="39011" y="22410"/>
                    </a:lnTo>
                    <a:lnTo>
                      <a:pt x="40484" y="21303"/>
                    </a:lnTo>
                    <a:lnTo>
                      <a:pt x="42015" y="14998"/>
                    </a:lnTo>
                    <a:lnTo>
                      <a:pt x="44316" y="12122"/>
                    </a:lnTo>
                    <a:lnTo>
                      <a:pt x="43259" y="9641"/>
                    </a:lnTo>
                    <a:lnTo>
                      <a:pt x="43802" y="7115"/>
                    </a:lnTo>
                    <a:lnTo>
                      <a:pt x="49109" y="4693"/>
                    </a:lnTo>
                    <a:lnTo>
                      <a:pt x="5321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4" name="Freeform 86">
                <a:extLst>
                  <a:ext uri="{FF2B5EF4-FFF2-40B4-BE49-F238E27FC236}">
                    <a16:creationId xmlns:a16="http://schemas.microsoft.com/office/drawing/2014/main" id="{4FBE2DD3-C034-D03F-7429-732A13DF553E}"/>
                  </a:ext>
                </a:extLst>
              </p:cNvPr>
              <p:cNvSpPr>
                <a:spLocks noChangeAspect="1"/>
              </p:cNvSpPr>
              <p:nvPr>
                <p:custDataLst>
                  <p:tags r:id="rId215"/>
                </p:custDataLst>
              </p:nvPr>
            </p:nvSpPr>
            <p:spPr>
              <a:xfrm>
                <a:off x="1620627" y="3988381"/>
                <a:ext cx="177471" cy="92719"/>
              </a:xfrm>
              <a:custGeom>
                <a:avLst/>
                <a:gdLst/>
                <a:ahLst/>
                <a:cxnLst/>
                <a:rect l="0" t="0" r="0" b="0"/>
                <a:pathLst>
                  <a:path w="182215" h="95198">
                    <a:moveTo>
                      <a:pt x="76728" y="4776"/>
                    </a:moveTo>
                    <a:lnTo>
                      <a:pt x="81578" y="4445"/>
                    </a:lnTo>
                    <a:lnTo>
                      <a:pt x="85652" y="6410"/>
                    </a:lnTo>
                    <a:lnTo>
                      <a:pt x="90532" y="5345"/>
                    </a:lnTo>
                    <a:lnTo>
                      <a:pt x="110247" y="13469"/>
                    </a:lnTo>
                    <a:lnTo>
                      <a:pt x="115596" y="11763"/>
                    </a:lnTo>
                    <a:lnTo>
                      <a:pt x="118845" y="14440"/>
                    </a:lnTo>
                    <a:lnTo>
                      <a:pt x="127425" y="15621"/>
                    </a:lnTo>
                    <a:lnTo>
                      <a:pt x="136803" y="12045"/>
                    </a:lnTo>
                    <a:lnTo>
                      <a:pt x="143037" y="14513"/>
                    </a:lnTo>
                    <a:lnTo>
                      <a:pt x="135480" y="19110"/>
                    </a:lnTo>
                    <a:lnTo>
                      <a:pt x="138913" y="20425"/>
                    </a:lnTo>
                    <a:lnTo>
                      <a:pt x="140169" y="31618"/>
                    </a:lnTo>
                    <a:lnTo>
                      <a:pt x="144891" y="43473"/>
                    </a:lnTo>
                    <a:lnTo>
                      <a:pt x="146055" y="44050"/>
                    </a:lnTo>
                    <a:lnTo>
                      <a:pt x="151423" y="38192"/>
                    </a:lnTo>
                    <a:lnTo>
                      <a:pt x="156211" y="38160"/>
                    </a:lnTo>
                    <a:lnTo>
                      <a:pt x="159974" y="35432"/>
                    </a:lnTo>
                    <a:lnTo>
                      <a:pt x="168964" y="41377"/>
                    </a:lnTo>
                    <a:lnTo>
                      <a:pt x="176683" y="39211"/>
                    </a:lnTo>
                    <a:lnTo>
                      <a:pt x="180263" y="39671"/>
                    </a:lnTo>
                    <a:lnTo>
                      <a:pt x="182214" y="39818"/>
                    </a:lnTo>
                    <a:lnTo>
                      <a:pt x="182211" y="41213"/>
                    </a:lnTo>
                    <a:lnTo>
                      <a:pt x="181356" y="48511"/>
                    </a:lnTo>
                    <a:lnTo>
                      <a:pt x="179716" y="56405"/>
                    </a:lnTo>
                    <a:lnTo>
                      <a:pt x="177532" y="63890"/>
                    </a:lnTo>
                    <a:lnTo>
                      <a:pt x="174949" y="69944"/>
                    </a:lnTo>
                    <a:lnTo>
                      <a:pt x="170696" y="74913"/>
                    </a:lnTo>
                    <a:lnTo>
                      <a:pt x="161147" y="79394"/>
                    </a:lnTo>
                    <a:lnTo>
                      <a:pt x="153960" y="86541"/>
                    </a:lnTo>
                    <a:lnTo>
                      <a:pt x="144161" y="93476"/>
                    </a:lnTo>
                    <a:lnTo>
                      <a:pt x="141133" y="94811"/>
                    </a:lnTo>
                    <a:lnTo>
                      <a:pt x="132347" y="95197"/>
                    </a:lnTo>
                    <a:lnTo>
                      <a:pt x="128814" y="94379"/>
                    </a:lnTo>
                    <a:lnTo>
                      <a:pt x="125009" y="91353"/>
                    </a:lnTo>
                    <a:lnTo>
                      <a:pt x="125100" y="88976"/>
                    </a:lnTo>
                    <a:lnTo>
                      <a:pt x="129644" y="86941"/>
                    </a:lnTo>
                    <a:lnTo>
                      <a:pt x="131464" y="86605"/>
                    </a:lnTo>
                    <a:lnTo>
                      <a:pt x="114550" y="79543"/>
                    </a:lnTo>
                    <a:lnTo>
                      <a:pt x="111697" y="79213"/>
                    </a:lnTo>
                    <a:lnTo>
                      <a:pt x="109383" y="72089"/>
                    </a:lnTo>
                    <a:lnTo>
                      <a:pt x="103493" y="69645"/>
                    </a:lnTo>
                    <a:lnTo>
                      <a:pt x="96808" y="68881"/>
                    </a:lnTo>
                    <a:lnTo>
                      <a:pt x="92147" y="66809"/>
                    </a:lnTo>
                    <a:lnTo>
                      <a:pt x="90649" y="69332"/>
                    </a:lnTo>
                    <a:lnTo>
                      <a:pt x="87457" y="66411"/>
                    </a:lnTo>
                    <a:lnTo>
                      <a:pt x="84096" y="66727"/>
                    </a:lnTo>
                    <a:lnTo>
                      <a:pt x="80847" y="68254"/>
                    </a:lnTo>
                    <a:lnTo>
                      <a:pt x="77834" y="68821"/>
                    </a:lnTo>
                    <a:lnTo>
                      <a:pt x="75265" y="66778"/>
                    </a:lnTo>
                    <a:lnTo>
                      <a:pt x="73651" y="64063"/>
                    </a:lnTo>
                    <a:lnTo>
                      <a:pt x="71836" y="63690"/>
                    </a:lnTo>
                    <a:lnTo>
                      <a:pt x="68652" y="68656"/>
                    </a:lnTo>
                    <a:lnTo>
                      <a:pt x="68275" y="71012"/>
                    </a:lnTo>
                    <a:lnTo>
                      <a:pt x="68534" y="73967"/>
                    </a:lnTo>
                    <a:lnTo>
                      <a:pt x="68563" y="77151"/>
                    </a:lnTo>
                    <a:lnTo>
                      <a:pt x="67481" y="80288"/>
                    </a:lnTo>
                    <a:lnTo>
                      <a:pt x="66001" y="81570"/>
                    </a:lnTo>
                    <a:lnTo>
                      <a:pt x="60695" y="82255"/>
                    </a:lnTo>
                    <a:lnTo>
                      <a:pt x="54840" y="84101"/>
                    </a:lnTo>
                    <a:lnTo>
                      <a:pt x="53240" y="84071"/>
                    </a:lnTo>
                    <a:lnTo>
                      <a:pt x="51848" y="82983"/>
                    </a:lnTo>
                    <a:lnTo>
                      <a:pt x="50589" y="81229"/>
                    </a:lnTo>
                    <a:lnTo>
                      <a:pt x="49767" y="79574"/>
                    </a:lnTo>
                    <a:lnTo>
                      <a:pt x="49646" y="78896"/>
                    </a:lnTo>
                    <a:lnTo>
                      <a:pt x="43441" y="78904"/>
                    </a:lnTo>
                    <a:lnTo>
                      <a:pt x="23976" y="85219"/>
                    </a:lnTo>
                    <a:lnTo>
                      <a:pt x="22225" y="84923"/>
                    </a:lnTo>
                    <a:lnTo>
                      <a:pt x="18863" y="83309"/>
                    </a:lnTo>
                    <a:lnTo>
                      <a:pt x="17076" y="83583"/>
                    </a:lnTo>
                    <a:lnTo>
                      <a:pt x="15847" y="84853"/>
                    </a:lnTo>
                    <a:lnTo>
                      <a:pt x="14665" y="86511"/>
                    </a:lnTo>
                    <a:lnTo>
                      <a:pt x="13282" y="88453"/>
                    </a:lnTo>
                    <a:lnTo>
                      <a:pt x="12020" y="89147"/>
                    </a:lnTo>
                    <a:lnTo>
                      <a:pt x="8925" y="87265"/>
                    </a:lnTo>
                    <a:lnTo>
                      <a:pt x="3287" y="79613"/>
                    </a:lnTo>
                    <a:lnTo>
                      <a:pt x="0" y="76673"/>
                    </a:lnTo>
                    <a:lnTo>
                      <a:pt x="3873" y="67857"/>
                    </a:lnTo>
                    <a:lnTo>
                      <a:pt x="4361" y="63531"/>
                    </a:lnTo>
                    <a:lnTo>
                      <a:pt x="2180" y="59042"/>
                    </a:lnTo>
                    <a:lnTo>
                      <a:pt x="7506" y="52763"/>
                    </a:lnTo>
                    <a:lnTo>
                      <a:pt x="9928" y="45876"/>
                    </a:lnTo>
                    <a:lnTo>
                      <a:pt x="8946" y="38991"/>
                    </a:lnTo>
                    <a:lnTo>
                      <a:pt x="7233" y="36750"/>
                    </a:lnTo>
                    <a:lnTo>
                      <a:pt x="8292" y="35462"/>
                    </a:lnTo>
                    <a:lnTo>
                      <a:pt x="7829" y="31427"/>
                    </a:lnTo>
                    <a:lnTo>
                      <a:pt x="9980" y="27355"/>
                    </a:lnTo>
                    <a:lnTo>
                      <a:pt x="17641" y="20153"/>
                    </a:lnTo>
                    <a:lnTo>
                      <a:pt x="23943" y="20972"/>
                    </a:lnTo>
                    <a:lnTo>
                      <a:pt x="26651" y="17277"/>
                    </a:lnTo>
                    <a:lnTo>
                      <a:pt x="32986" y="14576"/>
                    </a:lnTo>
                    <a:lnTo>
                      <a:pt x="38596" y="18224"/>
                    </a:lnTo>
                    <a:lnTo>
                      <a:pt x="40330" y="15433"/>
                    </a:lnTo>
                    <a:lnTo>
                      <a:pt x="42709" y="14906"/>
                    </a:lnTo>
                    <a:lnTo>
                      <a:pt x="44950" y="7877"/>
                    </a:lnTo>
                    <a:lnTo>
                      <a:pt x="49929" y="7253"/>
                    </a:lnTo>
                    <a:lnTo>
                      <a:pt x="54231" y="2656"/>
                    </a:lnTo>
                    <a:lnTo>
                      <a:pt x="60684" y="2617"/>
                    </a:lnTo>
                    <a:lnTo>
                      <a:pt x="64205" y="0"/>
                    </a:lnTo>
                    <a:lnTo>
                      <a:pt x="70060" y="3747"/>
                    </a:lnTo>
                    <a:lnTo>
                      <a:pt x="73319" y="16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5" name="Freeform 87">
                <a:extLst>
                  <a:ext uri="{FF2B5EF4-FFF2-40B4-BE49-F238E27FC236}">
                    <a16:creationId xmlns:a16="http://schemas.microsoft.com/office/drawing/2014/main" id="{B989505E-EBA2-B436-0B16-7D60DB66C922}"/>
                  </a:ext>
                </a:extLst>
              </p:cNvPr>
              <p:cNvSpPr>
                <a:spLocks noChangeAspect="1"/>
              </p:cNvSpPr>
              <p:nvPr>
                <p:custDataLst>
                  <p:tags r:id="rId216"/>
                </p:custDataLst>
              </p:nvPr>
            </p:nvSpPr>
            <p:spPr>
              <a:xfrm>
                <a:off x="1684054" y="3928054"/>
                <a:ext cx="100846" cy="75543"/>
              </a:xfrm>
              <a:custGeom>
                <a:avLst/>
                <a:gdLst/>
                <a:ahLst/>
                <a:cxnLst/>
                <a:rect l="0" t="0" r="0" b="0"/>
                <a:pathLst>
                  <a:path w="103542" h="77562">
                    <a:moveTo>
                      <a:pt x="53877" y="3835"/>
                    </a:moveTo>
                    <a:lnTo>
                      <a:pt x="60268" y="2919"/>
                    </a:lnTo>
                    <a:lnTo>
                      <a:pt x="76941" y="14918"/>
                    </a:lnTo>
                    <a:lnTo>
                      <a:pt x="77265" y="16096"/>
                    </a:lnTo>
                    <a:lnTo>
                      <a:pt x="74836" y="18120"/>
                    </a:lnTo>
                    <a:lnTo>
                      <a:pt x="75736" y="22195"/>
                    </a:lnTo>
                    <a:lnTo>
                      <a:pt x="87799" y="27219"/>
                    </a:lnTo>
                    <a:lnTo>
                      <a:pt x="96672" y="24679"/>
                    </a:lnTo>
                    <a:lnTo>
                      <a:pt x="100924" y="26414"/>
                    </a:lnTo>
                    <a:lnTo>
                      <a:pt x="103541" y="31606"/>
                    </a:lnTo>
                    <a:lnTo>
                      <a:pt x="103111" y="32974"/>
                    </a:lnTo>
                    <a:lnTo>
                      <a:pt x="95897" y="40993"/>
                    </a:lnTo>
                    <a:lnTo>
                      <a:pt x="96349" y="48875"/>
                    </a:lnTo>
                    <a:lnTo>
                      <a:pt x="100329" y="60499"/>
                    </a:lnTo>
                    <a:lnTo>
                      <a:pt x="100043" y="61862"/>
                    </a:lnTo>
                    <a:lnTo>
                      <a:pt x="96221" y="62801"/>
                    </a:lnTo>
                    <a:lnTo>
                      <a:pt x="96510" y="66941"/>
                    </a:lnTo>
                    <a:lnTo>
                      <a:pt x="94008" y="70882"/>
                    </a:lnTo>
                    <a:lnTo>
                      <a:pt x="95318" y="75819"/>
                    </a:lnTo>
                    <a:lnTo>
                      <a:pt x="90479" y="77452"/>
                    </a:lnTo>
                    <a:lnTo>
                      <a:pt x="79826" y="70043"/>
                    </a:lnTo>
                    <a:lnTo>
                      <a:pt x="78571" y="70747"/>
                    </a:lnTo>
                    <a:lnTo>
                      <a:pt x="77915" y="76453"/>
                    </a:lnTo>
                    <a:lnTo>
                      <a:pt x="71681" y="73985"/>
                    </a:lnTo>
                    <a:lnTo>
                      <a:pt x="62303" y="77561"/>
                    </a:lnTo>
                    <a:lnTo>
                      <a:pt x="53723" y="76380"/>
                    </a:lnTo>
                    <a:lnTo>
                      <a:pt x="50474" y="73703"/>
                    </a:lnTo>
                    <a:lnTo>
                      <a:pt x="45125" y="75409"/>
                    </a:lnTo>
                    <a:lnTo>
                      <a:pt x="25410" y="67285"/>
                    </a:lnTo>
                    <a:lnTo>
                      <a:pt x="20530" y="68350"/>
                    </a:lnTo>
                    <a:lnTo>
                      <a:pt x="16456" y="66385"/>
                    </a:lnTo>
                    <a:lnTo>
                      <a:pt x="11606" y="66716"/>
                    </a:lnTo>
                    <a:lnTo>
                      <a:pt x="8197" y="62107"/>
                    </a:lnTo>
                    <a:lnTo>
                      <a:pt x="4492" y="55686"/>
                    </a:lnTo>
                    <a:lnTo>
                      <a:pt x="5932" y="37581"/>
                    </a:lnTo>
                    <a:lnTo>
                      <a:pt x="3494" y="32271"/>
                    </a:lnTo>
                    <a:lnTo>
                      <a:pt x="3080" y="27469"/>
                    </a:lnTo>
                    <a:lnTo>
                      <a:pt x="260" y="22576"/>
                    </a:lnTo>
                    <a:lnTo>
                      <a:pt x="0" y="17031"/>
                    </a:lnTo>
                    <a:lnTo>
                      <a:pt x="3137" y="14396"/>
                    </a:lnTo>
                    <a:lnTo>
                      <a:pt x="16689" y="18681"/>
                    </a:lnTo>
                    <a:lnTo>
                      <a:pt x="17802" y="18628"/>
                    </a:lnTo>
                    <a:lnTo>
                      <a:pt x="18090" y="16091"/>
                    </a:lnTo>
                    <a:lnTo>
                      <a:pt x="21927" y="17632"/>
                    </a:lnTo>
                    <a:lnTo>
                      <a:pt x="37280" y="17190"/>
                    </a:lnTo>
                    <a:lnTo>
                      <a:pt x="38412" y="13628"/>
                    </a:lnTo>
                    <a:lnTo>
                      <a:pt x="42634" y="11573"/>
                    </a:lnTo>
                    <a:lnTo>
                      <a:pt x="40510" y="7437"/>
                    </a:lnTo>
                    <a:lnTo>
                      <a:pt x="40851" y="3636"/>
                    </a:lnTo>
                    <a:lnTo>
                      <a:pt x="43891" y="3797"/>
                    </a:lnTo>
                    <a:lnTo>
                      <a:pt x="5384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6" name="Freeform 88">
                <a:extLst>
                  <a:ext uri="{FF2B5EF4-FFF2-40B4-BE49-F238E27FC236}">
                    <a16:creationId xmlns:a16="http://schemas.microsoft.com/office/drawing/2014/main" id="{7D85D8C4-46BF-6CCA-59FC-B5A3CCCDE209}"/>
                  </a:ext>
                </a:extLst>
              </p:cNvPr>
              <p:cNvSpPr>
                <a:spLocks noChangeAspect="1"/>
              </p:cNvSpPr>
              <p:nvPr>
                <p:custDataLst>
                  <p:tags r:id="rId217"/>
                </p:custDataLst>
              </p:nvPr>
            </p:nvSpPr>
            <p:spPr>
              <a:xfrm>
                <a:off x="1647366" y="3864995"/>
                <a:ext cx="79438" cy="85578"/>
              </a:xfrm>
              <a:custGeom>
                <a:avLst/>
                <a:gdLst/>
                <a:ahLst/>
                <a:cxnLst/>
                <a:rect l="0" t="0" r="0" b="0"/>
                <a:pathLst>
                  <a:path w="81561" h="87866">
                    <a:moveTo>
                      <a:pt x="72125" y="7239"/>
                    </a:moveTo>
                    <a:lnTo>
                      <a:pt x="69206" y="13288"/>
                    </a:lnTo>
                    <a:lnTo>
                      <a:pt x="64605" y="15856"/>
                    </a:lnTo>
                    <a:lnTo>
                      <a:pt x="67226" y="17882"/>
                    </a:lnTo>
                    <a:lnTo>
                      <a:pt x="68969" y="23487"/>
                    </a:lnTo>
                    <a:lnTo>
                      <a:pt x="68915" y="33998"/>
                    </a:lnTo>
                    <a:lnTo>
                      <a:pt x="76241" y="41944"/>
                    </a:lnTo>
                    <a:lnTo>
                      <a:pt x="76201" y="44491"/>
                    </a:lnTo>
                    <a:lnTo>
                      <a:pt x="73023" y="48179"/>
                    </a:lnTo>
                    <a:lnTo>
                      <a:pt x="74591" y="50594"/>
                    </a:lnTo>
                    <a:lnTo>
                      <a:pt x="75083" y="55495"/>
                    </a:lnTo>
                    <a:lnTo>
                      <a:pt x="81356" y="62229"/>
                    </a:lnTo>
                    <a:lnTo>
                      <a:pt x="81560" y="68542"/>
                    </a:lnTo>
                    <a:lnTo>
                      <a:pt x="78520" y="68381"/>
                    </a:lnTo>
                    <a:lnTo>
                      <a:pt x="78179" y="72182"/>
                    </a:lnTo>
                    <a:lnTo>
                      <a:pt x="80303" y="76318"/>
                    </a:lnTo>
                    <a:lnTo>
                      <a:pt x="76081" y="78373"/>
                    </a:lnTo>
                    <a:lnTo>
                      <a:pt x="74949" y="81935"/>
                    </a:lnTo>
                    <a:lnTo>
                      <a:pt x="59596" y="82377"/>
                    </a:lnTo>
                    <a:lnTo>
                      <a:pt x="55759" y="80836"/>
                    </a:lnTo>
                    <a:lnTo>
                      <a:pt x="55471" y="83373"/>
                    </a:lnTo>
                    <a:lnTo>
                      <a:pt x="54358" y="83426"/>
                    </a:lnTo>
                    <a:lnTo>
                      <a:pt x="40806" y="79141"/>
                    </a:lnTo>
                    <a:lnTo>
                      <a:pt x="37669" y="81776"/>
                    </a:lnTo>
                    <a:lnTo>
                      <a:pt x="30786" y="87865"/>
                    </a:lnTo>
                    <a:lnTo>
                      <a:pt x="24756" y="87170"/>
                    </a:lnTo>
                    <a:lnTo>
                      <a:pt x="20149" y="80486"/>
                    </a:lnTo>
                    <a:lnTo>
                      <a:pt x="20451" y="72217"/>
                    </a:lnTo>
                    <a:lnTo>
                      <a:pt x="14741" y="71432"/>
                    </a:lnTo>
                    <a:lnTo>
                      <a:pt x="5643" y="53792"/>
                    </a:lnTo>
                    <a:lnTo>
                      <a:pt x="3644" y="47248"/>
                    </a:lnTo>
                    <a:lnTo>
                      <a:pt x="3809" y="42145"/>
                    </a:lnTo>
                    <a:lnTo>
                      <a:pt x="0" y="36349"/>
                    </a:lnTo>
                    <a:lnTo>
                      <a:pt x="2664" y="34659"/>
                    </a:lnTo>
                    <a:lnTo>
                      <a:pt x="2559" y="34556"/>
                    </a:lnTo>
                    <a:lnTo>
                      <a:pt x="9245" y="28549"/>
                    </a:lnTo>
                    <a:lnTo>
                      <a:pt x="12900" y="24877"/>
                    </a:lnTo>
                    <a:lnTo>
                      <a:pt x="23231" y="20113"/>
                    </a:lnTo>
                    <a:lnTo>
                      <a:pt x="33476" y="14667"/>
                    </a:lnTo>
                    <a:lnTo>
                      <a:pt x="34798" y="15237"/>
                    </a:lnTo>
                    <a:lnTo>
                      <a:pt x="47290" y="8880"/>
                    </a:lnTo>
                    <a:lnTo>
                      <a:pt x="54810" y="5105"/>
                    </a:lnTo>
                    <a:lnTo>
                      <a:pt x="56960" y="4335"/>
                    </a:lnTo>
                    <a:lnTo>
                      <a:pt x="59371" y="6371"/>
                    </a:lnTo>
                    <a:lnTo>
                      <a:pt x="61509" y="8832"/>
                    </a:lnTo>
                    <a:lnTo>
                      <a:pt x="63837" y="9994"/>
                    </a:lnTo>
                    <a:lnTo>
                      <a:pt x="66449" y="10101"/>
                    </a:lnTo>
                    <a:lnTo>
                      <a:pt x="67914" y="7592"/>
                    </a:lnTo>
                    <a:lnTo>
                      <a:pt x="67973" y="3068"/>
                    </a:lnTo>
                    <a:lnTo>
                      <a:pt x="67920" y="290"/>
                    </a:lnTo>
                    <a:lnTo>
                      <a:pt x="69065" y="0"/>
                    </a:lnTo>
                    <a:lnTo>
                      <a:pt x="71980" y="246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7" name="Freeform 89">
                <a:extLst>
                  <a:ext uri="{FF2B5EF4-FFF2-40B4-BE49-F238E27FC236}">
                    <a16:creationId xmlns:a16="http://schemas.microsoft.com/office/drawing/2014/main" id="{61EA8C3F-2889-A0BA-D0C0-482215C95E28}"/>
                  </a:ext>
                </a:extLst>
              </p:cNvPr>
              <p:cNvSpPr>
                <a:spLocks noChangeAspect="1"/>
              </p:cNvSpPr>
              <p:nvPr>
                <p:custDataLst>
                  <p:tags r:id="rId218"/>
                </p:custDataLst>
              </p:nvPr>
            </p:nvSpPr>
            <p:spPr>
              <a:xfrm>
                <a:off x="1477262" y="3871090"/>
                <a:ext cx="182669" cy="94156"/>
              </a:xfrm>
              <a:custGeom>
                <a:avLst/>
                <a:gdLst/>
                <a:ahLst/>
                <a:cxnLst/>
                <a:rect l="0" t="0" r="0" b="0"/>
                <a:pathLst>
                  <a:path w="187552" h="96673">
                    <a:moveTo>
                      <a:pt x="106466" y="5389"/>
                    </a:moveTo>
                    <a:lnTo>
                      <a:pt x="112344" y="3662"/>
                    </a:lnTo>
                    <a:lnTo>
                      <a:pt x="115858" y="4794"/>
                    </a:lnTo>
                    <a:lnTo>
                      <a:pt x="122654" y="1824"/>
                    </a:lnTo>
                    <a:lnTo>
                      <a:pt x="127965" y="5382"/>
                    </a:lnTo>
                    <a:lnTo>
                      <a:pt x="135097" y="6990"/>
                    </a:lnTo>
                    <a:lnTo>
                      <a:pt x="141450" y="4109"/>
                    </a:lnTo>
                    <a:lnTo>
                      <a:pt x="146359" y="12309"/>
                    </a:lnTo>
                    <a:lnTo>
                      <a:pt x="148639" y="13701"/>
                    </a:lnTo>
                    <a:lnTo>
                      <a:pt x="153047" y="9123"/>
                    </a:lnTo>
                    <a:lnTo>
                      <a:pt x="161271" y="11095"/>
                    </a:lnTo>
                    <a:lnTo>
                      <a:pt x="163649" y="7597"/>
                    </a:lnTo>
                    <a:lnTo>
                      <a:pt x="174352" y="11901"/>
                    </a:lnTo>
                    <a:lnTo>
                      <a:pt x="173978" y="12060"/>
                    </a:lnTo>
                    <a:lnTo>
                      <a:pt x="178393" y="14069"/>
                    </a:lnTo>
                    <a:lnTo>
                      <a:pt x="186790" y="18970"/>
                    </a:lnTo>
                    <a:lnTo>
                      <a:pt x="187551" y="18619"/>
                    </a:lnTo>
                    <a:lnTo>
                      <a:pt x="183896" y="22291"/>
                    </a:lnTo>
                    <a:lnTo>
                      <a:pt x="177210" y="28298"/>
                    </a:lnTo>
                    <a:lnTo>
                      <a:pt x="177315" y="28401"/>
                    </a:lnTo>
                    <a:lnTo>
                      <a:pt x="174651" y="30091"/>
                    </a:lnTo>
                    <a:lnTo>
                      <a:pt x="178460" y="35887"/>
                    </a:lnTo>
                    <a:lnTo>
                      <a:pt x="178295" y="40990"/>
                    </a:lnTo>
                    <a:lnTo>
                      <a:pt x="180294" y="47534"/>
                    </a:lnTo>
                    <a:lnTo>
                      <a:pt x="177479" y="49344"/>
                    </a:lnTo>
                    <a:lnTo>
                      <a:pt x="171762" y="48869"/>
                    </a:lnTo>
                    <a:lnTo>
                      <a:pt x="167104" y="52275"/>
                    </a:lnTo>
                    <a:lnTo>
                      <a:pt x="157374" y="46194"/>
                    </a:lnTo>
                    <a:lnTo>
                      <a:pt x="153268" y="50887"/>
                    </a:lnTo>
                    <a:lnTo>
                      <a:pt x="147961" y="53309"/>
                    </a:lnTo>
                    <a:lnTo>
                      <a:pt x="147418" y="55835"/>
                    </a:lnTo>
                    <a:lnTo>
                      <a:pt x="148475" y="58316"/>
                    </a:lnTo>
                    <a:lnTo>
                      <a:pt x="146174" y="61192"/>
                    </a:lnTo>
                    <a:lnTo>
                      <a:pt x="144643" y="67497"/>
                    </a:lnTo>
                    <a:lnTo>
                      <a:pt x="143170" y="68604"/>
                    </a:lnTo>
                    <a:lnTo>
                      <a:pt x="125872" y="64262"/>
                    </a:lnTo>
                    <a:lnTo>
                      <a:pt x="122451" y="68664"/>
                    </a:lnTo>
                    <a:lnTo>
                      <a:pt x="123734" y="74044"/>
                    </a:lnTo>
                    <a:lnTo>
                      <a:pt x="123112" y="76684"/>
                    </a:lnTo>
                    <a:lnTo>
                      <a:pt x="116670" y="84538"/>
                    </a:lnTo>
                    <a:lnTo>
                      <a:pt x="116967" y="91255"/>
                    </a:lnTo>
                    <a:lnTo>
                      <a:pt x="113720" y="94280"/>
                    </a:lnTo>
                    <a:lnTo>
                      <a:pt x="109365" y="95667"/>
                    </a:lnTo>
                    <a:lnTo>
                      <a:pt x="108393" y="95976"/>
                    </a:lnTo>
                    <a:lnTo>
                      <a:pt x="107782" y="96672"/>
                    </a:lnTo>
                    <a:lnTo>
                      <a:pt x="105918" y="90614"/>
                    </a:lnTo>
                    <a:lnTo>
                      <a:pt x="104603" y="89007"/>
                    </a:lnTo>
                    <a:lnTo>
                      <a:pt x="101958" y="88659"/>
                    </a:lnTo>
                    <a:lnTo>
                      <a:pt x="100219" y="87485"/>
                    </a:lnTo>
                    <a:lnTo>
                      <a:pt x="98516" y="80934"/>
                    </a:lnTo>
                    <a:lnTo>
                      <a:pt x="97094" y="78272"/>
                    </a:lnTo>
                    <a:lnTo>
                      <a:pt x="83886" y="65980"/>
                    </a:lnTo>
                    <a:lnTo>
                      <a:pt x="76588" y="61750"/>
                    </a:lnTo>
                    <a:lnTo>
                      <a:pt x="69579" y="62022"/>
                    </a:lnTo>
                    <a:lnTo>
                      <a:pt x="62752" y="68094"/>
                    </a:lnTo>
                    <a:lnTo>
                      <a:pt x="51069" y="84686"/>
                    </a:lnTo>
                    <a:lnTo>
                      <a:pt x="43465" y="89859"/>
                    </a:lnTo>
                    <a:lnTo>
                      <a:pt x="41646" y="89822"/>
                    </a:lnTo>
                    <a:lnTo>
                      <a:pt x="37777" y="88881"/>
                    </a:lnTo>
                    <a:lnTo>
                      <a:pt x="36897" y="89313"/>
                    </a:lnTo>
                    <a:lnTo>
                      <a:pt x="36850" y="89179"/>
                    </a:lnTo>
                    <a:lnTo>
                      <a:pt x="36736" y="88846"/>
                    </a:lnTo>
                    <a:lnTo>
                      <a:pt x="27219" y="94068"/>
                    </a:lnTo>
                    <a:lnTo>
                      <a:pt x="22591" y="91382"/>
                    </a:lnTo>
                    <a:lnTo>
                      <a:pt x="17829" y="77710"/>
                    </a:lnTo>
                    <a:lnTo>
                      <a:pt x="15647" y="75690"/>
                    </a:lnTo>
                    <a:lnTo>
                      <a:pt x="9353" y="76292"/>
                    </a:lnTo>
                    <a:lnTo>
                      <a:pt x="5893" y="74082"/>
                    </a:lnTo>
                    <a:lnTo>
                      <a:pt x="4729" y="69230"/>
                    </a:lnTo>
                    <a:lnTo>
                      <a:pt x="7134" y="61808"/>
                    </a:lnTo>
                    <a:lnTo>
                      <a:pt x="896" y="56038"/>
                    </a:lnTo>
                    <a:lnTo>
                      <a:pt x="0" y="51102"/>
                    </a:lnTo>
                    <a:lnTo>
                      <a:pt x="4345" y="48478"/>
                    </a:lnTo>
                    <a:lnTo>
                      <a:pt x="12089" y="49325"/>
                    </a:lnTo>
                    <a:lnTo>
                      <a:pt x="22621" y="45455"/>
                    </a:lnTo>
                    <a:lnTo>
                      <a:pt x="26375" y="46828"/>
                    </a:lnTo>
                    <a:lnTo>
                      <a:pt x="30015" y="45860"/>
                    </a:lnTo>
                    <a:lnTo>
                      <a:pt x="33385" y="41780"/>
                    </a:lnTo>
                    <a:lnTo>
                      <a:pt x="43965" y="38097"/>
                    </a:lnTo>
                    <a:lnTo>
                      <a:pt x="48749" y="38779"/>
                    </a:lnTo>
                    <a:lnTo>
                      <a:pt x="50700" y="36865"/>
                    </a:lnTo>
                    <a:lnTo>
                      <a:pt x="53841" y="39267"/>
                    </a:lnTo>
                    <a:lnTo>
                      <a:pt x="56665" y="38565"/>
                    </a:lnTo>
                    <a:lnTo>
                      <a:pt x="58861" y="36663"/>
                    </a:lnTo>
                    <a:lnTo>
                      <a:pt x="62040" y="30225"/>
                    </a:lnTo>
                    <a:lnTo>
                      <a:pt x="73917" y="27233"/>
                    </a:lnTo>
                    <a:lnTo>
                      <a:pt x="75265" y="26245"/>
                    </a:lnTo>
                    <a:lnTo>
                      <a:pt x="76700" y="21108"/>
                    </a:lnTo>
                    <a:lnTo>
                      <a:pt x="82282" y="20544"/>
                    </a:lnTo>
                    <a:lnTo>
                      <a:pt x="88996" y="14608"/>
                    </a:lnTo>
                    <a:lnTo>
                      <a:pt x="90543" y="10770"/>
                    </a:lnTo>
                    <a:lnTo>
                      <a:pt x="88827" y="6946"/>
                    </a:lnTo>
                    <a:lnTo>
                      <a:pt x="9225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8" name="Freeform 90">
                <a:extLst>
                  <a:ext uri="{FF2B5EF4-FFF2-40B4-BE49-F238E27FC236}">
                    <a16:creationId xmlns:a16="http://schemas.microsoft.com/office/drawing/2014/main" id="{0E6A456F-6B6B-D309-C385-86AE5DB3FAFB}"/>
                  </a:ext>
                </a:extLst>
              </p:cNvPr>
              <p:cNvSpPr>
                <a:spLocks noChangeAspect="1"/>
              </p:cNvSpPr>
              <p:nvPr>
                <p:custDataLst>
                  <p:tags r:id="rId219"/>
                </p:custDataLst>
              </p:nvPr>
            </p:nvSpPr>
            <p:spPr>
              <a:xfrm>
                <a:off x="1710289" y="3862464"/>
                <a:ext cx="91168" cy="92101"/>
              </a:xfrm>
              <a:custGeom>
                <a:avLst/>
                <a:gdLst/>
                <a:ahLst/>
                <a:cxnLst/>
                <a:rect l="0" t="0" r="0" b="0"/>
                <a:pathLst>
                  <a:path w="93605" h="94563">
                    <a:moveTo>
                      <a:pt x="72271" y="32298"/>
                    </a:moveTo>
                    <a:lnTo>
                      <a:pt x="73260" y="28738"/>
                    </a:lnTo>
                    <a:lnTo>
                      <a:pt x="75419" y="26997"/>
                    </a:lnTo>
                    <a:lnTo>
                      <a:pt x="82045" y="32867"/>
                    </a:lnTo>
                    <a:lnTo>
                      <a:pt x="83104" y="37904"/>
                    </a:lnTo>
                    <a:lnTo>
                      <a:pt x="86328" y="40775"/>
                    </a:lnTo>
                    <a:lnTo>
                      <a:pt x="87437" y="47721"/>
                    </a:lnTo>
                    <a:lnTo>
                      <a:pt x="89702" y="48235"/>
                    </a:lnTo>
                    <a:lnTo>
                      <a:pt x="90122" y="51965"/>
                    </a:lnTo>
                    <a:lnTo>
                      <a:pt x="93604" y="56434"/>
                    </a:lnTo>
                    <a:lnTo>
                      <a:pt x="90971" y="61331"/>
                    </a:lnTo>
                    <a:lnTo>
                      <a:pt x="87178" y="62255"/>
                    </a:lnTo>
                    <a:lnTo>
                      <a:pt x="86072" y="65615"/>
                    </a:lnTo>
                    <a:lnTo>
                      <a:pt x="82675" y="67311"/>
                    </a:lnTo>
                    <a:lnTo>
                      <a:pt x="83687" y="73613"/>
                    </a:lnTo>
                    <a:lnTo>
                      <a:pt x="77170" y="79743"/>
                    </a:lnTo>
                    <a:lnTo>
                      <a:pt x="76081" y="82372"/>
                    </a:lnTo>
                    <a:lnTo>
                      <a:pt x="78106" y="89774"/>
                    </a:lnTo>
                    <a:lnTo>
                      <a:pt x="73988" y="93757"/>
                    </a:lnTo>
                    <a:lnTo>
                      <a:pt x="69736" y="92022"/>
                    </a:lnTo>
                    <a:lnTo>
                      <a:pt x="60863" y="94562"/>
                    </a:lnTo>
                    <a:lnTo>
                      <a:pt x="48800" y="89538"/>
                    </a:lnTo>
                    <a:lnTo>
                      <a:pt x="47900" y="85463"/>
                    </a:lnTo>
                    <a:lnTo>
                      <a:pt x="50329" y="83439"/>
                    </a:lnTo>
                    <a:lnTo>
                      <a:pt x="50005" y="82261"/>
                    </a:lnTo>
                    <a:lnTo>
                      <a:pt x="33332" y="70262"/>
                    </a:lnTo>
                    <a:lnTo>
                      <a:pt x="26941" y="71178"/>
                    </a:lnTo>
                    <a:lnTo>
                      <a:pt x="26907" y="67343"/>
                    </a:lnTo>
                    <a:lnTo>
                      <a:pt x="16955" y="71140"/>
                    </a:lnTo>
                    <a:lnTo>
                      <a:pt x="16751" y="64827"/>
                    </a:lnTo>
                    <a:lnTo>
                      <a:pt x="10478" y="58093"/>
                    </a:lnTo>
                    <a:lnTo>
                      <a:pt x="9986" y="53192"/>
                    </a:lnTo>
                    <a:lnTo>
                      <a:pt x="8418" y="50777"/>
                    </a:lnTo>
                    <a:lnTo>
                      <a:pt x="11596" y="47089"/>
                    </a:lnTo>
                    <a:lnTo>
                      <a:pt x="11636" y="44542"/>
                    </a:lnTo>
                    <a:lnTo>
                      <a:pt x="4310" y="36596"/>
                    </a:lnTo>
                    <a:lnTo>
                      <a:pt x="4364" y="26085"/>
                    </a:lnTo>
                    <a:lnTo>
                      <a:pt x="2621" y="20480"/>
                    </a:lnTo>
                    <a:lnTo>
                      <a:pt x="0" y="18454"/>
                    </a:lnTo>
                    <a:lnTo>
                      <a:pt x="4601" y="15886"/>
                    </a:lnTo>
                    <a:lnTo>
                      <a:pt x="7520" y="9837"/>
                    </a:lnTo>
                    <a:lnTo>
                      <a:pt x="15097" y="10470"/>
                    </a:lnTo>
                    <a:lnTo>
                      <a:pt x="18493" y="7107"/>
                    </a:lnTo>
                    <a:lnTo>
                      <a:pt x="23848" y="6885"/>
                    </a:lnTo>
                    <a:lnTo>
                      <a:pt x="35774" y="978"/>
                    </a:lnTo>
                    <a:lnTo>
                      <a:pt x="51793" y="0"/>
                    </a:lnTo>
                    <a:lnTo>
                      <a:pt x="56688" y="5697"/>
                    </a:lnTo>
                    <a:lnTo>
                      <a:pt x="58566" y="11201"/>
                    </a:lnTo>
                    <a:lnTo>
                      <a:pt x="58755" y="16298"/>
                    </a:lnTo>
                    <a:lnTo>
                      <a:pt x="68141" y="23759"/>
                    </a:lnTo>
                    <a:lnTo>
                      <a:pt x="69648" y="3147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89" name="Freeform 91">
                <a:extLst>
                  <a:ext uri="{FF2B5EF4-FFF2-40B4-BE49-F238E27FC236}">
                    <a16:creationId xmlns:a16="http://schemas.microsoft.com/office/drawing/2014/main" id="{E8BD7835-0569-697B-5D3D-0AD475ECB9BB}"/>
                  </a:ext>
                </a:extLst>
              </p:cNvPr>
              <p:cNvSpPr>
                <a:spLocks noChangeAspect="1"/>
              </p:cNvSpPr>
              <p:nvPr>
                <p:custDataLst>
                  <p:tags r:id="rId220"/>
                </p:custDataLst>
              </p:nvPr>
            </p:nvSpPr>
            <p:spPr>
              <a:xfrm>
                <a:off x="1560603" y="3809660"/>
                <a:ext cx="124587" cy="79907"/>
              </a:xfrm>
              <a:custGeom>
                <a:avLst/>
                <a:gdLst/>
                <a:ahLst/>
                <a:cxnLst/>
                <a:rect l="0" t="0" r="0" b="0"/>
                <a:pathLst>
                  <a:path w="127917" h="82043">
                    <a:moveTo>
                      <a:pt x="13180" y="4946"/>
                    </a:moveTo>
                    <a:lnTo>
                      <a:pt x="20583" y="4130"/>
                    </a:lnTo>
                    <a:lnTo>
                      <a:pt x="25155" y="5960"/>
                    </a:lnTo>
                    <a:lnTo>
                      <a:pt x="39592" y="1883"/>
                    </a:lnTo>
                    <a:lnTo>
                      <a:pt x="49382" y="6193"/>
                    </a:lnTo>
                    <a:lnTo>
                      <a:pt x="53884" y="4392"/>
                    </a:lnTo>
                    <a:lnTo>
                      <a:pt x="62091" y="16248"/>
                    </a:lnTo>
                    <a:lnTo>
                      <a:pt x="70249" y="20565"/>
                    </a:lnTo>
                    <a:lnTo>
                      <a:pt x="75222" y="20479"/>
                    </a:lnTo>
                    <a:lnTo>
                      <a:pt x="79021" y="16621"/>
                    </a:lnTo>
                    <a:lnTo>
                      <a:pt x="88974" y="13676"/>
                    </a:lnTo>
                    <a:lnTo>
                      <a:pt x="94776" y="15520"/>
                    </a:lnTo>
                    <a:lnTo>
                      <a:pt x="97083" y="13607"/>
                    </a:lnTo>
                    <a:lnTo>
                      <a:pt x="98159" y="9840"/>
                    </a:lnTo>
                    <a:lnTo>
                      <a:pt x="105847" y="14315"/>
                    </a:lnTo>
                    <a:lnTo>
                      <a:pt x="106148" y="14486"/>
                    </a:lnTo>
                    <a:lnTo>
                      <a:pt x="106171" y="14349"/>
                    </a:lnTo>
                    <a:lnTo>
                      <a:pt x="109340" y="16525"/>
                    </a:lnTo>
                    <a:lnTo>
                      <a:pt x="111226" y="18426"/>
                    </a:lnTo>
                    <a:lnTo>
                      <a:pt x="116253" y="23489"/>
                    </a:lnTo>
                    <a:lnTo>
                      <a:pt x="124019" y="33729"/>
                    </a:lnTo>
                    <a:lnTo>
                      <a:pt x="127544" y="38842"/>
                    </a:lnTo>
                    <a:lnTo>
                      <a:pt x="127916" y="44452"/>
                    </a:lnTo>
                    <a:lnTo>
                      <a:pt x="126203" y="49756"/>
                    </a:lnTo>
                    <a:lnTo>
                      <a:pt x="123831" y="58489"/>
                    </a:lnTo>
                    <a:lnTo>
                      <a:pt x="123072" y="64703"/>
                    </a:lnTo>
                    <a:lnTo>
                      <a:pt x="122787" y="71352"/>
                    </a:lnTo>
                    <a:lnTo>
                      <a:pt x="122558" y="71481"/>
                    </a:lnTo>
                    <a:lnTo>
                      <a:pt x="112313" y="76927"/>
                    </a:lnTo>
                    <a:lnTo>
                      <a:pt x="101982" y="81691"/>
                    </a:lnTo>
                    <a:lnTo>
                      <a:pt x="101221" y="82042"/>
                    </a:lnTo>
                    <a:lnTo>
                      <a:pt x="92824" y="77141"/>
                    </a:lnTo>
                    <a:lnTo>
                      <a:pt x="88409" y="75132"/>
                    </a:lnTo>
                    <a:lnTo>
                      <a:pt x="88783" y="74973"/>
                    </a:lnTo>
                    <a:lnTo>
                      <a:pt x="78080" y="70669"/>
                    </a:lnTo>
                    <a:lnTo>
                      <a:pt x="75702" y="74167"/>
                    </a:lnTo>
                    <a:lnTo>
                      <a:pt x="67478" y="72195"/>
                    </a:lnTo>
                    <a:lnTo>
                      <a:pt x="63070" y="76773"/>
                    </a:lnTo>
                    <a:lnTo>
                      <a:pt x="60790" y="75381"/>
                    </a:lnTo>
                    <a:lnTo>
                      <a:pt x="55881" y="67181"/>
                    </a:lnTo>
                    <a:lnTo>
                      <a:pt x="49528" y="70062"/>
                    </a:lnTo>
                    <a:lnTo>
                      <a:pt x="42396" y="68454"/>
                    </a:lnTo>
                    <a:lnTo>
                      <a:pt x="37085" y="64896"/>
                    </a:lnTo>
                    <a:lnTo>
                      <a:pt x="30289" y="67866"/>
                    </a:lnTo>
                    <a:lnTo>
                      <a:pt x="26775" y="66734"/>
                    </a:lnTo>
                    <a:lnTo>
                      <a:pt x="20897" y="68461"/>
                    </a:lnTo>
                    <a:lnTo>
                      <a:pt x="6686" y="63072"/>
                    </a:lnTo>
                    <a:lnTo>
                      <a:pt x="9777" y="51958"/>
                    </a:lnTo>
                    <a:lnTo>
                      <a:pt x="5579" y="37616"/>
                    </a:lnTo>
                    <a:lnTo>
                      <a:pt x="3365" y="33894"/>
                    </a:lnTo>
                    <a:lnTo>
                      <a:pt x="6695" y="30009"/>
                    </a:lnTo>
                    <a:lnTo>
                      <a:pt x="0" y="25209"/>
                    </a:lnTo>
                    <a:lnTo>
                      <a:pt x="3120" y="18141"/>
                    </a:lnTo>
                    <a:lnTo>
                      <a:pt x="2253" y="3859"/>
                    </a:lnTo>
                    <a:lnTo>
                      <a:pt x="8031" y="0"/>
                    </a:lnTo>
                    <a:lnTo>
                      <a:pt x="10832" y="407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0" name="Freeform 92">
                <a:extLst>
                  <a:ext uri="{FF2B5EF4-FFF2-40B4-BE49-F238E27FC236}">
                    <a16:creationId xmlns:a16="http://schemas.microsoft.com/office/drawing/2014/main" id="{E7EB4E8F-628E-CF0E-DFA4-439556750CA6}"/>
                  </a:ext>
                </a:extLst>
              </p:cNvPr>
              <p:cNvSpPr>
                <a:spLocks noChangeAspect="1"/>
              </p:cNvSpPr>
              <p:nvPr>
                <p:custDataLst>
                  <p:tags r:id="rId221"/>
                </p:custDataLst>
              </p:nvPr>
            </p:nvSpPr>
            <p:spPr>
              <a:xfrm>
                <a:off x="1668933" y="3793154"/>
                <a:ext cx="101689" cy="86682"/>
              </a:xfrm>
              <a:custGeom>
                <a:avLst/>
                <a:gdLst/>
                <a:ahLst/>
                <a:cxnLst/>
                <a:rect l="0" t="0" r="0" b="0"/>
                <a:pathLst>
                  <a:path w="104407" h="88999">
                    <a:moveTo>
                      <a:pt x="92650" y="6400"/>
                    </a:moveTo>
                    <a:lnTo>
                      <a:pt x="100909" y="13411"/>
                    </a:lnTo>
                    <a:lnTo>
                      <a:pt x="100006" y="20927"/>
                    </a:lnTo>
                    <a:lnTo>
                      <a:pt x="96546" y="23345"/>
                    </a:lnTo>
                    <a:lnTo>
                      <a:pt x="97816" y="31882"/>
                    </a:lnTo>
                    <a:lnTo>
                      <a:pt x="101336" y="36490"/>
                    </a:lnTo>
                    <a:lnTo>
                      <a:pt x="100831" y="40068"/>
                    </a:lnTo>
                    <a:lnTo>
                      <a:pt x="98427" y="43594"/>
                    </a:lnTo>
                    <a:lnTo>
                      <a:pt x="98144" y="52831"/>
                    </a:lnTo>
                    <a:lnTo>
                      <a:pt x="99533" y="55098"/>
                    </a:lnTo>
                    <a:lnTo>
                      <a:pt x="104406" y="56346"/>
                    </a:lnTo>
                    <a:lnTo>
                      <a:pt x="101210" y="59309"/>
                    </a:lnTo>
                    <a:lnTo>
                      <a:pt x="96278" y="59758"/>
                    </a:lnTo>
                    <a:lnTo>
                      <a:pt x="95556" y="61016"/>
                    </a:lnTo>
                    <a:lnTo>
                      <a:pt x="98843" y="68678"/>
                    </a:lnTo>
                    <a:lnTo>
                      <a:pt x="94254" y="71163"/>
                    </a:lnTo>
                    <a:lnTo>
                      <a:pt x="78235" y="72141"/>
                    </a:lnTo>
                    <a:lnTo>
                      <a:pt x="66309" y="78048"/>
                    </a:lnTo>
                    <a:lnTo>
                      <a:pt x="60954" y="78270"/>
                    </a:lnTo>
                    <a:lnTo>
                      <a:pt x="57558" y="81633"/>
                    </a:lnTo>
                    <a:lnTo>
                      <a:pt x="49981" y="81000"/>
                    </a:lnTo>
                    <a:lnTo>
                      <a:pt x="49836" y="76222"/>
                    </a:lnTo>
                    <a:lnTo>
                      <a:pt x="46921" y="73761"/>
                    </a:lnTo>
                    <a:lnTo>
                      <a:pt x="45776" y="74051"/>
                    </a:lnTo>
                    <a:lnTo>
                      <a:pt x="45829" y="76829"/>
                    </a:lnTo>
                    <a:lnTo>
                      <a:pt x="45770" y="81353"/>
                    </a:lnTo>
                    <a:lnTo>
                      <a:pt x="44305" y="83862"/>
                    </a:lnTo>
                    <a:lnTo>
                      <a:pt x="41693" y="83755"/>
                    </a:lnTo>
                    <a:lnTo>
                      <a:pt x="39365" y="82593"/>
                    </a:lnTo>
                    <a:lnTo>
                      <a:pt x="37227" y="80132"/>
                    </a:lnTo>
                    <a:lnTo>
                      <a:pt x="34816" y="78096"/>
                    </a:lnTo>
                    <a:lnTo>
                      <a:pt x="32666" y="78866"/>
                    </a:lnTo>
                    <a:lnTo>
                      <a:pt x="25146" y="82641"/>
                    </a:lnTo>
                    <a:lnTo>
                      <a:pt x="12654" y="88998"/>
                    </a:lnTo>
                    <a:lnTo>
                      <a:pt x="11332" y="88428"/>
                    </a:lnTo>
                    <a:lnTo>
                      <a:pt x="11561" y="88299"/>
                    </a:lnTo>
                    <a:lnTo>
                      <a:pt x="11846" y="81650"/>
                    </a:lnTo>
                    <a:lnTo>
                      <a:pt x="12605" y="75436"/>
                    </a:lnTo>
                    <a:lnTo>
                      <a:pt x="14977" y="66703"/>
                    </a:lnTo>
                    <a:lnTo>
                      <a:pt x="16690" y="61399"/>
                    </a:lnTo>
                    <a:lnTo>
                      <a:pt x="16318" y="55789"/>
                    </a:lnTo>
                    <a:lnTo>
                      <a:pt x="12793" y="50676"/>
                    </a:lnTo>
                    <a:lnTo>
                      <a:pt x="5027" y="40436"/>
                    </a:lnTo>
                    <a:lnTo>
                      <a:pt x="0" y="35373"/>
                    </a:lnTo>
                    <a:lnTo>
                      <a:pt x="526" y="32491"/>
                    </a:lnTo>
                    <a:lnTo>
                      <a:pt x="922" y="29069"/>
                    </a:lnTo>
                    <a:lnTo>
                      <a:pt x="3119" y="24223"/>
                    </a:lnTo>
                    <a:lnTo>
                      <a:pt x="5218" y="20579"/>
                    </a:lnTo>
                    <a:lnTo>
                      <a:pt x="5486" y="20591"/>
                    </a:lnTo>
                    <a:lnTo>
                      <a:pt x="7324" y="12150"/>
                    </a:lnTo>
                    <a:lnTo>
                      <a:pt x="7145" y="11946"/>
                    </a:lnTo>
                    <a:lnTo>
                      <a:pt x="7043" y="11921"/>
                    </a:lnTo>
                    <a:lnTo>
                      <a:pt x="6065" y="10021"/>
                    </a:lnTo>
                    <a:lnTo>
                      <a:pt x="5228" y="7522"/>
                    </a:lnTo>
                    <a:lnTo>
                      <a:pt x="5234" y="6336"/>
                    </a:lnTo>
                    <a:lnTo>
                      <a:pt x="6182" y="7336"/>
                    </a:lnTo>
                    <a:lnTo>
                      <a:pt x="8346" y="6996"/>
                    </a:lnTo>
                    <a:lnTo>
                      <a:pt x="8348" y="6937"/>
                    </a:lnTo>
                    <a:lnTo>
                      <a:pt x="25396" y="9547"/>
                    </a:lnTo>
                    <a:lnTo>
                      <a:pt x="33524" y="2556"/>
                    </a:lnTo>
                    <a:lnTo>
                      <a:pt x="38555" y="5533"/>
                    </a:lnTo>
                    <a:lnTo>
                      <a:pt x="44227" y="4483"/>
                    </a:lnTo>
                    <a:lnTo>
                      <a:pt x="50081" y="6640"/>
                    </a:lnTo>
                    <a:lnTo>
                      <a:pt x="52211" y="3861"/>
                    </a:lnTo>
                    <a:lnTo>
                      <a:pt x="56800" y="5747"/>
                    </a:lnTo>
                    <a:lnTo>
                      <a:pt x="57986" y="8126"/>
                    </a:lnTo>
                    <a:lnTo>
                      <a:pt x="64196" y="9127"/>
                    </a:lnTo>
                    <a:lnTo>
                      <a:pt x="68963" y="1548"/>
                    </a:lnTo>
                    <a:lnTo>
                      <a:pt x="7783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1" name="Freeform 93">
                <a:extLst>
                  <a:ext uri="{FF2B5EF4-FFF2-40B4-BE49-F238E27FC236}">
                    <a16:creationId xmlns:a16="http://schemas.microsoft.com/office/drawing/2014/main" id="{D190A588-8471-C47A-74C4-4A8E1A4C0148}"/>
                  </a:ext>
                </a:extLst>
              </p:cNvPr>
              <p:cNvSpPr>
                <a:spLocks noChangeAspect="1"/>
              </p:cNvSpPr>
              <p:nvPr>
                <p:custDataLst>
                  <p:tags r:id="rId222"/>
                </p:custDataLst>
              </p:nvPr>
            </p:nvSpPr>
            <p:spPr>
              <a:xfrm>
                <a:off x="1568425" y="3738565"/>
                <a:ext cx="108381" cy="91125"/>
              </a:xfrm>
              <a:custGeom>
                <a:avLst/>
                <a:gdLst/>
                <a:ahLst/>
                <a:cxnLst/>
                <a:rect l="0" t="0" r="0" b="0"/>
                <a:pathLst>
                  <a:path w="111278" h="93561">
                    <a:moveTo>
                      <a:pt x="104892" y="11239"/>
                    </a:moveTo>
                    <a:lnTo>
                      <a:pt x="104001" y="14697"/>
                    </a:lnTo>
                    <a:lnTo>
                      <a:pt x="107866" y="21135"/>
                    </a:lnTo>
                    <a:lnTo>
                      <a:pt x="109657" y="29179"/>
                    </a:lnTo>
                    <a:lnTo>
                      <a:pt x="109246" y="35862"/>
                    </a:lnTo>
                    <a:lnTo>
                      <a:pt x="111277" y="45401"/>
                    </a:lnTo>
                    <a:lnTo>
                      <a:pt x="110000" y="51838"/>
                    </a:lnTo>
                    <a:lnTo>
                      <a:pt x="109878" y="51902"/>
                    </a:lnTo>
                    <a:lnTo>
                      <a:pt x="109880" y="51980"/>
                    </a:lnTo>
                    <a:lnTo>
                      <a:pt x="108478" y="56052"/>
                    </a:lnTo>
                    <a:lnTo>
                      <a:pt x="108238" y="58274"/>
                    </a:lnTo>
                    <a:lnTo>
                      <a:pt x="108212" y="62148"/>
                    </a:lnTo>
                    <a:lnTo>
                      <a:pt x="108429" y="62384"/>
                    </a:lnTo>
                    <a:lnTo>
                      <a:pt x="108423" y="63570"/>
                    </a:lnTo>
                    <a:lnTo>
                      <a:pt x="109260" y="66069"/>
                    </a:lnTo>
                    <a:lnTo>
                      <a:pt x="110238" y="67969"/>
                    </a:lnTo>
                    <a:lnTo>
                      <a:pt x="110340" y="67994"/>
                    </a:lnTo>
                    <a:lnTo>
                      <a:pt x="110519" y="68198"/>
                    </a:lnTo>
                    <a:lnTo>
                      <a:pt x="108681" y="76639"/>
                    </a:lnTo>
                    <a:lnTo>
                      <a:pt x="108413" y="76627"/>
                    </a:lnTo>
                    <a:lnTo>
                      <a:pt x="106314" y="80271"/>
                    </a:lnTo>
                    <a:lnTo>
                      <a:pt x="104117" y="85117"/>
                    </a:lnTo>
                    <a:lnTo>
                      <a:pt x="103721" y="88539"/>
                    </a:lnTo>
                    <a:lnTo>
                      <a:pt x="103195" y="91421"/>
                    </a:lnTo>
                    <a:lnTo>
                      <a:pt x="101309" y="89520"/>
                    </a:lnTo>
                    <a:lnTo>
                      <a:pt x="98140" y="87344"/>
                    </a:lnTo>
                    <a:lnTo>
                      <a:pt x="98117" y="87481"/>
                    </a:lnTo>
                    <a:lnTo>
                      <a:pt x="97816" y="87310"/>
                    </a:lnTo>
                    <a:lnTo>
                      <a:pt x="90128" y="82835"/>
                    </a:lnTo>
                    <a:lnTo>
                      <a:pt x="89052" y="86602"/>
                    </a:lnTo>
                    <a:lnTo>
                      <a:pt x="86745" y="88515"/>
                    </a:lnTo>
                    <a:lnTo>
                      <a:pt x="80943" y="86671"/>
                    </a:lnTo>
                    <a:lnTo>
                      <a:pt x="70990" y="89616"/>
                    </a:lnTo>
                    <a:lnTo>
                      <a:pt x="67191" y="93474"/>
                    </a:lnTo>
                    <a:lnTo>
                      <a:pt x="62218" y="93560"/>
                    </a:lnTo>
                    <a:lnTo>
                      <a:pt x="54060" y="89243"/>
                    </a:lnTo>
                    <a:lnTo>
                      <a:pt x="45853" y="77387"/>
                    </a:lnTo>
                    <a:lnTo>
                      <a:pt x="41351" y="79188"/>
                    </a:lnTo>
                    <a:lnTo>
                      <a:pt x="31561" y="74878"/>
                    </a:lnTo>
                    <a:lnTo>
                      <a:pt x="17124" y="78955"/>
                    </a:lnTo>
                    <a:lnTo>
                      <a:pt x="12552" y="77125"/>
                    </a:lnTo>
                    <a:lnTo>
                      <a:pt x="5149" y="77941"/>
                    </a:lnTo>
                    <a:lnTo>
                      <a:pt x="2801" y="77072"/>
                    </a:lnTo>
                    <a:lnTo>
                      <a:pt x="0" y="72995"/>
                    </a:lnTo>
                    <a:lnTo>
                      <a:pt x="7481" y="69437"/>
                    </a:lnTo>
                    <a:lnTo>
                      <a:pt x="9308" y="63478"/>
                    </a:lnTo>
                    <a:lnTo>
                      <a:pt x="15757" y="60834"/>
                    </a:lnTo>
                    <a:lnTo>
                      <a:pt x="16919" y="58222"/>
                    </a:lnTo>
                    <a:lnTo>
                      <a:pt x="16509" y="55553"/>
                    </a:lnTo>
                    <a:lnTo>
                      <a:pt x="12337" y="50658"/>
                    </a:lnTo>
                    <a:lnTo>
                      <a:pt x="12926" y="45249"/>
                    </a:lnTo>
                    <a:lnTo>
                      <a:pt x="19480" y="39861"/>
                    </a:lnTo>
                    <a:lnTo>
                      <a:pt x="19641" y="31899"/>
                    </a:lnTo>
                    <a:lnTo>
                      <a:pt x="36817" y="34640"/>
                    </a:lnTo>
                    <a:lnTo>
                      <a:pt x="44724" y="27903"/>
                    </a:lnTo>
                    <a:lnTo>
                      <a:pt x="45209" y="19108"/>
                    </a:lnTo>
                    <a:lnTo>
                      <a:pt x="47216" y="14212"/>
                    </a:lnTo>
                    <a:lnTo>
                      <a:pt x="44650" y="10361"/>
                    </a:lnTo>
                    <a:lnTo>
                      <a:pt x="47020" y="10593"/>
                    </a:lnTo>
                    <a:lnTo>
                      <a:pt x="54670" y="4038"/>
                    </a:lnTo>
                    <a:lnTo>
                      <a:pt x="60648" y="5171"/>
                    </a:lnTo>
                    <a:lnTo>
                      <a:pt x="63689" y="9366"/>
                    </a:lnTo>
                    <a:lnTo>
                      <a:pt x="72471" y="7006"/>
                    </a:lnTo>
                    <a:lnTo>
                      <a:pt x="75897" y="2914"/>
                    </a:lnTo>
                    <a:lnTo>
                      <a:pt x="87795" y="8340"/>
                    </a:lnTo>
                    <a:lnTo>
                      <a:pt x="93815" y="7336"/>
                    </a:lnTo>
                    <a:lnTo>
                      <a:pt x="97413" y="6221"/>
                    </a:lnTo>
                    <a:lnTo>
                      <a:pt x="98911" y="1405"/>
                    </a:lnTo>
                    <a:lnTo>
                      <a:pt x="102424" y="0"/>
                    </a:lnTo>
                    <a:lnTo>
                      <a:pt x="105356" y="86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2" name="Freeform 94">
                <a:extLst>
                  <a:ext uri="{FF2B5EF4-FFF2-40B4-BE49-F238E27FC236}">
                    <a16:creationId xmlns:a16="http://schemas.microsoft.com/office/drawing/2014/main" id="{CC7291F7-6F78-71DF-D1A1-424101C5594A}"/>
                  </a:ext>
                </a:extLst>
              </p:cNvPr>
              <p:cNvSpPr>
                <a:spLocks noChangeAspect="1"/>
              </p:cNvSpPr>
              <p:nvPr>
                <p:custDataLst>
                  <p:tags r:id="rId223"/>
                </p:custDataLst>
              </p:nvPr>
            </p:nvSpPr>
            <p:spPr>
              <a:xfrm>
                <a:off x="1669718" y="3710577"/>
                <a:ext cx="119899" cy="91876"/>
              </a:xfrm>
              <a:custGeom>
                <a:avLst/>
                <a:gdLst/>
                <a:ahLst/>
                <a:cxnLst/>
                <a:rect l="0" t="0" r="0" b="0"/>
                <a:pathLst>
                  <a:path w="123104" h="94332">
                    <a:moveTo>
                      <a:pt x="85793" y="17989"/>
                    </a:moveTo>
                    <a:lnTo>
                      <a:pt x="90796" y="16580"/>
                    </a:lnTo>
                    <a:lnTo>
                      <a:pt x="94375" y="18318"/>
                    </a:lnTo>
                    <a:lnTo>
                      <a:pt x="98179" y="25675"/>
                    </a:lnTo>
                    <a:lnTo>
                      <a:pt x="104844" y="31874"/>
                    </a:lnTo>
                    <a:lnTo>
                      <a:pt x="107206" y="37159"/>
                    </a:lnTo>
                    <a:lnTo>
                      <a:pt x="106061" y="46582"/>
                    </a:lnTo>
                    <a:lnTo>
                      <a:pt x="103313" y="51578"/>
                    </a:lnTo>
                    <a:lnTo>
                      <a:pt x="105095" y="65992"/>
                    </a:lnTo>
                    <a:lnTo>
                      <a:pt x="111582" y="69414"/>
                    </a:lnTo>
                    <a:lnTo>
                      <a:pt x="114013" y="67803"/>
                    </a:lnTo>
                    <a:lnTo>
                      <a:pt x="118950" y="68083"/>
                    </a:lnTo>
                    <a:lnTo>
                      <a:pt x="123103" y="76730"/>
                    </a:lnTo>
                    <a:lnTo>
                      <a:pt x="122284" y="79249"/>
                    </a:lnTo>
                    <a:lnTo>
                      <a:pt x="119768" y="81174"/>
                    </a:lnTo>
                    <a:lnTo>
                      <a:pt x="106475" y="81537"/>
                    </a:lnTo>
                    <a:lnTo>
                      <a:pt x="106028" y="83754"/>
                    </a:lnTo>
                    <a:lnTo>
                      <a:pt x="108945" y="89275"/>
                    </a:lnTo>
                    <a:lnTo>
                      <a:pt x="91844" y="91184"/>
                    </a:lnTo>
                    <a:lnTo>
                      <a:pt x="77027" y="84784"/>
                    </a:lnTo>
                    <a:lnTo>
                      <a:pt x="68157" y="86332"/>
                    </a:lnTo>
                    <a:lnTo>
                      <a:pt x="63390" y="93911"/>
                    </a:lnTo>
                    <a:lnTo>
                      <a:pt x="57180" y="92910"/>
                    </a:lnTo>
                    <a:lnTo>
                      <a:pt x="55994" y="90531"/>
                    </a:lnTo>
                    <a:lnTo>
                      <a:pt x="51405" y="88645"/>
                    </a:lnTo>
                    <a:lnTo>
                      <a:pt x="49275" y="91424"/>
                    </a:lnTo>
                    <a:lnTo>
                      <a:pt x="43421" y="89267"/>
                    </a:lnTo>
                    <a:lnTo>
                      <a:pt x="37749" y="90317"/>
                    </a:lnTo>
                    <a:lnTo>
                      <a:pt x="32718" y="87340"/>
                    </a:lnTo>
                    <a:lnTo>
                      <a:pt x="24590" y="94331"/>
                    </a:lnTo>
                    <a:lnTo>
                      <a:pt x="7542" y="91721"/>
                    </a:lnTo>
                    <a:lnTo>
                      <a:pt x="7540" y="91780"/>
                    </a:lnTo>
                    <a:lnTo>
                      <a:pt x="5376" y="92120"/>
                    </a:lnTo>
                    <a:lnTo>
                      <a:pt x="4428" y="91120"/>
                    </a:lnTo>
                    <a:lnTo>
                      <a:pt x="4211" y="90884"/>
                    </a:lnTo>
                    <a:lnTo>
                      <a:pt x="4237" y="87010"/>
                    </a:lnTo>
                    <a:lnTo>
                      <a:pt x="4477" y="84788"/>
                    </a:lnTo>
                    <a:lnTo>
                      <a:pt x="5879" y="80716"/>
                    </a:lnTo>
                    <a:lnTo>
                      <a:pt x="5877" y="80638"/>
                    </a:lnTo>
                    <a:lnTo>
                      <a:pt x="5999" y="80574"/>
                    </a:lnTo>
                    <a:lnTo>
                      <a:pt x="7276" y="74137"/>
                    </a:lnTo>
                    <a:lnTo>
                      <a:pt x="5245" y="64598"/>
                    </a:lnTo>
                    <a:lnTo>
                      <a:pt x="5656" y="57915"/>
                    </a:lnTo>
                    <a:lnTo>
                      <a:pt x="3865" y="49871"/>
                    </a:lnTo>
                    <a:lnTo>
                      <a:pt x="0" y="43433"/>
                    </a:lnTo>
                    <a:lnTo>
                      <a:pt x="891" y="39975"/>
                    </a:lnTo>
                    <a:lnTo>
                      <a:pt x="11214" y="39774"/>
                    </a:lnTo>
                    <a:lnTo>
                      <a:pt x="16887" y="42687"/>
                    </a:lnTo>
                    <a:lnTo>
                      <a:pt x="16236" y="35109"/>
                    </a:lnTo>
                    <a:lnTo>
                      <a:pt x="19784" y="32079"/>
                    </a:lnTo>
                    <a:lnTo>
                      <a:pt x="15349" y="28695"/>
                    </a:lnTo>
                    <a:lnTo>
                      <a:pt x="13332" y="24684"/>
                    </a:lnTo>
                    <a:lnTo>
                      <a:pt x="13808" y="23529"/>
                    </a:lnTo>
                    <a:lnTo>
                      <a:pt x="22584" y="22196"/>
                    </a:lnTo>
                    <a:lnTo>
                      <a:pt x="26850" y="17931"/>
                    </a:lnTo>
                    <a:lnTo>
                      <a:pt x="31730" y="20687"/>
                    </a:lnTo>
                    <a:lnTo>
                      <a:pt x="34251" y="17492"/>
                    </a:lnTo>
                    <a:lnTo>
                      <a:pt x="36638" y="16960"/>
                    </a:lnTo>
                    <a:lnTo>
                      <a:pt x="39733" y="20389"/>
                    </a:lnTo>
                    <a:lnTo>
                      <a:pt x="41208" y="18751"/>
                    </a:lnTo>
                    <a:lnTo>
                      <a:pt x="40547" y="12547"/>
                    </a:lnTo>
                    <a:lnTo>
                      <a:pt x="42060" y="8469"/>
                    </a:lnTo>
                    <a:lnTo>
                      <a:pt x="50428" y="9347"/>
                    </a:lnTo>
                    <a:lnTo>
                      <a:pt x="54060" y="6847"/>
                    </a:lnTo>
                    <a:lnTo>
                      <a:pt x="60429" y="6136"/>
                    </a:lnTo>
                    <a:lnTo>
                      <a:pt x="67325" y="1117"/>
                    </a:lnTo>
                    <a:lnTo>
                      <a:pt x="70812" y="2303"/>
                    </a:lnTo>
                    <a:lnTo>
                      <a:pt x="71572" y="0"/>
                    </a:lnTo>
                    <a:lnTo>
                      <a:pt x="76643" y="2651"/>
                    </a:lnTo>
                    <a:lnTo>
                      <a:pt x="78289" y="10245"/>
                    </a:lnTo>
                    <a:lnTo>
                      <a:pt x="82383" y="1646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3" name="Freeform 95">
                <a:extLst>
                  <a:ext uri="{FF2B5EF4-FFF2-40B4-BE49-F238E27FC236}">
                    <a16:creationId xmlns:a16="http://schemas.microsoft.com/office/drawing/2014/main" id="{EB3BA314-73EE-FEA9-14F5-42901911E3A9}"/>
                  </a:ext>
                </a:extLst>
              </p:cNvPr>
              <p:cNvSpPr>
                <a:spLocks noChangeAspect="1"/>
              </p:cNvSpPr>
              <p:nvPr>
                <p:custDataLst>
                  <p:tags r:id="rId224"/>
                </p:custDataLst>
              </p:nvPr>
            </p:nvSpPr>
            <p:spPr>
              <a:xfrm>
                <a:off x="1758150" y="3702110"/>
                <a:ext cx="85600" cy="114369"/>
              </a:xfrm>
              <a:custGeom>
                <a:avLst/>
                <a:gdLst/>
                <a:ahLst/>
                <a:cxnLst/>
                <a:rect l="0" t="0" r="0" b="0"/>
                <a:pathLst>
                  <a:path w="87888" h="117426">
                    <a:moveTo>
                      <a:pt x="87112" y="111109"/>
                    </a:moveTo>
                    <a:lnTo>
                      <a:pt x="87105" y="111110"/>
                    </a:lnTo>
                    <a:lnTo>
                      <a:pt x="75985" y="113274"/>
                    </a:lnTo>
                    <a:lnTo>
                      <a:pt x="73083" y="117425"/>
                    </a:lnTo>
                    <a:lnTo>
                      <a:pt x="70091" y="109897"/>
                    </a:lnTo>
                    <a:lnTo>
                      <a:pt x="65373" y="108039"/>
                    </a:lnTo>
                    <a:lnTo>
                      <a:pt x="63117" y="109552"/>
                    </a:lnTo>
                    <a:lnTo>
                      <a:pt x="58209" y="108110"/>
                    </a:lnTo>
                    <a:lnTo>
                      <a:pt x="43679" y="110055"/>
                    </a:lnTo>
                    <a:lnTo>
                      <a:pt x="40606" y="106865"/>
                    </a:lnTo>
                    <a:lnTo>
                      <a:pt x="35694" y="109120"/>
                    </a:lnTo>
                    <a:lnTo>
                      <a:pt x="30724" y="107262"/>
                    </a:lnTo>
                    <a:lnTo>
                      <a:pt x="28148" y="109175"/>
                    </a:lnTo>
                    <a:lnTo>
                      <a:pt x="24903" y="107358"/>
                    </a:lnTo>
                    <a:lnTo>
                      <a:pt x="21453" y="107874"/>
                    </a:lnTo>
                    <a:lnTo>
                      <a:pt x="17740" y="102421"/>
                    </a:lnTo>
                    <a:lnTo>
                      <a:pt x="18149" y="97969"/>
                    </a:lnTo>
                    <a:lnTo>
                      <a:pt x="15232" y="92448"/>
                    </a:lnTo>
                    <a:lnTo>
                      <a:pt x="15679" y="90231"/>
                    </a:lnTo>
                    <a:lnTo>
                      <a:pt x="28972" y="89868"/>
                    </a:lnTo>
                    <a:lnTo>
                      <a:pt x="31488" y="87943"/>
                    </a:lnTo>
                    <a:lnTo>
                      <a:pt x="32307" y="85424"/>
                    </a:lnTo>
                    <a:lnTo>
                      <a:pt x="28154" y="76777"/>
                    </a:lnTo>
                    <a:lnTo>
                      <a:pt x="23217" y="76497"/>
                    </a:lnTo>
                    <a:lnTo>
                      <a:pt x="20786" y="78108"/>
                    </a:lnTo>
                    <a:lnTo>
                      <a:pt x="14299" y="74686"/>
                    </a:lnTo>
                    <a:lnTo>
                      <a:pt x="12517" y="60272"/>
                    </a:lnTo>
                    <a:lnTo>
                      <a:pt x="15265" y="55276"/>
                    </a:lnTo>
                    <a:lnTo>
                      <a:pt x="16410" y="45853"/>
                    </a:lnTo>
                    <a:lnTo>
                      <a:pt x="14048" y="40568"/>
                    </a:lnTo>
                    <a:lnTo>
                      <a:pt x="7383" y="34369"/>
                    </a:lnTo>
                    <a:lnTo>
                      <a:pt x="3579" y="27012"/>
                    </a:lnTo>
                    <a:lnTo>
                      <a:pt x="0" y="25274"/>
                    </a:lnTo>
                    <a:lnTo>
                      <a:pt x="14491" y="12325"/>
                    </a:lnTo>
                    <a:lnTo>
                      <a:pt x="16454" y="8575"/>
                    </a:lnTo>
                    <a:lnTo>
                      <a:pt x="20437" y="7882"/>
                    </a:lnTo>
                    <a:lnTo>
                      <a:pt x="27039" y="458"/>
                    </a:lnTo>
                    <a:lnTo>
                      <a:pt x="27439" y="17"/>
                    </a:lnTo>
                    <a:lnTo>
                      <a:pt x="27455" y="0"/>
                    </a:lnTo>
                    <a:lnTo>
                      <a:pt x="28566" y="1037"/>
                    </a:lnTo>
                    <a:lnTo>
                      <a:pt x="30075" y="4609"/>
                    </a:lnTo>
                    <a:lnTo>
                      <a:pt x="29397" y="11477"/>
                    </a:lnTo>
                    <a:lnTo>
                      <a:pt x="24923" y="25520"/>
                    </a:lnTo>
                    <a:lnTo>
                      <a:pt x="25272" y="28178"/>
                    </a:lnTo>
                    <a:lnTo>
                      <a:pt x="31608" y="29483"/>
                    </a:lnTo>
                    <a:lnTo>
                      <a:pt x="37373" y="32771"/>
                    </a:lnTo>
                    <a:lnTo>
                      <a:pt x="42397" y="37898"/>
                    </a:lnTo>
                    <a:lnTo>
                      <a:pt x="46610" y="44598"/>
                    </a:lnTo>
                    <a:lnTo>
                      <a:pt x="47474" y="47226"/>
                    </a:lnTo>
                    <a:lnTo>
                      <a:pt x="48740" y="53432"/>
                    </a:lnTo>
                    <a:lnTo>
                      <a:pt x="49952" y="56354"/>
                    </a:lnTo>
                    <a:lnTo>
                      <a:pt x="51314" y="58097"/>
                    </a:lnTo>
                    <a:lnTo>
                      <a:pt x="54668" y="61200"/>
                    </a:lnTo>
                    <a:lnTo>
                      <a:pt x="56325" y="63218"/>
                    </a:lnTo>
                    <a:lnTo>
                      <a:pt x="58241" y="66288"/>
                    </a:lnTo>
                    <a:lnTo>
                      <a:pt x="60093" y="70209"/>
                    </a:lnTo>
                    <a:lnTo>
                      <a:pt x="61471" y="74956"/>
                    </a:lnTo>
                    <a:lnTo>
                      <a:pt x="61891" y="80493"/>
                    </a:lnTo>
                    <a:lnTo>
                      <a:pt x="63877" y="91109"/>
                    </a:lnTo>
                    <a:lnTo>
                      <a:pt x="69318" y="94826"/>
                    </a:lnTo>
                    <a:lnTo>
                      <a:pt x="75759" y="97685"/>
                    </a:lnTo>
                    <a:lnTo>
                      <a:pt x="80728" y="105814"/>
                    </a:lnTo>
                    <a:lnTo>
                      <a:pt x="82090" y="105859"/>
                    </a:lnTo>
                    <a:lnTo>
                      <a:pt x="78373" y="97522"/>
                    </a:lnTo>
                    <a:lnTo>
                      <a:pt x="64830" y="82040"/>
                    </a:lnTo>
                    <a:lnTo>
                      <a:pt x="68540" y="75600"/>
                    </a:lnTo>
                    <a:lnTo>
                      <a:pt x="75097" y="77670"/>
                    </a:lnTo>
                    <a:lnTo>
                      <a:pt x="81714" y="83957"/>
                    </a:lnTo>
                    <a:lnTo>
                      <a:pt x="85609" y="90324"/>
                    </a:lnTo>
                    <a:lnTo>
                      <a:pt x="87887" y="1024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4" name="Freeform 96">
                <a:extLst>
                  <a:ext uri="{FF2B5EF4-FFF2-40B4-BE49-F238E27FC236}">
                    <a16:creationId xmlns:a16="http://schemas.microsoft.com/office/drawing/2014/main" id="{1787D1E7-7061-9052-6C29-84B0E10B3947}"/>
                  </a:ext>
                </a:extLst>
              </p:cNvPr>
              <p:cNvSpPr>
                <a:spLocks noChangeAspect="1"/>
              </p:cNvSpPr>
              <p:nvPr>
                <p:custDataLst>
                  <p:tags r:id="rId225"/>
                </p:custDataLst>
              </p:nvPr>
            </p:nvSpPr>
            <p:spPr>
              <a:xfrm>
                <a:off x="1796364" y="3807336"/>
                <a:ext cx="46631" cy="34434"/>
              </a:xfrm>
              <a:custGeom>
                <a:avLst/>
                <a:gdLst/>
                <a:ahLst/>
                <a:cxnLst/>
                <a:rect l="0" t="0" r="0" b="0"/>
                <a:pathLst>
                  <a:path w="47878" h="35354">
                    <a:moveTo>
                      <a:pt x="33848" y="9386"/>
                    </a:moveTo>
                    <a:lnTo>
                      <a:pt x="36750" y="5235"/>
                    </a:lnTo>
                    <a:lnTo>
                      <a:pt x="47870" y="3071"/>
                    </a:lnTo>
                    <a:lnTo>
                      <a:pt x="47877" y="3070"/>
                    </a:lnTo>
                    <a:lnTo>
                      <a:pt x="47697" y="5072"/>
                    </a:lnTo>
                    <a:lnTo>
                      <a:pt x="44274" y="13455"/>
                    </a:lnTo>
                    <a:lnTo>
                      <a:pt x="39150" y="18827"/>
                    </a:lnTo>
                    <a:lnTo>
                      <a:pt x="32518" y="21889"/>
                    </a:lnTo>
                    <a:lnTo>
                      <a:pt x="19253" y="25377"/>
                    </a:lnTo>
                    <a:lnTo>
                      <a:pt x="13200" y="28374"/>
                    </a:lnTo>
                    <a:lnTo>
                      <a:pt x="7251" y="33488"/>
                    </a:lnTo>
                    <a:lnTo>
                      <a:pt x="5766" y="35353"/>
                    </a:lnTo>
                    <a:lnTo>
                      <a:pt x="5611" y="35117"/>
                    </a:lnTo>
                    <a:lnTo>
                      <a:pt x="4451" y="33346"/>
                    </a:lnTo>
                    <a:lnTo>
                      <a:pt x="5038" y="30611"/>
                    </a:lnTo>
                    <a:lnTo>
                      <a:pt x="3123" y="25643"/>
                    </a:lnTo>
                    <a:lnTo>
                      <a:pt x="0" y="23733"/>
                    </a:lnTo>
                    <a:lnTo>
                      <a:pt x="3414" y="12176"/>
                    </a:lnTo>
                    <a:lnTo>
                      <a:pt x="1356" y="9752"/>
                    </a:lnTo>
                    <a:lnTo>
                      <a:pt x="944" y="5608"/>
                    </a:lnTo>
                    <a:lnTo>
                      <a:pt x="4444" y="2016"/>
                    </a:lnTo>
                    <a:lnTo>
                      <a:pt x="18974" y="71"/>
                    </a:lnTo>
                    <a:lnTo>
                      <a:pt x="23882" y="1513"/>
                    </a:lnTo>
                    <a:lnTo>
                      <a:pt x="26138" y="0"/>
                    </a:lnTo>
                    <a:lnTo>
                      <a:pt x="30856" y="18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5" name="Freeform 97">
                <a:extLst>
                  <a:ext uri="{FF2B5EF4-FFF2-40B4-BE49-F238E27FC236}">
                    <a16:creationId xmlns:a16="http://schemas.microsoft.com/office/drawing/2014/main" id="{551C858A-2681-FC26-96A7-8A4CD11365DD}"/>
                  </a:ext>
                </a:extLst>
              </p:cNvPr>
              <p:cNvSpPr>
                <a:spLocks noChangeAspect="1"/>
              </p:cNvSpPr>
              <p:nvPr>
                <p:custDataLst>
                  <p:tags r:id="rId226"/>
                </p:custDataLst>
              </p:nvPr>
            </p:nvSpPr>
            <p:spPr>
              <a:xfrm>
                <a:off x="1759171" y="3797528"/>
                <a:ext cx="42810" cy="57158"/>
              </a:xfrm>
              <a:custGeom>
                <a:avLst/>
                <a:gdLst/>
                <a:ahLst/>
                <a:cxnLst/>
                <a:rect l="0" t="0" r="0" b="0"/>
                <a:pathLst>
                  <a:path w="43954" h="58686">
                    <a:moveTo>
                      <a:pt x="20405" y="9905"/>
                    </a:moveTo>
                    <a:lnTo>
                      <a:pt x="23855" y="9389"/>
                    </a:lnTo>
                    <a:lnTo>
                      <a:pt x="27100" y="11206"/>
                    </a:lnTo>
                    <a:lnTo>
                      <a:pt x="29676" y="9293"/>
                    </a:lnTo>
                    <a:lnTo>
                      <a:pt x="34646" y="11151"/>
                    </a:lnTo>
                    <a:lnTo>
                      <a:pt x="39558" y="8896"/>
                    </a:lnTo>
                    <a:lnTo>
                      <a:pt x="42631" y="12086"/>
                    </a:lnTo>
                    <a:lnTo>
                      <a:pt x="39131" y="15678"/>
                    </a:lnTo>
                    <a:lnTo>
                      <a:pt x="39543" y="19822"/>
                    </a:lnTo>
                    <a:lnTo>
                      <a:pt x="41601" y="22246"/>
                    </a:lnTo>
                    <a:lnTo>
                      <a:pt x="38187" y="33803"/>
                    </a:lnTo>
                    <a:lnTo>
                      <a:pt x="41310" y="35713"/>
                    </a:lnTo>
                    <a:lnTo>
                      <a:pt x="43225" y="40681"/>
                    </a:lnTo>
                    <a:lnTo>
                      <a:pt x="42638" y="43416"/>
                    </a:lnTo>
                    <a:lnTo>
                      <a:pt x="43798" y="45187"/>
                    </a:lnTo>
                    <a:lnTo>
                      <a:pt x="43953" y="45423"/>
                    </a:lnTo>
                    <a:lnTo>
                      <a:pt x="40988" y="49143"/>
                    </a:lnTo>
                    <a:lnTo>
                      <a:pt x="35433" y="58685"/>
                    </a:lnTo>
                    <a:lnTo>
                      <a:pt x="29807" y="53582"/>
                    </a:lnTo>
                    <a:lnTo>
                      <a:pt x="24226" y="58261"/>
                    </a:lnTo>
                    <a:lnTo>
                      <a:pt x="20284" y="51952"/>
                    </a:lnTo>
                    <a:lnTo>
                      <a:pt x="11756" y="51855"/>
                    </a:lnTo>
                    <a:lnTo>
                      <a:pt x="6883" y="50607"/>
                    </a:lnTo>
                    <a:lnTo>
                      <a:pt x="5494" y="48340"/>
                    </a:lnTo>
                    <a:lnTo>
                      <a:pt x="5777" y="39103"/>
                    </a:lnTo>
                    <a:lnTo>
                      <a:pt x="8181" y="35577"/>
                    </a:lnTo>
                    <a:lnTo>
                      <a:pt x="8686" y="31999"/>
                    </a:lnTo>
                    <a:lnTo>
                      <a:pt x="5166" y="27391"/>
                    </a:lnTo>
                    <a:lnTo>
                      <a:pt x="3896" y="18854"/>
                    </a:lnTo>
                    <a:lnTo>
                      <a:pt x="7356" y="16436"/>
                    </a:lnTo>
                    <a:lnTo>
                      <a:pt x="8259" y="8920"/>
                    </a:lnTo>
                    <a:lnTo>
                      <a:pt x="0" y="1909"/>
                    </a:lnTo>
                    <a:lnTo>
                      <a:pt x="17101" y="0"/>
                    </a:lnTo>
                    <a:lnTo>
                      <a:pt x="16692" y="445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6" name="Freeform 98">
                <a:extLst>
                  <a:ext uri="{FF2B5EF4-FFF2-40B4-BE49-F238E27FC236}">
                    <a16:creationId xmlns:a16="http://schemas.microsoft.com/office/drawing/2014/main" id="{D0DE96A4-7151-B592-255E-8E1AD6925CAD}"/>
                  </a:ext>
                </a:extLst>
              </p:cNvPr>
              <p:cNvSpPr>
                <a:spLocks noChangeAspect="1"/>
              </p:cNvSpPr>
              <p:nvPr>
                <p:custDataLst>
                  <p:tags r:id="rId227"/>
                </p:custDataLst>
              </p:nvPr>
            </p:nvSpPr>
            <p:spPr>
              <a:xfrm>
                <a:off x="1802808" y="3843431"/>
                <a:ext cx="66351" cy="24124"/>
              </a:xfrm>
              <a:custGeom>
                <a:avLst/>
                <a:gdLst/>
                <a:ahLst/>
                <a:cxnLst/>
                <a:rect l="0" t="0" r="0" b="0"/>
                <a:pathLst>
                  <a:path w="68125" h="24769">
                    <a:moveTo>
                      <a:pt x="68124" y="4386"/>
                    </a:moveTo>
                    <a:lnTo>
                      <a:pt x="68114" y="4395"/>
                    </a:lnTo>
                    <a:lnTo>
                      <a:pt x="66537" y="5710"/>
                    </a:lnTo>
                    <a:lnTo>
                      <a:pt x="64972" y="6463"/>
                    </a:lnTo>
                    <a:lnTo>
                      <a:pt x="65190" y="11457"/>
                    </a:lnTo>
                    <a:lnTo>
                      <a:pt x="59023" y="14250"/>
                    </a:lnTo>
                    <a:lnTo>
                      <a:pt x="56320" y="20112"/>
                    </a:lnTo>
                    <a:lnTo>
                      <a:pt x="48688" y="24219"/>
                    </a:lnTo>
                    <a:lnTo>
                      <a:pt x="37874" y="23979"/>
                    </a:lnTo>
                    <a:lnTo>
                      <a:pt x="31376" y="19845"/>
                    </a:lnTo>
                    <a:lnTo>
                      <a:pt x="25001" y="24613"/>
                    </a:lnTo>
                    <a:lnTo>
                      <a:pt x="17374" y="22983"/>
                    </a:lnTo>
                    <a:lnTo>
                      <a:pt x="13745" y="24768"/>
                    </a:lnTo>
                    <a:lnTo>
                      <a:pt x="178" y="21098"/>
                    </a:lnTo>
                    <a:lnTo>
                      <a:pt x="165" y="21137"/>
                    </a:lnTo>
                    <a:lnTo>
                      <a:pt x="7" y="21082"/>
                    </a:lnTo>
                    <a:lnTo>
                      <a:pt x="0" y="21079"/>
                    </a:lnTo>
                    <a:lnTo>
                      <a:pt x="5063" y="13448"/>
                    </a:lnTo>
                    <a:lnTo>
                      <a:pt x="7307" y="11036"/>
                    </a:lnTo>
                    <a:lnTo>
                      <a:pt x="15211" y="7526"/>
                    </a:lnTo>
                    <a:lnTo>
                      <a:pt x="22980" y="2047"/>
                    </a:lnTo>
                    <a:lnTo>
                      <a:pt x="27815" y="0"/>
                    </a:lnTo>
                    <a:lnTo>
                      <a:pt x="31203" y="1419"/>
                    </a:lnTo>
                    <a:lnTo>
                      <a:pt x="34601" y="4252"/>
                    </a:lnTo>
                    <a:lnTo>
                      <a:pt x="39430" y="4862"/>
                    </a:lnTo>
                    <a:lnTo>
                      <a:pt x="66065" y="1347"/>
                    </a:lnTo>
                    <a:lnTo>
                      <a:pt x="67286" y="258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7" name="Freeform 99">
                <a:extLst>
                  <a:ext uri="{FF2B5EF4-FFF2-40B4-BE49-F238E27FC236}">
                    <a16:creationId xmlns:a16="http://schemas.microsoft.com/office/drawing/2014/main" id="{78009232-152F-7653-C8A7-8AB517D3926E}"/>
                  </a:ext>
                </a:extLst>
              </p:cNvPr>
              <p:cNvSpPr>
                <a:spLocks noChangeAspect="1"/>
              </p:cNvSpPr>
              <p:nvPr>
                <p:custDataLst>
                  <p:tags r:id="rId228"/>
                </p:custDataLst>
              </p:nvPr>
            </p:nvSpPr>
            <p:spPr>
              <a:xfrm>
                <a:off x="1752580" y="3913024"/>
                <a:ext cx="117937" cy="118262"/>
              </a:xfrm>
              <a:custGeom>
                <a:avLst/>
                <a:gdLst/>
                <a:ahLst/>
                <a:cxnLst/>
                <a:rect l="0" t="0" r="0" b="0"/>
                <a:pathLst>
                  <a:path w="121090" h="121423">
                    <a:moveTo>
                      <a:pt x="83556" y="17863"/>
                    </a:moveTo>
                    <a:lnTo>
                      <a:pt x="99229" y="13883"/>
                    </a:lnTo>
                    <a:lnTo>
                      <a:pt x="99244" y="13962"/>
                    </a:lnTo>
                    <a:lnTo>
                      <a:pt x="100816" y="11829"/>
                    </a:lnTo>
                    <a:lnTo>
                      <a:pt x="100818" y="11826"/>
                    </a:lnTo>
                    <a:lnTo>
                      <a:pt x="100941" y="12151"/>
                    </a:lnTo>
                    <a:lnTo>
                      <a:pt x="103773" y="13220"/>
                    </a:lnTo>
                    <a:lnTo>
                      <a:pt x="103478" y="14860"/>
                    </a:lnTo>
                    <a:lnTo>
                      <a:pt x="103154" y="15954"/>
                    </a:lnTo>
                    <a:lnTo>
                      <a:pt x="101938" y="18389"/>
                    </a:lnTo>
                    <a:lnTo>
                      <a:pt x="103535" y="20819"/>
                    </a:lnTo>
                    <a:lnTo>
                      <a:pt x="96696" y="40532"/>
                    </a:lnTo>
                    <a:lnTo>
                      <a:pt x="94826" y="44066"/>
                    </a:lnTo>
                    <a:lnTo>
                      <a:pt x="86503" y="50411"/>
                    </a:lnTo>
                    <a:lnTo>
                      <a:pt x="83937" y="54356"/>
                    </a:lnTo>
                    <a:lnTo>
                      <a:pt x="93066" y="51244"/>
                    </a:lnTo>
                    <a:lnTo>
                      <a:pt x="103534" y="45462"/>
                    </a:lnTo>
                    <a:lnTo>
                      <a:pt x="113057" y="43067"/>
                    </a:lnTo>
                    <a:lnTo>
                      <a:pt x="119335" y="50243"/>
                    </a:lnTo>
                    <a:lnTo>
                      <a:pt x="121089" y="64856"/>
                    </a:lnTo>
                    <a:lnTo>
                      <a:pt x="118001" y="75777"/>
                    </a:lnTo>
                    <a:lnTo>
                      <a:pt x="111839" y="84315"/>
                    </a:lnTo>
                    <a:lnTo>
                      <a:pt x="104214" y="91779"/>
                    </a:lnTo>
                    <a:lnTo>
                      <a:pt x="103188" y="92043"/>
                    </a:lnTo>
                    <a:lnTo>
                      <a:pt x="100676" y="91295"/>
                    </a:lnTo>
                    <a:lnTo>
                      <a:pt x="99639" y="91636"/>
                    </a:lnTo>
                    <a:lnTo>
                      <a:pt x="97867" y="99421"/>
                    </a:lnTo>
                    <a:lnTo>
                      <a:pt x="96297" y="100477"/>
                    </a:lnTo>
                    <a:lnTo>
                      <a:pt x="94278" y="101360"/>
                    </a:lnTo>
                    <a:lnTo>
                      <a:pt x="92585" y="100856"/>
                    </a:lnTo>
                    <a:lnTo>
                      <a:pt x="91955" y="97786"/>
                    </a:lnTo>
                    <a:lnTo>
                      <a:pt x="89329" y="94901"/>
                    </a:lnTo>
                    <a:lnTo>
                      <a:pt x="76409" y="93360"/>
                    </a:lnTo>
                    <a:lnTo>
                      <a:pt x="66880" y="94023"/>
                    </a:lnTo>
                    <a:lnTo>
                      <a:pt x="57116" y="97255"/>
                    </a:lnTo>
                    <a:lnTo>
                      <a:pt x="52711" y="97928"/>
                    </a:lnTo>
                    <a:lnTo>
                      <a:pt x="48238" y="99500"/>
                    </a:lnTo>
                    <a:lnTo>
                      <a:pt x="46743" y="104054"/>
                    </a:lnTo>
                    <a:lnTo>
                      <a:pt x="46734" y="117185"/>
                    </a:lnTo>
                    <a:lnTo>
                      <a:pt x="46734" y="117190"/>
                    </a:lnTo>
                    <a:lnTo>
                      <a:pt x="44783" y="117043"/>
                    </a:lnTo>
                    <a:lnTo>
                      <a:pt x="41203" y="116583"/>
                    </a:lnTo>
                    <a:lnTo>
                      <a:pt x="33484" y="118749"/>
                    </a:lnTo>
                    <a:lnTo>
                      <a:pt x="24494" y="112804"/>
                    </a:lnTo>
                    <a:lnTo>
                      <a:pt x="20731" y="115532"/>
                    </a:lnTo>
                    <a:lnTo>
                      <a:pt x="15943" y="115564"/>
                    </a:lnTo>
                    <a:lnTo>
                      <a:pt x="10575" y="121422"/>
                    </a:lnTo>
                    <a:lnTo>
                      <a:pt x="9411" y="120845"/>
                    </a:lnTo>
                    <a:lnTo>
                      <a:pt x="4689" y="108990"/>
                    </a:lnTo>
                    <a:lnTo>
                      <a:pt x="3433" y="97797"/>
                    </a:lnTo>
                    <a:lnTo>
                      <a:pt x="0" y="96482"/>
                    </a:lnTo>
                    <a:lnTo>
                      <a:pt x="7557" y="91885"/>
                    </a:lnTo>
                    <a:lnTo>
                      <a:pt x="8213" y="86179"/>
                    </a:lnTo>
                    <a:lnTo>
                      <a:pt x="9468" y="85475"/>
                    </a:lnTo>
                    <a:lnTo>
                      <a:pt x="20121" y="92884"/>
                    </a:lnTo>
                    <a:lnTo>
                      <a:pt x="24960" y="91251"/>
                    </a:lnTo>
                    <a:lnTo>
                      <a:pt x="23650" y="86314"/>
                    </a:lnTo>
                    <a:lnTo>
                      <a:pt x="26152" y="82373"/>
                    </a:lnTo>
                    <a:lnTo>
                      <a:pt x="25863" y="78233"/>
                    </a:lnTo>
                    <a:lnTo>
                      <a:pt x="29685" y="77294"/>
                    </a:lnTo>
                    <a:lnTo>
                      <a:pt x="29971" y="75931"/>
                    </a:lnTo>
                    <a:lnTo>
                      <a:pt x="25991" y="64307"/>
                    </a:lnTo>
                    <a:lnTo>
                      <a:pt x="25539" y="56425"/>
                    </a:lnTo>
                    <a:lnTo>
                      <a:pt x="32753" y="48406"/>
                    </a:lnTo>
                    <a:lnTo>
                      <a:pt x="33183" y="47038"/>
                    </a:lnTo>
                    <a:lnTo>
                      <a:pt x="30566" y="41846"/>
                    </a:lnTo>
                    <a:lnTo>
                      <a:pt x="34684" y="37863"/>
                    </a:lnTo>
                    <a:lnTo>
                      <a:pt x="32659" y="30461"/>
                    </a:lnTo>
                    <a:lnTo>
                      <a:pt x="33748" y="27832"/>
                    </a:lnTo>
                    <a:lnTo>
                      <a:pt x="40265" y="21702"/>
                    </a:lnTo>
                    <a:lnTo>
                      <a:pt x="39253" y="15400"/>
                    </a:lnTo>
                    <a:lnTo>
                      <a:pt x="42650" y="13704"/>
                    </a:lnTo>
                    <a:lnTo>
                      <a:pt x="43756" y="10344"/>
                    </a:lnTo>
                    <a:lnTo>
                      <a:pt x="47549" y="9420"/>
                    </a:lnTo>
                    <a:lnTo>
                      <a:pt x="50182" y="4523"/>
                    </a:lnTo>
                    <a:lnTo>
                      <a:pt x="57678" y="0"/>
                    </a:lnTo>
                    <a:lnTo>
                      <a:pt x="61311" y="125"/>
                    </a:lnTo>
                    <a:lnTo>
                      <a:pt x="67155" y="10095"/>
                    </a:lnTo>
                    <a:lnTo>
                      <a:pt x="78801" y="12609"/>
                    </a:lnTo>
                    <a:lnTo>
                      <a:pt x="80106" y="1605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8" name="Freeform 100">
                <a:extLst>
                  <a:ext uri="{FF2B5EF4-FFF2-40B4-BE49-F238E27FC236}">
                    <a16:creationId xmlns:a16="http://schemas.microsoft.com/office/drawing/2014/main" id="{5AE8B2FD-DD8F-02EC-3F8B-93ECCE4952F4}"/>
                  </a:ext>
                </a:extLst>
              </p:cNvPr>
              <p:cNvSpPr>
                <a:spLocks noChangeAspect="1"/>
              </p:cNvSpPr>
              <p:nvPr>
                <p:custDataLst>
                  <p:tags r:id="rId229"/>
                </p:custDataLst>
              </p:nvPr>
            </p:nvSpPr>
            <p:spPr>
              <a:xfrm>
                <a:off x="1598499" y="3634180"/>
                <a:ext cx="74131" cy="114704"/>
              </a:xfrm>
              <a:custGeom>
                <a:avLst/>
                <a:gdLst/>
                <a:ahLst/>
                <a:cxnLst/>
                <a:rect l="0" t="0" r="0" b="0"/>
                <a:pathLst>
                  <a:path w="76113" h="117770">
                    <a:moveTo>
                      <a:pt x="76112" y="29352"/>
                    </a:moveTo>
                    <a:lnTo>
                      <a:pt x="75529" y="31551"/>
                    </a:lnTo>
                    <a:lnTo>
                      <a:pt x="69836" y="31297"/>
                    </a:lnTo>
                    <a:lnTo>
                      <a:pt x="63251" y="35677"/>
                    </a:lnTo>
                    <a:lnTo>
                      <a:pt x="61418" y="48247"/>
                    </a:lnTo>
                    <a:lnTo>
                      <a:pt x="59495" y="51757"/>
                    </a:lnTo>
                    <a:lnTo>
                      <a:pt x="53355" y="56046"/>
                    </a:lnTo>
                    <a:lnTo>
                      <a:pt x="57433" y="62301"/>
                    </a:lnTo>
                    <a:lnTo>
                      <a:pt x="59568" y="70147"/>
                    </a:lnTo>
                    <a:lnTo>
                      <a:pt x="59258" y="74502"/>
                    </a:lnTo>
                    <a:lnTo>
                      <a:pt x="57160" y="77808"/>
                    </a:lnTo>
                    <a:lnTo>
                      <a:pt x="58912" y="87444"/>
                    </a:lnTo>
                    <a:lnTo>
                      <a:pt x="65282" y="94957"/>
                    </a:lnTo>
                    <a:lnTo>
                      <a:pt x="64755" y="101417"/>
                    </a:lnTo>
                    <a:lnTo>
                      <a:pt x="65929" y="103704"/>
                    </a:lnTo>
                    <a:lnTo>
                      <a:pt x="71546" y="107176"/>
                    </a:lnTo>
                    <a:lnTo>
                      <a:pt x="68033" y="108581"/>
                    </a:lnTo>
                    <a:lnTo>
                      <a:pt x="66535" y="113397"/>
                    </a:lnTo>
                    <a:lnTo>
                      <a:pt x="62937" y="114512"/>
                    </a:lnTo>
                    <a:lnTo>
                      <a:pt x="56917" y="115516"/>
                    </a:lnTo>
                    <a:lnTo>
                      <a:pt x="45019" y="110090"/>
                    </a:lnTo>
                    <a:lnTo>
                      <a:pt x="41593" y="114182"/>
                    </a:lnTo>
                    <a:lnTo>
                      <a:pt x="32811" y="116542"/>
                    </a:lnTo>
                    <a:lnTo>
                      <a:pt x="29770" y="112347"/>
                    </a:lnTo>
                    <a:lnTo>
                      <a:pt x="23792" y="111214"/>
                    </a:lnTo>
                    <a:lnTo>
                      <a:pt x="16142" y="117769"/>
                    </a:lnTo>
                    <a:lnTo>
                      <a:pt x="13772" y="117537"/>
                    </a:lnTo>
                    <a:lnTo>
                      <a:pt x="11509" y="99890"/>
                    </a:lnTo>
                    <a:lnTo>
                      <a:pt x="8803" y="95192"/>
                    </a:lnTo>
                    <a:lnTo>
                      <a:pt x="10080" y="91537"/>
                    </a:lnTo>
                    <a:lnTo>
                      <a:pt x="15465" y="87120"/>
                    </a:lnTo>
                    <a:lnTo>
                      <a:pt x="10397" y="83683"/>
                    </a:lnTo>
                    <a:lnTo>
                      <a:pt x="9293" y="80031"/>
                    </a:lnTo>
                    <a:lnTo>
                      <a:pt x="9450" y="67908"/>
                    </a:lnTo>
                    <a:lnTo>
                      <a:pt x="11043" y="56409"/>
                    </a:lnTo>
                    <a:lnTo>
                      <a:pt x="8470" y="44271"/>
                    </a:lnTo>
                    <a:lnTo>
                      <a:pt x="0" y="34831"/>
                    </a:lnTo>
                    <a:lnTo>
                      <a:pt x="2897" y="30386"/>
                    </a:lnTo>
                    <a:lnTo>
                      <a:pt x="2836" y="26567"/>
                    </a:lnTo>
                    <a:lnTo>
                      <a:pt x="5245" y="23284"/>
                    </a:lnTo>
                    <a:lnTo>
                      <a:pt x="5699" y="19529"/>
                    </a:lnTo>
                    <a:lnTo>
                      <a:pt x="6136" y="16031"/>
                    </a:lnTo>
                    <a:lnTo>
                      <a:pt x="6138" y="16018"/>
                    </a:lnTo>
                    <a:lnTo>
                      <a:pt x="24466" y="15994"/>
                    </a:lnTo>
                    <a:lnTo>
                      <a:pt x="49859" y="5508"/>
                    </a:lnTo>
                    <a:lnTo>
                      <a:pt x="64974" y="5076"/>
                    </a:lnTo>
                    <a:lnTo>
                      <a:pt x="68750" y="2444"/>
                    </a:lnTo>
                    <a:lnTo>
                      <a:pt x="70692" y="0"/>
                    </a:lnTo>
                    <a:lnTo>
                      <a:pt x="70699" y="14"/>
                    </a:lnTo>
                    <a:lnTo>
                      <a:pt x="71627" y="1577"/>
                    </a:lnTo>
                    <a:lnTo>
                      <a:pt x="71581" y="1733"/>
                    </a:lnTo>
                    <a:lnTo>
                      <a:pt x="73658" y="5325"/>
                    </a:lnTo>
                    <a:lnTo>
                      <a:pt x="73133" y="10401"/>
                    </a:lnTo>
                    <a:lnTo>
                      <a:pt x="74843" y="14194"/>
                    </a:lnTo>
                    <a:lnTo>
                      <a:pt x="73906" y="2308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99" name="Freeform 101">
                <a:extLst>
                  <a:ext uri="{FF2B5EF4-FFF2-40B4-BE49-F238E27FC236}">
                    <a16:creationId xmlns:a16="http://schemas.microsoft.com/office/drawing/2014/main" id="{282DB917-C4D2-C6E8-FC30-CEC67FD5ED03}"/>
                  </a:ext>
                </a:extLst>
              </p:cNvPr>
              <p:cNvSpPr>
                <a:spLocks noChangeAspect="1"/>
              </p:cNvSpPr>
              <p:nvPr>
                <p:custDataLst>
                  <p:tags r:id="rId230"/>
                </p:custDataLst>
              </p:nvPr>
            </p:nvSpPr>
            <p:spPr>
              <a:xfrm>
                <a:off x="1650465" y="3662768"/>
                <a:ext cx="88963" cy="89387"/>
              </a:xfrm>
              <a:custGeom>
                <a:avLst/>
                <a:gdLst/>
                <a:ahLst/>
                <a:cxnLst/>
                <a:rect l="0" t="0" r="0" b="0"/>
                <a:pathLst>
                  <a:path w="91341" h="91776">
                    <a:moveTo>
                      <a:pt x="34510" y="4756"/>
                    </a:moveTo>
                    <a:lnTo>
                      <a:pt x="39860" y="3298"/>
                    </a:lnTo>
                    <a:lnTo>
                      <a:pt x="39578" y="5500"/>
                    </a:lnTo>
                    <a:lnTo>
                      <a:pt x="42015" y="9657"/>
                    </a:lnTo>
                    <a:lnTo>
                      <a:pt x="48747" y="5478"/>
                    </a:lnTo>
                    <a:lnTo>
                      <a:pt x="52203" y="5624"/>
                    </a:lnTo>
                    <a:lnTo>
                      <a:pt x="55445" y="9378"/>
                    </a:lnTo>
                    <a:lnTo>
                      <a:pt x="58946" y="16956"/>
                    </a:lnTo>
                    <a:lnTo>
                      <a:pt x="63729" y="18965"/>
                    </a:lnTo>
                    <a:lnTo>
                      <a:pt x="84973" y="13556"/>
                    </a:lnTo>
                    <a:lnTo>
                      <a:pt x="85061" y="22059"/>
                    </a:lnTo>
                    <a:lnTo>
                      <a:pt x="82901" y="25589"/>
                    </a:lnTo>
                    <a:lnTo>
                      <a:pt x="83953" y="28397"/>
                    </a:lnTo>
                    <a:lnTo>
                      <a:pt x="83815" y="33383"/>
                    </a:lnTo>
                    <a:lnTo>
                      <a:pt x="90906" y="46305"/>
                    </a:lnTo>
                    <a:lnTo>
                      <a:pt x="91340" y="49088"/>
                    </a:lnTo>
                    <a:lnTo>
                      <a:pt x="90580" y="51391"/>
                    </a:lnTo>
                    <a:lnTo>
                      <a:pt x="87093" y="50205"/>
                    </a:lnTo>
                    <a:lnTo>
                      <a:pt x="80197" y="55224"/>
                    </a:lnTo>
                    <a:lnTo>
                      <a:pt x="73828" y="55935"/>
                    </a:lnTo>
                    <a:lnTo>
                      <a:pt x="70196" y="58435"/>
                    </a:lnTo>
                    <a:lnTo>
                      <a:pt x="61828" y="57557"/>
                    </a:lnTo>
                    <a:lnTo>
                      <a:pt x="60315" y="61635"/>
                    </a:lnTo>
                    <a:lnTo>
                      <a:pt x="60976" y="67839"/>
                    </a:lnTo>
                    <a:lnTo>
                      <a:pt x="59501" y="69477"/>
                    </a:lnTo>
                    <a:lnTo>
                      <a:pt x="56406" y="66048"/>
                    </a:lnTo>
                    <a:lnTo>
                      <a:pt x="54019" y="66580"/>
                    </a:lnTo>
                    <a:lnTo>
                      <a:pt x="51498" y="69775"/>
                    </a:lnTo>
                    <a:lnTo>
                      <a:pt x="46618" y="67019"/>
                    </a:lnTo>
                    <a:lnTo>
                      <a:pt x="42352" y="71284"/>
                    </a:lnTo>
                    <a:lnTo>
                      <a:pt x="33576" y="72617"/>
                    </a:lnTo>
                    <a:lnTo>
                      <a:pt x="33100" y="73772"/>
                    </a:lnTo>
                    <a:lnTo>
                      <a:pt x="35117" y="77783"/>
                    </a:lnTo>
                    <a:lnTo>
                      <a:pt x="39552" y="81167"/>
                    </a:lnTo>
                    <a:lnTo>
                      <a:pt x="36004" y="84197"/>
                    </a:lnTo>
                    <a:lnTo>
                      <a:pt x="36655" y="91775"/>
                    </a:lnTo>
                    <a:lnTo>
                      <a:pt x="30982" y="88862"/>
                    </a:lnTo>
                    <a:lnTo>
                      <a:pt x="20659" y="89063"/>
                    </a:lnTo>
                    <a:lnTo>
                      <a:pt x="21123" y="86513"/>
                    </a:lnTo>
                    <a:lnTo>
                      <a:pt x="18191" y="77824"/>
                    </a:lnTo>
                    <a:lnTo>
                      <a:pt x="12574" y="74352"/>
                    </a:lnTo>
                    <a:lnTo>
                      <a:pt x="11400" y="72065"/>
                    </a:lnTo>
                    <a:lnTo>
                      <a:pt x="11927" y="65605"/>
                    </a:lnTo>
                    <a:lnTo>
                      <a:pt x="5557" y="58092"/>
                    </a:lnTo>
                    <a:lnTo>
                      <a:pt x="3805" y="48456"/>
                    </a:lnTo>
                    <a:lnTo>
                      <a:pt x="5903" y="45150"/>
                    </a:lnTo>
                    <a:lnTo>
                      <a:pt x="6213" y="40795"/>
                    </a:lnTo>
                    <a:lnTo>
                      <a:pt x="4078" y="32949"/>
                    </a:lnTo>
                    <a:lnTo>
                      <a:pt x="0" y="26694"/>
                    </a:lnTo>
                    <a:lnTo>
                      <a:pt x="6140" y="22405"/>
                    </a:lnTo>
                    <a:lnTo>
                      <a:pt x="8063" y="18895"/>
                    </a:lnTo>
                    <a:lnTo>
                      <a:pt x="9896" y="6325"/>
                    </a:lnTo>
                    <a:lnTo>
                      <a:pt x="16481" y="1945"/>
                    </a:lnTo>
                    <a:lnTo>
                      <a:pt x="22174" y="2199"/>
                    </a:lnTo>
                    <a:lnTo>
                      <a:pt x="22757" y="0"/>
                    </a:lnTo>
                    <a:lnTo>
                      <a:pt x="30932" y="5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0" name="Freeform 102">
                <a:extLst>
                  <a:ext uri="{FF2B5EF4-FFF2-40B4-BE49-F238E27FC236}">
                    <a16:creationId xmlns:a16="http://schemas.microsoft.com/office/drawing/2014/main" id="{217C332C-F378-5F3A-B612-214375378992}"/>
                  </a:ext>
                </a:extLst>
              </p:cNvPr>
              <p:cNvSpPr>
                <a:spLocks noChangeAspect="1"/>
              </p:cNvSpPr>
              <p:nvPr>
                <p:custDataLst>
                  <p:tags r:id="rId231"/>
                </p:custDataLst>
              </p:nvPr>
            </p:nvSpPr>
            <p:spPr>
              <a:xfrm>
                <a:off x="1530348" y="3641221"/>
                <a:ext cx="84065" cy="141416"/>
              </a:xfrm>
              <a:custGeom>
                <a:avLst/>
                <a:gdLst/>
                <a:ahLst/>
                <a:cxnLst/>
                <a:rect l="0" t="0" r="0" b="0"/>
                <a:pathLst>
                  <a:path w="86312" h="145196">
                    <a:moveTo>
                      <a:pt x="76111" y="8788"/>
                    </a:moveTo>
                    <a:lnTo>
                      <a:pt x="76109" y="8801"/>
                    </a:lnTo>
                    <a:lnTo>
                      <a:pt x="75672" y="12299"/>
                    </a:lnTo>
                    <a:lnTo>
                      <a:pt x="75218" y="16054"/>
                    </a:lnTo>
                    <a:lnTo>
                      <a:pt x="72809" y="19337"/>
                    </a:lnTo>
                    <a:lnTo>
                      <a:pt x="72870" y="23156"/>
                    </a:lnTo>
                    <a:lnTo>
                      <a:pt x="69973" y="27601"/>
                    </a:lnTo>
                    <a:lnTo>
                      <a:pt x="78443" y="37041"/>
                    </a:lnTo>
                    <a:lnTo>
                      <a:pt x="81016" y="49179"/>
                    </a:lnTo>
                    <a:lnTo>
                      <a:pt x="79423" y="60678"/>
                    </a:lnTo>
                    <a:lnTo>
                      <a:pt x="79266" y="72801"/>
                    </a:lnTo>
                    <a:lnTo>
                      <a:pt x="80370" y="76453"/>
                    </a:lnTo>
                    <a:lnTo>
                      <a:pt x="85438" y="79890"/>
                    </a:lnTo>
                    <a:lnTo>
                      <a:pt x="80053" y="84307"/>
                    </a:lnTo>
                    <a:lnTo>
                      <a:pt x="78776" y="87962"/>
                    </a:lnTo>
                    <a:lnTo>
                      <a:pt x="81482" y="92660"/>
                    </a:lnTo>
                    <a:lnTo>
                      <a:pt x="83745" y="110307"/>
                    </a:lnTo>
                    <a:lnTo>
                      <a:pt x="86311" y="114158"/>
                    </a:lnTo>
                    <a:lnTo>
                      <a:pt x="84304" y="119054"/>
                    </a:lnTo>
                    <a:lnTo>
                      <a:pt x="83819" y="127849"/>
                    </a:lnTo>
                    <a:lnTo>
                      <a:pt x="75912" y="134586"/>
                    </a:lnTo>
                    <a:lnTo>
                      <a:pt x="58736" y="131845"/>
                    </a:lnTo>
                    <a:lnTo>
                      <a:pt x="58575" y="139807"/>
                    </a:lnTo>
                    <a:lnTo>
                      <a:pt x="52021" y="145195"/>
                    </a:lnTo>
                    <a:lnTo>
                      <a:pt x="46801" y="140385"/>
                    </a:lnTo>
                    <a:lnTo>
                      <a:pt x="41774" y="141832"/>
                    </a:lnTo>
                    <a:lnTo>
                      <a:pt x="35826" y="140778"/>
                    </a:lnTo>
                    <a:lnTo>
                      <a:pt x="31609" y="144280"/>
                    </a:lnTo>
                    <a:lnTo>
                      <a:pt x="25655" y="135054"/>
                    </a:lnTo>
                    <a:lnTo>
                      <a:pt x="25992" y="123690"/>
                    </a:lnTo>
                    <a:lnTo>
                      <a:pt x="27696" y="119103"/>
                    </a:lnTo>
                    <a:lnTo>
                      <a:pt x="25349" y="116113"/>
                    </a:lnTo>
                    <a:lnTo>
                      <a:pt x="24092" y="107227"/>
                    </a:lnTo>
                    <a:lnTo>
                      <a:pt x="17718" y="101891"/>
                    </a:lnTo>
                    <a:lnTo>
                      <a:pt x="15858" y="95426"/>
                    </a:lnTo>
                    <a:lnTo>
                      <a:pt x="15358" y="86361"/>
                    </a:lnTo>
                    <a:lnTo>
                      <a:pt x="18112" y="79288"/>
                    </a:lnTo>
                    <a:lnTo>
                      <a:pt x="12218" y="77574"/>
                    </a:lnTo>
                    <a:lnTo>
                      <a:pt x="8435" y="78867"/>
                    </a:lnTo>
                    <a:lnTo>
                      <a:pt x="4333" y="65367"/>
                    </a:lnTo>
                    <a:lnTo>
                      <a:pt x="0" y="59933"/>
                    </a:lnTo>
                    <a:lnTo>
                      <a:pt x="5472" y="53996"/>
                    </a:lnTo>
                    <a:lnTo>
                      <a:pt x="5646" y="53719"/>
                    </a:lnTo>
                    <a:lnTo>
                      <a:pt x="5659" y="53699"/>
                    </a:lnTo>
                    <a:lnTo>
                      <a:pt x="9056" y="55720"/>
                    </a:lnTo>
                    <a:lnTo>
                      <a:pt x="16523" y="57220"/>
                    </a:lnTo>
                    <a:lnTo>
                      <a:pt x="24106" y="56512"/>
                    </a:lnTo>
                    <a:lnTo>
                      <a:pt x="26684" y="54777"/>
                    </a:lnTo>
                    <a:lnTo>
                      <a:pt x="31771" y="48843"/>
                    </a:lnTo>
                    <a:lnTo>
                      <a:pt x="35101" y="46647"/>
                    </a:lnTo>
                    <a:lnTo>
                      <a:pt x="35221" y="41734"/>
                    </a:lnTo>
                    <a:lnTo>
                      <a:pt x="37303" y="34848"/>
                    </a:lnTo>
                    <a:lnTo>
                      <a:pt x="40235" y="28724"/>
                    </a:lnTo>
                    <a:lnTo>
                      <a:pt x="42876" y="26150"/>
                    </a:lnTo>
                    <a:lnTo>
                      <a:pt x="45586" y="22565"/>
                    </a:lnTo>
                    <a:lnTo>
                      <a:pt x="47829" y="5381"/>
                    </a:lnTo>
                    <a:lnTo>
                      <a:pt x="49430" y="105"/>
                    </a:lnTo>
                    <a:lnTo>
                      <a:pt x="52900" y="0"/>
                    </a:lnTo>
                    <a:lnTo>
                      <a:pt x="61976" y="6854"/>
                    </a:lnTo>
                    <a:lnTo>
                      <a:pt x="66200" y="879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1" name="Freeform 103">
                <a:extLst>
                  <a:ext uri="{FF2B5EF4-FFF2-40B4-BE49-F238E27FC236}">
                    <a16:creationId xmlns:a16="http://schemas.microsoft.com/office/drawing/2014/main" id="{90EBB448-D943-32B1-5571-E9B4762CA263}"/>
                  </a:ext>
                </a:extLst>
              </p:cNvPr>
              <p:cNvSpPr>
                <a:spLocks noChangeAspect="1"/>
              </p:cNvSpPr>
              <p:nvPr>
                <p:custDataLst>
                  <p:tags r:id="rId232"/>
                </p:custDataLst>
              </p:nvPr>
            </p:nvSpPr>
            <p:spPr>
              <a:xfrm>
                <a:off x="1783744" y="3865816"/>
                <a:ext cx="43833" cy="51614"/>
              </a:xfrm>
              <a:custGeom>
                <a:avLst/>
                <a:gdLst/>
                <a:ahLst/>
                <a:cxnLst/>
                <a:rect l="0" t="0" r="0" b="0"/>
                <a:pathLst>
                  <a:path w="45005" h="52994">
                    <a:moveTo>
                      <a:pt x="44575" y="1630"/>
                    </a:moveTo>
                    <a:lnTo>
                      <a:pt x="43433" y="9989"/>
                    </a:lnTo>
                    <a:lnTo>
                      <a:pt x="45004" y="12689"/>
                    </a:lnTo>
                    <a:lnTo>
                      <a:pt x="44655" y="14061"/>
                    </a:lnTo>
                    <a:lnTo>
                      <a:pt x="40077" y="16566"/>
                    </a:lnTo>
                    <a:lnTo>
                      <a:pt x="35920" y="23016"/>
                    </a:lnTo>
                    <a:lnTo>
                      <a:pt x="36873" y="27711"/>
                    </a:lnTo>
                    <a:lnTo>
                      <a:pt x="28723" y="35514"/>
                    </a:lnTo>
                    <a:lnTo>
                      <a:pt x="29314" y="48595"/>
                    </a:lnTo>
                    <a:lnTo>
                      <a:pt x="25681" y="48470"/>
                    </a:lnTo>
                    <a:lnTo>
                      <a:pt x="18185" y="52993"/>
                    </a:lnTo>
                    <a:lnTo>
                      <a:pt x="14703" y="48524"/>
                    </a:lnTo>
                    <a:lnTo>
                      <a:pt x="14283" y="44794"/>
                    </a:lnTo>
                    <a:lnTo>
                      <a:pt x="12018" y="44280"/>
                    </a:lnTo>
                    <a:lnTo>
                      <a:pt x="10909" y="37334"/>
                    </a:lnTo>
                    <a:lnTo>
                      <a:pt x="7685" y="34463"/>
                    </a:lnTo>
                    <a:lnTo>
                      <a:pt x="6626" y="29426"/>
                    </a:lnTo>
                    <a:lnTo>
                      <a:pt x="0" y="23556"/>
                    </a:lnTo>
                    <a:lnTo>
                      <a:pt x="1383" y="20958"/>
                    </a:lnTo>
                    <a:lnTo>
                      <a:pt x="10898" y="16724"/>
                    </a:lnTo>
                    <a:lnTo>
                      <a:pt x="13659" y="13433"/>
                    </a:lnTo>
                    <a:lnTo>
                      <a:pt x="21509" y="12423"/>
                    </a:lnTo>
                    <a:lnTo>
                      <a:pt x="26415" y="9412"/>
                    </a:lnTo>
                    <a:lnTo>
                      <a:pt x="31200" y="9892"/>
                    </a:lnTo>
                    <a:lnTo>
                      <a:pt x="33319" y="1785"/>
                    </a:lnTo>
                    <a:lnTo>
                      <a:pt x="3694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2" name="Freeform 134">
                <a:extLst>
                  <a:ext uri="{FF2B5EF4-FFF2-40B4-BE49-F238E27FC236}">
                    <a16:creationId xmlns:a16="http://schemas.microsoft.com/office/drawing/2014/main" id="{4C7EE35E-6288-9560-1715-59042757138B}"/>
                  </a:ext>
                </a:extLst>
              </p:cNvPr>
              <p:cNvSpPr>
                <a:spLocks noChangeAspect="1"/>
              </p:cNvSpPr>
              <p:nvPr>
                <p:custDataLst>
                  <p:tags r:id="rId233"/>
                </p:custDataLst>
              </p:nvPr>
            </p:nvSpPr>
            <p:spPr>
              <a:xfrm>
                <a:off x="1361506" y="3729152"/>
                <a:ext cx="223398" cy="124178"/>
              </a:xfrm>
              <a:custGeom>
                <a:avLst/>
                <a:gdLst/>
                <a:ahLst/>
                <a:cxnLst/>
                <a:rect l="0" t="0" r="0" b="0"/>
                <a:pathLst>
                  <a:path w="229370" h="127497">
                    <a:moveTo>
                      <a:pt x="133576" y="11894"/>
                    </a:moveTo>
                    <a:lnTo>
                      <a:pt x="139688" y="9586"/>
                    </a:lnTo>
                    <a:lnTo>
                      <a:pt x="151636" y="13530"/>
                    </a:lnTo>
                    <a:lnTo>
                      <a:pt x="151872" y="14828"/>
                    </a:lnTo>
                    <a:lnTo>
                      <a:pt x="147498" y="20967"/>
                    </a:lnTo>
                    <a:lnTo>
                      <a:pt x="147969" y="23554"/>
                    </a:lnTo>
                    <a:lnTo>
                      <a:pt x="162574" y="25717"/>
                    </a:lnTo>
                    <a:lnTo>
                      <a:pt x="162314" y="32942"/>
                    </a:lnTo>
                    <a:lnTo>
                      <a:pt x="165082" y="36177"/>
                    </a:lnTo>
                    <a:lnTo>
                      <a:pt x="162640" y="39339"/>
                    </a:lnTo>
                    <a:lnTo>
                      <a:pt x="164841" y="40635"/>
                    </a:lnTo>
                    <a:lnTo>
                      <a:pt x="172282" y="38691"/>
                    </a:lnTo>
                    <a:lnTo>
                      <a:pt x="181927" y="49507"/>
                    </a:lnTo>
                    <a:lnTo>
                      <a:pt x="183117" y="53506"/>
                    </a:lnTo>
                    <a:lnTo>
                      <a:pt x="191756" y="57053"/>
                    </a:lnTo>
                    <a:lnTo>
                      <a:pt x="196984" y="54230"/>
                    </a:lnTo>
                    <a:lnTo>
                      <a:pt x="204964" y="53999"/>
                    </a:lnTo>
                    <a:lnTo>
                      <a:pt x="209181" y="50497"/>
                    </a:lnTo>
                    <a:lnTo>
                      <a:pt x="215129" y="51551"/>
                    </a:lnTo>
                    <a:lnTo>
                      <a:pt x="220156" y="50104"/>
                    </a:lnTo>
                    <a:lnTo>
                      <a:pt x="225376" y="54914"/>
                    </a:lnTo>
                    <a:lnTo>
                      <a:pt x="224787" y="60323"/>
                    </a:lnTo>
                    <a:lnTo>
                      <a:pt x="228959" y="65218"/>
                    </a:lnTo>
                    <a:lnTo>
                      <a:pt x="229369" y="67887"/>
                    </a:lnTo>
                    <a:lnTo>
                      <a:pt x="228207" y="70499"/>
                    </a:lnTo>
                    <a:lnTo>
                      <a:pt x="221758" y="73143"/>
                    </a:lnTo>
                    <a:lnTo>
                      <a:pt x="216434" y="72994"/>
                    </a:lnTo>
                    <a:lnTo>
                      <a:pt x="212370" y="69703"/>
                    </a:lnTo>
                    <a:lnTo>
                      <a:pt x="206466" y="68750"/>
                    </a:lnTo>
                    <a:lnTo>
                      <a:pt x="201408" y="71892"/>
                    </a:lnTo>
                    <a:lnTo>
                      <a:pt x="187928" y="74060"/>
                    </a:lnTo>
                    <a:lnTo>
                      <a:pt x="181761" y="78304"/>
                    </a:lnTo>
                    <a:lnTo>
                      <a:pt x="160739" y="75698"/>
                    </a:lnTo>
                    <a:lnTo>
                      <a:pt x="152795" y="78461"/>
                    </a:lnTo>
                    <a:lnTo>
                      <a:pt x="146427" y="84066"/>
                    </a:lnTo>
                    <a:lnTo>
                      <a:pt x="143658" y="81787"/>
                    </a:lnTo>
                    <a:lnTo>
                      <a:pt x="137727" y="82517"/>
                    </a:lnTo>
                    <a:lnTo>
                      <a:pt x="132479" y="90840"/>
                    </a:lnTo>
                    <a:lnTo>
                      <a:pt x="118772" y="96457"/>
                    </a:lnTo>
                    <a:lnTo>
                      <a:pt x="112910" y="105361"/>
                    </a:lnTo>
                    <a:lnTo>
                      <a:pt x="107126" y="109818"/>
                    </a:lnTo>
                    <a:lnTo>
                      <a:pt x="106305" y="114459"/>
                    </a:lnTo>
                    <a:lnTo>
                      <a:pt x="101113" y="114893"/>
                    </a:lnTo>
                    <a:lnTo>
                      <a:pt x="97523" y="111084"/>
                    </a:lnTo>
                    <a:lnTo>
                      <a:pt x="91326" y="111890"/>
                    </a:lnTo>
                    <a:lnTo>
                      <a:pt x="83785" y="115592"/>
                    </a:lnTo>
                    <a:lnTo>
                      <a:pt x="83312" y="113329"/>
                    </a:lnTo>
                    <a:lnTo>
                      <a:pt x="80288" y="113477"/>
                    </a:lnTo>
                    <a:lnTo>
                      <a:pt x="68347" y="119671"/>
                    </a:lnTo>
                    <a:lnTo>
                      <a:pt x="59303" y="118593"/>
                    </a:lnTo>
                    <a:lnTo>
                      <a:pt x="49836" y="127496"/>
                    </a:lnTo>
                    <a:lnTo>
                      <a:pt x="46710" y="125788"/>
                    </a:lnTo>
                    <a:lnTo>
                      <a:pt x="46709" y="125768"/>
                    </a:lnTo>
                    <a:lnTo>
                      <a:pt x="46588" y="118293"/>
                    </a:lnTo>
                    <a:lnTo>
                      <a:pt x="44276" y="117538"/>
                    </a:lnTo>
                    <a:lnTo>
                      <a:pt x="40687" y="119850"/>
                    </a:lnTo>
                    <a:lnTo>
                      <a:pt x="36867" y="121434"/>
                    </a:lnTo>
                    <a:lnTo>
                      <a:pt x="33504" y="119879"/>
                    </a:lnTo>
                    <a:lnTo>
                      <a:pt x="26831" y="113031"/>
                    </a:lnTo>
                    <a:lnTo>
                      <a:pt x="23897" y="111066"/>
                    </a:lnTo>
                    <a:lnTo>
                      <a:pt x="22200" y="111474"/>
                    </a:lnTo>
                    <a:lnTo>
                      <a:pt x="18614" y="113881"/>
                    </a:lnTo>
                    <a:lnTo>
                      <a:pt x="16772" y="113685"/>
                    </a:lnTo>
                    <a:lnTo>
                      <a:pt x="15157" y="111684"/>
                    </a:lnTo>
                    <a:lnTo>
                      <a:pt x="13240" y="106713"/>
                    </a:lnTo>
                    <a:lnTo>
                      <a:pt x="11458" y="105392"/>
                    </a:lnTo>
                    <a:lnTo>
                      <a:pt x="7709" y="104064"/>
                    </a:lnTo>
                    <a:lnTo>
                      <a:pt x="4214" y="101446"/>
                    </a:lnTo>
                    <a:lnTo>
                      <a:pt x="2655" y="97388"/>
                    </a:lnTo>
                    <a:lnTo>
                      <a:pt x="4719" y="91761"/>
                    </a:lnTo>
                    <a:lnTo>
                      <a:pt x="3424" y="90926"/>
                    </a:lnTo>
                    <a:lnTo>
                      <a:pt x="0" y="87618"/>
                    </a:lnTo>
                    <a:lnTo>
                      <a:pt x="11266" y="82857"/>
                    </a:lnTo>
                    <a:lnTo>
                      <a:pt x="19282" y="75708"/>
                    </a:lnTo>
                    <a:lnTo>
                      <a:pt x="22299" y="76056"/>
                    </a:lnTo>
                    <a:lnTo>
                      <a:pt x="28245" y="81971"/>
                    </a:lnTo>
                    <a:lnTo>
                      <a:pt x="35290" y="86290"/>
                    </a:lnTo>
                    <a:lnTo>
                      <a:pt x="42792" y="86200"/>
                    </a:lnTo>
                    <a:lnTo>
                      <a:pt x="50617" y="82308"/>
                    </a:lnTo>
                    <a:lnTo>
                      <a:pt x="58737" y="75186"/>
                    </a:lnTo>
                    <a:lnTo>
                      <a:pt x="62802" y="73096"/>
                    </a:lnTo>
                    <a:lnTo>
                      <a:pt x="70228" y="75661"/>
                    </a:lnTo>
                    <a:lnTo>
                      <a:pt x="76949" y="74005"/>
                    </a:lnTo>
                    <a:lnTo>
                      <a:pt x="80942" y="76557"/>
                    </a:lnTo>
                    <a:lnTo>
                      <a:pt x="83245" y="76811"/>
                    </a:lnTo>
                    <a:lnTo>
                      <a:pt x="86197" y="75720"/>
                    </a:lnTo>
                    <a:lnTo>
                      <a:pt x="86256" y="74912"/>
                    </a:lnTo>
                    <a:lnTo>
                      <a:pt x="85150" y="73540"/>
                    </a:lnTo>
                    <a:lnTo>
                      <a:pt x="84590" y="70639"/>
                    </a:lnTo>
                    <a:lnTo>
                      <a:pt x="85582" y="61161"/>
                    </a:lnTo>
                    <a:lnTo>
                      <a:pt x="87283" y="56097"/>
                    </a:lnTo>
                    <a:lnTo>
                      <a:pt x="104388" y="37115"/>
                    </a:lnTo>
                    <a:lnTo>
                      <a:pt x="108239" y="30551"/>
                    </a:lnTo>
                    <a:lnTo>
                      <a:pt x="110978" y="22500"/>
                    </a:lnTo>
                    <a:lnTo>
                      <a:pt x="111207" y="18516"/>
                    </a:lnTo>
                    <a:lnTo>
                      <a:pt x="110835" y="8761"/>
                    </a:lnTo>
                    <a:lnTo>
                      <a:pt x="111910" y="4293"/>
                    </a:lnTo>
                    <a:lnTo>
                      <a:pt x="113857" y="2051"/>
                    </a:lnTo>
                    <a:lnTo>
                      <a:pt x="118308" y="486"/>
                    </a:lnTo>
                    <a:lnTo>
                      <a:pt x="118641" y="0"/>
                    </a:lnTo>
                    <a:lnTo>
                      <a:pt x="118850" y="260"/>
                    </a:lnTo>
                    <a:lnTo>
                      <a:pt x="123752" y="3150"/>
                    </a:lnTo>
                    <a:lnTo>
                      <a:pt x="127239" y="1058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3" name="Freeform 135">
                <a:extLst>
                  <a:ext uri="{FF2B5EF4-FFF2-40B4-BE49-F238E27FC236}">
                    <a16:creationId xmlns:a16="http://schemas.microsoft.com/office/drawing/2014/main" id="{4505A285-9649-E8AB-A91A-845A6586814A}"/>
                  </a:ext>
                </a:extLst>
              </p:cNvPr>
              <p:cNvSpPr>
                <a:spLocks noChangeAspect="1"/>
              </p:cNvSpPr>
              <p:nvPr>
                <p:custDataLst>
                  <p:tags r:id="rId234"/>
                </p:custDataLst>
              </p:nvPr>
            </p:nvSpPr>
            <p:spPr>
              <a:xfrm>
                <a:off x="1303207" y="3851665"/>
                <a:ext cx="217789" cy="187325"/>
              </a:xfrm>
              <a:custGeom>
                <a:avLst/>
                <a:gdLst/>
                <a:ahLst/>
                <a:cxnLst/>
                <a:rect l="0" t="0" r="0" b="0"/>
                <a:pathLst>
                  <a:path w="223611" h="192333">
                    <a:moveTo>
                      <a:pt x="109693" y="1708"/>
                    </a:moveTo>
                    <a:lnTo>
                      <a:pt x="114340" y="10489"/>
                    </a:lnTo>
                    <a:lnTo>
                      <a:pt x="121292" y="10484"/>
                    </a:lnTo>
                    <a:lnTo>
                      <a:pt x="129973" y="18029"/>
                    </a:lnTo>
                    <a:lnTo>
                      <a:pt x="140808" y="17178"/>
                    </a:lnTo>
                    <a:lnTo>
                      <a:pt x="143854" y="22036"/>
                    </a:lnTo>
                    <a:lnTo>
                      <a:pt x="143757" y="24583"/>
                    </a:lnTo>
                    <a:lnTo>
                      <a:pt x="137605" y="25506"/>
                    </a:lnTo>
                    <a:lnTo>
                      <a:pt x="132883" y="39570"/>
                    </a:lnTo>
                    <a:lnTo>
                      <a:pt x="134884" y="43409"/>
                    </a:lnTo>
                    <a:lnTo>
                      <a:pt x="132948" y="47983"/>
                    </a:lnTo>
                    <a:lnTo>
                      <a:pt x="135966" y="58589"/>
                    </a:lnTo>
                    <a:lnTo>
                      <a:pt x="135469" y="68976"/>
                    </a:lnTo>
                    <a:lnTo>
                      <a:pt x="137909" y="69654"/>
                    </a:lnTo>
                    <a:lnTo>
                      <a:pt x="140449" y="74798"/>
                    </a:lnTo>
                    <a:lnTo>
                      <a:pt x="146284" y="78860"/>
                    </a:lnTo>
                    <a:lnTo>
                      <a:pt x="156034" y="72838"/>
                    </a:lnTo>
                    <a:lnTo>
                      <a:pt x="161817" y="72201"/>
                    </a:lnTo>
                    <a:lnTo>
                      <a:pt x="166381" y="68111"/>
                    </a:lnTo>
                    <a:lnTo>
                      <a:pt x="178707" y="71046"/>
                    </a:lnTo>
                    <a:lnTo>
                      <a:pt x="179603" y="75982"/>
                    </a:lnTo>
                    <a:lnTo>
                      <a:pt x="185841" y="81752"/>
                    </a:lnTo>
                    <a:lnTo>
                      <a:pt x="183436" y="89174"/>
                    </a:lnTo>
                    <a:lnTo>
                      <a:pt x="184600" y="94026"/>
                    </a:lnTo>
                    <a:lnTo>
                      <a:pt x="188060" y="96236"/>
                    </a:lnTo>
                    <a:lnTo>
                      <a:pt x="194354" y="95634"/>
                    </a:lnTo>
                    <a:lnTo>
                      <a:pt x="196536" y="97654"/>
                    </a:lnTo>
                    <a:lnTo>
                      <a:pt x="201298" y="111326"/>
                    </a:lnTo>
                    <a:lnTo>
                      <a:pt x="205926" y="114012"/>
                    </a:lnTo>
                    <a:lnTo>
                      <a:pt x="215443" y="108790"/>
                    </a:lnTo>
                    <a:lnTo>
                      <a:pt x="215557" y="109123"/>
                    </a:lnTo>
                    <a:lnTo>
                      <a:pt x="215604" y="109257"/>
                    </a:lnTo>
                    <a:lnTo>
                      <a:pt x="214921" y="109592"/>
                    </a:lnTo>
                    <a:lnTo>
                      <a:pt x="214490" y="111388"/>
                    </a:lnTo>
                    <a:lnTo>
                      <a:pt x="214918" y="113746"/>
                    </a:lnTo>
                    <a:lnTo>
                      <a:pt x="215665" y="115723"/>
                    </a:lnTo>
                    <a:lnTo>
                      <a:pt x="216220" y="116347"/>
                    </a:lnTo>
                    <a:lnTo>
                      <a:pt x="216288" y="116588"/>
                    </a:lnTo>
                    <a:lnTo>
                      <a:pt x="214373" y="120026"/>
                    </a:lnTo>
                    <a:lnTo>
                      <a:pt x="214089" y="119952"/>
                    </a:lnTo>
                    <a:lnTo>
                      <a:pt x="212786" y="121444"/>
                    </a:lnTo>
                    <a:lnTo>
                      <a:pt x="211148" y="120800"/>
                    </a:lnTo>
                    <a:lnTo>
                      <a:pt x="210064" y="121019"/>
                    </a:lnTo>
                    <a:lnTo>
                      <a:pt x="210383" y="125151"/>
                    </a:lnTo>
                    <a:lnTo>
                      <a:pt x="217652" y="129280"/>
                    </a:lnTo>
                    <a:lnTo>
                      <a:pt x="216034" y="134513"/>
                    </a:lnTo>
                    <a:lnTo>
                      <a:pt x="223610" y="141682"/>
                    </a:lnTo>
                    <a:lnTo>
                      <a:pt x="220292" y="145876"/>
                    </a:lnTo>
                    <a:lnTo>
                      <a:pt x="221388" y="152224"/>
                    </a:lnTo>
                    <a:lnTo>
                      <a:pt x="216450" y="155085"/>
                    </a:lnTo>
                    <a:lnTo>
                      <a:pt x="204055" y="157679"/>
                    </a:lnTo>
                    <a:lnTo>
                      <a:pt x="201410" y="159534"/>
                    </a:lnTo>
                    <a:lnTo>
                      <a:pt x="199475" y="161306"/>
                    </a:lnTo>
                    <a:lnTo>
                      <a:pt x="197908" y="163733"/>
                    </a:lnTo>
                    <a:lnTo>
                      <a:pt x="196444" y="167470"/>
                    </a:lnTo>
                    <a:lnTo>
                      <a:pt x="197434" y="169047"/>
                    </a:lnTo>
                    <a:lnTo>
                      <a:pt x="199415" y="170936"/>
                    </a:lnTo>
                    <a:lnTo>
                      <a:pt x="199582" y="172962"/>
                    </a:lnTo>
                    <a:lnTo>
                      <a:pt x="195087" y="174951"/>
                    </a:lnTo>
                    <a:lnTo>
                      <a:pt x="195884" y="178813"/>
                    </a:lnTo>
                    <a:lnTo>
                      <a:pt x="195083" y="182664"/>
                    </a:lnTo>
                    <a:lnTo>
                      <a:pt x="193285" y="185910"/>
                    </a:lnTo>
                    <a:lnTo>
                      <a:pt x="191078" y="188121"/>
                    </a:lnTo>
                    <a:lnTo>
                      <a:pt x="187919" y="189530"/>
                    </a:lnTo>
                    <a:lnTo>
                      <a:pt x="187203" y="188007"/>
                    </a:lnTo>
                    <a:lnTo>
                      <a:pt x="187625" y="184549"/>
                    </a:lnTo>
                    <a:lnTo>
                      <a:pt x="187843" y="180150"/>
                    </a:lnTo>
                    <a:lnTo>
                      <a:pt x="188341" y="176776"/>
                    </a:lnTo>
                    <a:lnTo>
                      <a:pt x="189139" y="174050"/>
                    </a:lnTo>
                    <a:lnTo>
                      <a:pt x="188430" y="173062"/>
                    </a:lnTo>
                    <a:lnTo>
                      <a:pt x="181409" y="176708"/>
                    </a:lnTo>
                    <a:lnTo>
                      <a:pt x="179695" y="178589"/>
                    </a:lnTo>
                    <a:lnTo>
                      <a:pt x="179554" y="181134"/>
                    </a:lnTo>
                    <a:lnTo>
                      <a:pt x="184067" y="192126"/>
                    </a:lnTo>
                    <a:lnTo>
                      <a:pt x="182680" y="192202"/>
                    </a:lnTo>
                    <a:lnTo>
                      <a:pt x="180324" y="192332"/>
                    </a:lnTo>
                    <a:lnTo>
                      <a:pt x="169681" y="188017"/>
                    </a:lnTo>
                    <a:lnTo>
                      <a:pt x="166343" y="188640"/>
                    </a:lnTo>
                    <a:lnTo>
                      <a:pt x="165366" y="188307"/>
                    </a:lnTo>
                    <a:lnTo>
                      <a:pt x="165020" y="186626"/>
                    </a:lnTo>
                    <a:lnTo>
                      <a:pt x="163569" y="183180"/>
                    </a:lnTo>
                    <a:lnTo>
                      <a:pt x="161751" y="182544"/>
                    </a:lnTo>
                    <a:lnTo>
                      <a:pt x="159490" y="182790"/>
                    </a:lnTo>
                    <a:lnTo>
                      <a:pt x="158737" y="182173"/>
                    </a:lnTo>
                    <a:lnTo>
                      <a:pt x="161408" y="178983"/>
                    </a:lnTo>
                    <a:lnTo>
                      <a:pt x="155859" y="178191"/>
                    </a:lnTo>
                    <a:lnTo>
                      <a:pt x="146246" y="185015"/>
                    </a:lnTo>
                    <a:lnTo>
                      <a:pt x="141374" y="185702"/>
                    </a:lnTo>
                    <a:lnTo>
                      <a:pt x="117859" y="178657"/>
                    </a:lnTo>
                    <a:lnTo>
                      <a:pt x="115342" y="176567"/>
                    </a:lnTo>
                    <a:lnTo>
                      <a:pt x="114805" y="173330"/>
                    </a:lnTo>
                    <a:lnTo>
                      <a:pt x="114637" y="169936"/>
                    </a:lnTo>
                    <a:lnTo>
                      <a:pt x="113224" y="167418"/>
                    </a:lnTo>
                    <a:lnTo>
                      <a:pt x="97870" y="154298"/>
                    </a:lnTo>
                    <a:lnTo>
                      <a:pt x="93938" y="153306"/>
                    </a:lnTo>
                    <a:lnTo>
                      <a:pt x="80617" y="153372"/>
                    </a:lnTo>
                    <a:lnTo>
                      <a:pt x="68481" y="150949"/>
                    </a:lnTo>
                    <a:lnTo>
                      <a:pt x="64306" y="147974"/>
                    </a:lnTo>
                    <a:lnTo>
                      <a:pt x="61729" y="141894"/>
                    </a:lnTo>
                    <a:lnTo>
                      <a:pt x="61908" y="124983"/>
                    </a:lnTo>
                    <a:lnTo>
                      <a:pt x="60821" y="118800"/>
                    </a:lnTo>
                    <a:lnTo>
                      <a:pt x="57708" y="116087"/>
                    </a:lnTo>
                    <a:lnTo>
                      <a:pt x="49083" y="114207"/>
                    </a:lnTo>
                    <a:lnTo>
                      <a:pt x="47356" y="113398"/>
                    </a:lnTo>
                    <a:lnTo>
                      <a:pt x="45463" y="112510"/>
                    </a:lnTo>
                    <a:lnTo>
                      <a:pt x="41914" y="107945"/>
                    </a:lnTo>
                    <a:lnTo>
                      <a:pt x="39373" y="102277"/>
                    </a:lnTo>
                    <a:lnTo>
                      <a:pt x="35448" y="90008"/>
                    </a:lnTo>
                    <a:lnTo>
                      <a:pt x="28976" y="89542"/>
                    </a:lnTo>
                    <a:lnTo>
                      <a:pt x="23589" y="86177"/>
                    </a:lnTo>
                    <a:lnTo>
                      <a:pt x="18741" y="80373"/>
                    </a:lnTo>
                    <a:lnTo>
                      <a:pt x="10205" y="66380"/>
                    </a:lnTo>
                    <a:lnTo>
                      <a:pt x="5295" y="60111"/>
                    </a:lnTo>
                    <a:lnTo>
                      <a:pt x="3361" y="56793"/>
                    </a:lnTo>
                    <a:lnTo>
                      <a:pt x="3104" y="53687"/>
                    </a:lnTo>
                    <a:lnTo>
                      <a:pt x="2627" y="50706"/>
                    </a:lnTo>
                    <a:lnTo>
                      <a:pt x="0" y="47874"/>
                    </a:lnTo>
                    <a:lnTo>
                      <a:pt x="1235" y="47292"/>
                    </a:lnTo>
                    <a:lnTo>
                      <a:pt x="5440" y="45312"/>
                    </a:lnTo>
                    <a:lnTo>
                      <a:pt x="17440" y="42595"/>
                    </a:lnTo>
                    <a:lnTo>
                      <a:pt x="23102" y="39726"/>
                    </a:lnTo>
                    <a:lnTo>
                      <a:pt x="25800" y="37510"/>
                    </a:lnTo>
                    <a:lnTo>
                      <a:pt x="27039" y="35969"/>
                    </a:lnTo>
                    <a:lnTo>
                      <a:pt x="30130" y="30552"/>
                    </a:lnTo>
                    <a:lnTo>
                      <a:pt x="35055" y="24186"/>
                    </a:lnTo>
                    <a:lnTo>
                      <a:pt x="40061" y="19250"/>
                    </a:lnTo>
                    <a:lnTo>
                      <a:pt x="56566" y="24300"/>
                    </a:lnTo>
                    <a:lnTo>
                      <a:pt x="65231" y="25212"/>
                    </a:lnTo>
                    <a:lnTo>
                      <a:pt x="73914" y="22399"/>
                    </a:lnTo>
                    <a:lnTo>
                      <a:pt x="97239" y="2702"/>
                    </a:lnTo>
                    <a:lnTo>
                      <a:pt x="106570" y="211"/>
                    </a:lnTo>
                    <a:lnTo>
                      <a:pt x="10656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4" name="Freeform 136">
                <a:extLst>
                  <a:ext uri="{FF2B5EF4-FFF2-40B4-BE49-F238E27FC236}">
                    <a16:creationId xmlns:a16="http://schemas.microsoft.com/office/drawing/2014/main" id="{3F1DDC5A-160C-1AF1-B533-DA88DD68B7B2}"/>
                  </a:ext>
                </a:extLst>
              </p:cNvPr>
              <p:cNvSpPr>
                <a:spLocks noChangeAspect="1"/>
              </p:cNvSpPr>
              <p:nvPr>
                <p:custDataLst>
                  <p:tags r:id="rId235"/>
                </p:custDataLst>
              </p:nvPr>
            </p:nvSpPr>
            <p:spPr>
              <a:xfrm>
                <a:off x="1811719" y="3847703"/>
                <a:ext cx="84315" cy="124656"/>
              </a:xfrm>
              <a:custGeom>
                <a:avLst/>
                <a:gdLst/>
                <a:ahLst/>
                <a:cxnLst/>
                <a:rect l="0" t="0" r="0" b="0"/>
                <a:pathLst>
                  <a:path w="86569" h="127988">
                    <a:moveTo>
                      <a:pt x="40098" y="78893"/>
                    </a:moveTo>
                    <a:lnTo>
                      <a:pt x="40096" y="78896"/>
                    </a:lnTo>
                    <a:lnTo>
                      <a:pt x="38524" y="81029"/>
                    </a:lnTo>
                    <a:lnTo>
                      <a:pt x="38509" y="80950"/>
                    </a:lnTo>
                    <a:lnTo>
                      <a:pt x="22836" y="84930"/>
                    </a:lnTo>
                    <a:lnTo>
                      <a:pt x="19386" y="83117"/>
                    </a:lnTo>
                    <a:lnTo>
                      <a:pt x="18081" y="79676"/>
                    </a:lnTo>
                    <a:lnTo>
                      <a:pt x="6435" y="77162"/>
                    </a:lnTo>
                    <a:lnTo>
                      <a:pt x="591" y="67192"/>
                    </a:lnTo>
                    <a:lnTo>
                      <a:pt x="0" y="54111"/>
                    </a:lnTo>
                    <a:lnTo>
                      <a:pt x="8150" y="46308"/>
                    </a:lnTo>
                    <a:lnTo>
                      <a:pt x="7197" y="41613"/>
                    </a:lnTo>
                    <a:lnTo>
                      <a:pt x="11354" y="35163"/>
                    </a:lnTo>
                    <a:lnTo>
                      <a:pt x="15932" y="32658"/>
                    </a:lnTo>
                    <a:lnTo>
                      <a:pt x="16281" y="31286"/>
                    </a:lnTo>
                    <a:lnTo>
                      <a:pt x="14710" y="28586"/>
                    </a:lnTo>
                    <a:lnTo>
                      <a:pt x="15852" y="20227"/>
                    </a:lnTo>
                    <a:lnTo>
                      <a:pt x="22227" y="15459"/>
                    </a:lnTo>
                    <a:lnTo>
                      <a:pt x="28725" y="19593"/>
                    </a:lnTo>
                    <a:lnTo>
                      <a:pt x="39539" y="19833"/>
                    </a:lnTo>
                    <a:lnTo>
                      <a:pt x="47171" y="15726"/>
                    </a:lnTo>
                    <a:lnTo>
                      <a:pt x="49874" y="9864"/>
                    </a:lnTo>
                    <a:lnTo>
                      <a:pt x="56041" y="7071"/>
                    </a:lnTo>
                    <a:lnTo>
                      <a:pt x="55823" y="2077"/>
                    </a:lnTo>
                    <a:lnTo>
                      <a:pt x="57388" y="1324"/>
                    </a:lnTo>
                    <a:lnTo>
                      <a:pt x="58965" y="9"/>
                    </a:lnTo>
                    <a:lnTo>
                      <a:pt x="58975" y="0"/>
                    </a:lnTo>
                    <a:lnTo>
                      <a:pt x="60687" y="3687"/>
                    </a:lnTo>
                    <a:lnTo>
                      <a:pt x="62771" y="4964"/>
                    </a:lnTo>
                    <a:lnTo>
                      <a:pt x="65065" y="5859"/>
                    </a:lnTo>
                    <a:lnTo>
                      <a:pt x="65736" y="8087"/>
                    </a:lnTo>
                    <a:lnTo>
                      <a:pt x="65747" y="11323"/>
                    </a:lnTo>
                    <a:lnTo>
                      <a:pt x="66223" y="15258"/>
                    </a:lnTo>
                    <a:lnTo>
                      <a:pt x="69296" y="28760"/>
                    </a:lnTo>
                    <a:lnTo>
                      <a:pt x="71753" y="34340"/>
                    </a:lnTo>
                    <a:lnTo>
                      <a:pt x="75417" y="36656"/>
                    </a:lnTo>
                    <a:lnTo>
                      <a:pt x="76829" y="39841"/>
                    </a:lnTo>
                    <a:lnTo>
                      <a:pt x="77724" y="54924"/>
                    </a:lnTo>
                    <a:lnTo>
                      <a:pt x="78517" y="60237"/>
                    </a:lnTo>
                    <a:lnTo>
                      <a:pt x="85198" y="71287"/>
                    </a:lnTo>
                    <a:lnTo>
                      <a:pt x="86568" y="72353"/>
                    </a:lnTo>
                    <a:lnTo>
                      <a:pt x="84956" y="75947"/>
                    </a:lnTo>
                    <a:lnTo>
                      <a:pt x="85131" y="78038"/>
                    </a:lnTo>
                    <a:lnTo>
                      <a:pt x="85765" y="79564"/>
                    </a:lnTo>
                    <a:lnTo>
                      <a:pt x="85627" y="81566"/>
                    </a:lnTo>
                    <a:lnTo>
                      <a:pt x="84449" y="83866"/>
                    </a:lnTo>
                    <a:lnTo>
                      <a:pt x="79973" y="90426"/>
                    </a:lnTo>
                    <a:lnTo>
                      <a:pt x="78473" y="95033"/>
                    </a:lnTo>
                    <a:lnTo>
                      <a:pt x="79818" y="101404"/>
                    </a:lnTo>
                    <a:lnTo>
                      <a:pt x="78793" y="107721"/>
                    </a:lnTo>
                    <a:lnTo>
                      <a:pt x="76554" y="110610"/>
                    </a:lnTo>
                    <a:lnTo>
                      <a:pt x="73555" y="113105"/>
                    </a:lnTo>
                    <a:lnTo>
                      <a:pt x="72325" y="116133"/>
                    </a:lnTo>
                    <a:lnTo>
                      <a:pt x="75380" y="120423"/>
                    </a:lnTo>
                    <a:lnTo>
                      <a:pt x="72047" y="122192"/>
                    </a:lnTo>
                    <a:lnTo>
                      <a:pt x="69117" y="127472"/>
                    </a:lnTo>
                    <a:lnTo>
                      <a:pt x="66037" y="127987"/>
                    </a:lnTo>
                    <a:lnTo>
                      <a:pt x="63474" y="125157"/>
                    </a:lnTo>
                    <a:lnTo>
                      <a:pt x="61560" y="119748"/>
                    </a:lnTo>
                    <a:lnTo>
                      <a:pt x="59533" y="112111"/>
                    </a:lnTo>
                    <a:lnTo>
                      <a:pt x="56931" y="110678"/>
                    </a:lnTo>
                    <a:lnTo>
                      <a:pt x="54700" y="107219"/>
                    </a:lnTo>
                    <a:lnTo>
                      <a:pt x="53239" y="102865"/>
                    </a:lnTo>
                    <a:lnTo>
                      <a:pt x="52970" y="98642"/>
                    </a:lnTo>
                    <a:lnTo>
                      <a:pt x="54609" y="94180"/>
                    </a:lnTo>
                    <a:lnTo>
                      <a:pt x="59916" y="87761"/>
                    </a:lnTo>
                    <a:lnTo>
                      <a:pt x="61200" y="82060"/>
                    </a:lnTo>
                    <a:lnTo>
                      <a:pt x="60747" y="70099"/>
                    </a:lnTo>
                    <a:lnTo>
                      <a:pt x="58647" y="61308"/>
                    </a:lnTo>
                    <a:lnTo>
                      <a:pt x="55013" y="54663"/>
                    </a:lnTo>
                    <a:lnTo>
                      <a:pt x="40061" y="39371"/>
                    </a:lnTo>
                    <a:lnTo>
                      <a:pt x="34198" y="35731"/>
                    </a:lnTo>
                    <a:lnTo>
                      <a:pt x="27544" y="35173"/>
                    </a:lnTo>
                    <a:lnTo>
                      <a:pt x="27459" y="37816"/>
                    </a:lnTo>
                    <a:lnTo>
                      <a:pt x="28961" y="41566"/>
                    </a:lnTo>
                    <a:lnTo>
                      <a:pt x="28226" y="45323"/>
                    </a:lnTo>
                    <a:lnTo>
                      <a:pt x="26209" y="48525"/>
                    </a:lnTo>
                    <a:lnTo>
                      <a:pt x="24007" y="50740"/>
                    </a:lnTo>
                    <a:lnTo>
                      <a:pt x="27131" y="50981"/>
                    </a:lnTo>
                    <a:lnTo>
                      <a:pt x="29540" y="52693"/>
                    </a:lnTo>
                    <a:lnTo>
                      <a:pt x="31450" y="54747"/>
                    </a:lnTo>
                    <a:lnTo>
                      <a:pt x="33062" y="56012"/>
                    </a:lnTo>
                    <a:lnTo>
                      <a:pt x="41267" y="56895"/>
                    </a:lnTo>
                    <a:lnTo>
                      <a:pt x="43714" y="59182"/>
                    </a:lnTo>
                    <a:lnTo>
                      <a:pt x="40054" y="60451"/>
                    </a:lnTo>
                    <a:lnTo>
                      <a:pt x="35144" y="61228"/>
                    </a:lnTo>
                    <a:lnTo>
                      <a:pt x="33672" y="62907"/>
                    </a:lnTo>
                    <a:lnTo>
                      <a:pt x="40283" y="66914"/>
                    </a:lnTo>
                    <a:lnTo>
                      <a:pt x="39073" y="71480"/>
                    </a:lnTo>
                    <a:lnTo>
                      <a:pt x="38969" y="7591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805" name="Freeform 224">
                <a:extLst>
                  <a:ext uri="{FF2B5EF4-FFF2-40B4-BE49-F238E27FC236}">
                    <a16:creationId xmlns:a16="http://schemas.microsoft.com/office/drawing/2014/main" id="{2CE15D97-DAA1-5DFF-C58C-8B22F52CFDF9}"/>
                  </a:ext>
                </a:extLst>
              </p:cNvPr>
              <p:cNvSpPr>
                <a:spLocks noChangeAspect="1"/>
              </p:cNvSpPr>
              <p:nvPr>
                <p:custDataLst>
                  <p:tags r:id="rId236"/>
                </p:custDataLst>
              </p:nvPr>
            </p:nvSpPr>
            <p:spPr>
              <a:xfrm>
                <a:off x="1667350" y="3604926"/>
                <a:ext cx="117540" cy="123171"/>
              </a:xfrm>
              <a:custGeom>
                <a:avLst/>
                <a:gdLst/>
                <a:ahLst/>
                <a:cxnLst/>
                <a:rect l="l" t="t" r="r" b="b"/>
                <a:pathLst>
                  <a:path w="120682" h="126464">
                    <a:moveTo>
                      <a:pt x="15669" y="21740"/>
                    </a:moveTo>
                    <a:lnTo>
                      <a:pt x="23278" y="26911"/>
                    </a:lnTo>
                    <a:lnTo>
                      <a:pt x="28453" y="28721"/>
                    </a:lnTo>
                    <a:lnTo>
                      <a:pt x="36905" y="23587"/>
                    </a:lnTo>
                    <a:lnTo>
                      <a:pt x="42346" y="25201"/>
                    </a:lnTo>
                    <a:lnTo>
                      <a:pt x="62975" y="38190"/>
                    </a:lnTo>
                    <a:lnTo>
                      <a:pt x="66428" y="39311"/>
                    </a:lnTo>
                    <a:lnTo>
                      <a:pt x="71290" y="38712"/>
                    </a:lnTo>
                    <a:lnTo>
                      <a:pt x="79727" y="35484"/>
                    </a:lnTo>
                    <a:lnTo>
                      <a:pt x="84014" y="34812"/>
                    </a:lnTo>
                    <a:lnTo>
                      <a:pt x="92487" y="36697"/>
                    </a:lnTo>
                    <a:lnTo>
                      <a:pt x="96732" y="38947"/>
                    </a:lnTo>
                    <a:lnTo>
                      <a:pt x="98493" y="41876"/>
                    </a:lnTo>
                    <a:lnTo>
                      <a:pt x="100236" y="42970"/>
                    </a:lnTo>
                    <a:lnTo>
                      <a:pt x="107956" y="52318"/>
                    </a:lnTo>
                    <a:lnTo>
                      <a:pt x="110013" y="56456"/>
                    </a:lnTo>
                    <a:lnTo>
                      <a:pt x="108441" y="77763"/>
                    </a:lnTo>
                    <a:lnTo>
                      <a:pt x="106722" y="83969"/>
                    </a:lnTo>
                    <a:lnTo>
                      <a:pt x="103212" y="92069"/>
                    </a:lnTo>
                    <a:lnTo>
                      <a:pt x="104772" y="95566"/>
                    </a:lnTo>
                    <a:lnTo>
                      <a:pt x="108897" y="96297"/>
                    </a:lnTo>
                    <a:lnTo>
                      <a:pt x="112999" y="96200"/>
                    </a:lnTo>
                    <a:lnTo>
                      <a:pt x="115857" y="96726"/>
                    </a:lnTo>
                    <a:lnTo>
                      <a:pt x="119053" y="98260"/>
                    </a:lnTo>
                    <a:lnTo>
                      <a:pt x="120682" y="99781"/>
                    </a:lnTo>
                    <a:lnTo>
                      <a:pt x="120666" y="99798"/>
                    </a:lnTo>
                    <a:lnTo>
                      <a:pt x="120266" y="100239"/>
                    </a:lnTo>
                    <a:lnTo>
                      <a:pt x="113664" y="107663"/>
                    </a:lnTo>
                    <a:lnTo>
                      <a:pt x="109681" y="108356"/>
                    </a:lnTo>
                    <a:lnTo>
                      <a:pt x="107718" y="112106"/>
                    </a:lnTo>
                    <a:lnTo>
                      <a:pt x="93227" y="125055"/>
                    </a:lnTo>
                    <a:lnTo>
                      <a:pt x="88224" y="126464"/>
                    </a:lnTo>
                    <a:lnTo>
                      <a:pt x="84814" y="124937"/>
                    </a:lnTo>
                    <a:lnTo>
                      <a:pt x="80720" y="118720"/>
                    </a:lnTo>
                    <a:lnTo>
                      <a:pt x="79074" y="111126"/>
                    </a:lnTo>
                    <a:lnTo>
                      <a:pt x="74003" y="108475"/>
                    </a:lnTo>
                    <a:lnTo>
                      <a:pt x="73569" y="105692"/>
                    </a:lnTo>
                    <a:lnTo>
                      <a:pt x="66478" y="92770"/>
                    </a:lnTo>
                    <a:lnTo>
                      <a:pt x="66616" y="87784"/>
                    </a:lnTo>
                    <a:lnTo>
                      <a:pt x="65564" y="84976"/>
                    </a:lnTo>
                    <a:lnTo>
                      <a:pt x="67724" y="81446"/>
                    </a:lnTo>
                    <a:lnTo>
                      <a:pt x="67636" y="72943"/>
                    </a:lnTo>
                    <a:lnTo>
                      <a:pt x="46392" y="78352"/>
                    </a:lnTo>
                    <a:lnTo>
                      <a:pt x="41609" y="76343"/>
                    </a:lnTo>
                    <a:lnTo>
                      <a:pt x="38108" y="68765"/>
                    </a:lnTo>
                    <a:lnTo>
                      <a:pt x="34866" y="65011"/>
                    </a:lnTo>
                    <a:lnTo>
                      <a:pt x="31410" y="64865"/>
                    </a:lnTo>
                    <a:lnTo>
                      <a:pt x="24678" y="69044"/>
                    </a:lnTo>
                    <a:lnTo>
                      <a:pt x="22241" y="64887"/>
                    </a:lnTo>
                    <a:lnTo>
                      <a:pt x="22523" y="62685"/>
                    </a:lnTo>
                    <a:lnTo>
                      <a:pt x="17173" y="64143"/>
                    </a:lnTo>
                    <a:lnTo>
                      <a:pt x="13595" y="59945"/>
                    </a:lnTo>
                    <a:lnTo>
                      <a:pt x="5420" y="59387"/>
                    </a:lnTo>
                    <a:lnTo>
                      <a:pt x="3214" y="53123"/>
                    </a:lnTo>
                    <a:lnTo>
                      <a:pt x="4151" y="44229"/>
                    </a:lnTo>
                    <a:lnTo>
                      <a:pt x="2441" y="40436"/>
                    </a:lnTo>
                    <a:lnTo>
                      <a:pt x="2966" y="35360"/>
                    </a:lnTo>
                    <a:lnTo>
                      <a:pt x="889" y="31768"/>
                    </a:lnTo>
                    <a:lnTo>
                      <a:pt x="935" y="31612"/>
                    </a:lnTo>
                    <a:lnTo>
                      <a:pt x="7" y="30049"/>
                    </a:lnTo>
                    <a:lnTo>
                      <a:pt x="0" y="30035"/>
                    </a:lnTo>
                    <a:lnTo>
                      <a:pt x="1604" y="28014"/>
                    </a:lnTo>
                    <a:lnTo>
                      <a:pt x="5981" y="24380"/>
                    </a:lnTo>
                    <a:lnTo>
                      <a:pt x="10819" y="22118"/>
                    </a:lnTo>
                    <a:close/>
                    <a:moveTo>
                      <a:pt x="68758" y="0"/>
                    </a:moveTo>
                    <a:lnTo>
                      <a:pt x="79901" y="2172"/>
                    </a:lnTo>
                    <a:lnTo>
                      <a:pt x="82138" y="3381"/>
                    </a:lnTo>
                    <a:lnTo>
                      <a:pt x="82507" y="7489"/>
                    </a:lnTo>
                    <a:lnTo>
                      <a:pt x="80964" y="12251"/>
                    </a:lnTo>
                    <a:lnTo>
                      <a:pt x="78732" y="16458"/>
                    </a:lnTo>
                    <a:lnTo>
                      <a:pt x="77059" y="18852"/>
                    </a:lnTo>
                    <a:lnTo>
                      <a:pt x="77518" y="15789"/>
                    </a:lnTo>
                    <a:lnTo>
                      <a:pt x="77679" y="13958"/>
                    </a:lnTo>
                    <a:lnTo>
                      <a:pt x="77972" y="12600"/>
                    </a:lnTo>
                    <a:lnTo>
                      <a:pt x="78866" y="10861"/>
                    </a:lnTo>
                    <a:lnTo>
                      <a:pt x="74013" y="6343"/>
                    </a:lnTo>
                    <a:lnTo>
                      <a:pt x="68657" y="5598"/>
                    </a:lnTo>
                    <a:lnTo>
                      <a:pt x="63246" y="6003"/>
                    </a:lnTo>
                    <a:lnTo>
                      <a:pt x="58288" y="5037"/>
                    </a:lnTo>
                    <a:lnTo>
                      <a:pt x="60779" y="2852"/>
                    </a:lnTo>
                    <a:lnTo>
                      <a:pt x="63253" y="1241"/>
                    </a:lnTo>
                    <a:lnTo>
                      <a:pt x="65869" y="2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AB5905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70" name="Gruppieren 116">
              <a:extLst>
                <a:ext uri="{FF2B5EF4-FFF2-40B4-BE49-F238E27FC236}">
                  <a16:creationId xmlns:a16="http://schemas.microsoft.com/office/drawing/2014/main" id="{7B051916-EB9B-057E-3F67-875CE705EE44}"/>
                </a:ext>
              </a:extLst>
            </p:cNvPr>
            <p:cNvGrpSpPr>
              <a:grpSpLocks/>
            </p:cNvGrpSpPr>
            <p:nvPr/>
          </p:nvGrpSpPr>
          <p:grpSpPr>
            <a:xfrm>
              <a:off x="6458134" y="2768404"/>
              <a:ext cx="995606" cy="1854775"/>
              <a:chOff x="3504983" y="1630313"/>
              <a:chExt cx="2205476" cy="4349372"/>
            </a:xfrm>
            <a:solidFill>
              <a:srgbClr val="FFFFFF">
                <a:lumMod val="85000"/>
              </a:srgbClr>
            </a:solidFill>
          </p:grpSpPr>
          <p:sp>
            <p:nvSpPr>
              <p:cNvPr id="1571" name="Freeform 2">
                <a:extLst>
                  <a:ext uri="{FF2B5EF4-FFF2-40B4-BE49-F238E27FC236}">
                    <a16:creationId xmlns:a16="http://schemas.microsoft.com/office/drawing/2014/main" id="{EECB5992-94D0-7DB3-6473-B6339C3DBC01}"/>
                  </a:ext>
                </a:extLst>
              </p:cNvPr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>
              <a:xfrm>
                <a:off x="4281684" y="3530353"/>
                <a:ext cx="139216" cy="229982"/>
              </a:xfrm>
              <a:custGeom>
                <a:avLst/>
                <a:gdLst/>
                <a:ahLst/>
                <a:cxnLst/>
                <a:rect l="0" t="0" r="0" b="0"/>
                <a:pathLst>
                  <a:path w="142937" h="236130">
                    <a:moveTo>
                      <a:pt x="80276" y="28958"/>
                    </a:moveTo>
                    <a:lnTo>
                      <a:pt x="80862" y="28808"/>
                    </a:lnTo>
                    <a:lnTo>
                      <a:pt x="83085" y="36278"/>
                    </a:lnTo>
                    <a:lnTo>
                      <a:pt x="87829" y="46088"/>
                    </a:lnTo>
                    <a:lnTo>
                      <a:pt x="91339" y="50710"/>
                    </a:lnTo>
                    <a:lnTo>
                      <a:pt x="95831" y="55359"/>
                    </a:lnTo>
                    <a:lnTo>
                      <a:pt x="97411" y="59385"/>
                    </a:lnTo>
                    <a:lnTo>
                      <a:pt x="97380" y="62268"/>
                    </a:lnTo>
                    <a:lnTo>
                      <a:pt x="95060" y="66252"/>
                    </a:lnTo>
                    <a:lnTo>
                      <a:pt x="89806" y="72513"/>
                    </a:lnTo>
                    <a:lnTo>
                      <a:pt x="88777" y="77103"/>
                    </a:lnTo>
                    <a:lnTo>
                      <a:pt x="91989" y="80003"/>
                    </a:lnTo>
                    <a:lnTo>
                      <a:pt x="96211" y="80049"/>
                    </a:lnTo>
                    <a:lnTo>
                      <a:pt x="101729" y="80108"/>
                    </a:lnTo>
                    <a:lnTo>
                      <a:pt x="113746" y="80228"/>
                    </a:lnTo>
                    <a:lnTo>
                      <a:pt x="120565" y="79719"/>
                    </a:lnTo>
                    <a:lnTo>
                      <a:pt x="124175" y="75723"/>
                    </a:lnTo>
                    <a:lnTo>
                      <a:pt x="128097" y="72894"/>
                    </a:lnTo>
                    <a:lnTo>
                      <a:pt x="132322" y="72357"/>
                    </a:lnTo>
                    <a:lnTo>
                      <a:pt x="136208" y="73535"/>
                    </a:lnTo>
                    <a:lnTo>
                      <a:pt x="140707" y="79317"/>
                    </a:lnTo>
                    <a:lnTo>
                      <a:pt x="142936" y="85070"/>
                    </a:lnTo>
                    <a:lnTo>
                      <a:pt x="142883" y="91952"/>
                    </a:lnTo>
                    <a:lnTo>
                      <a:pt x="142184" y="97693"/>
                    </a:lnTo>
                    <a:lnTo>
                      <a:pt x="139833" y="108002"/>
                    </a:lnTo>
                    <a:lnTo>
                      <a:pt x="137849" y="115333"/>
                    </a:lnTo>
                    <a:lnTo>
                      <a:pt x="134436" y="116559"/>
                    </a:lnTo>
                    <a:lnTo>
                      <a:pt x="132319" y="117923"/>
                    </a:lnTo>
                    <a:lnTo>
                      <a:pt x="134318" y="124092"/>
                    </a:lnTo>
                    <a:lnTo>
                      <a:pt x="133462" y="125249"/>
                    </a:lnTo>
                    <a:lnTo>
                      <a:pt x="118755" y="132772"/>
                    </a:lnTo>
                    <a:lnTo>
                      <a:pt x="113569" y="139942"/>
                    </a:lnTo>
                    <a:lnTo>
                      <a:pt x="112693" y="149383"/>
                    </a:lnTo>
                    <a:lnTo>
                      <a:pt x="115259" y="158639"/>
                    </a:lnTo>
                    <a:lnTo>
                      <a:pt x="109048" y="170250"/>
                    </a:lnTo>
                    <a:lnTo>
                      <a:pt x="109046" y="176629"/>
                    </a:lnTo>
                    <a:lnTo>
                      <a:pt x="104213" y="182623"/>
                    </a:lnTo>
                    <a:lnTo>
                      <a:pt x="100538" y="180787"/>
                    </a:lnTo>
                    <a:lnTo>
                      <a:pt x="96023" y="173413"/>
                    </a:lnTo>
                    <a:lnTo>
                      <a:pt x="92733" y="171146"/>
                    </a:lnTo>
                    <a:lnTo>
                      <a:pt x="83441" y="169976"/>
                    </a:lnTo>
                    <a:lnTo>
                      <a:pt x="82065" y="174205"/>
                    </a:lnTo>
                    <a:lnTo>
                      <a:pt x="80611" y="174623"/>
                    </a:lnTo>
                    <a:lnTo>
                      <a:pt x="71870" y="172384"/>
                    </a:lnTo>
                    <a:lnTo>
                      <a:pt x="69140" y="173200"/>
                    </a:lnTo>
                    <a:lnTo>
                      <a:pt x="63609" y="185552"/>
                    </a:lnTo>
                    <a:lnTo>
                      <a:pt x="57613" y="190253"/>
                    </a:lnTo>
                    <a:lnTo>
                      <a:pt x="56536" y="198414"/>
                    </a:lnTo>
                    <a:lnTo>
                      <a:pt x="51217" y="207467"/>
                    </a:lnTo>
                    <a:lnTo>
                      <a:pt x="49397" y="221029"/>
                    </a:lnTo>
                    <a:lnTo>
                      <a:pt x="45529" y="224273"/>
                    </a:lnTo>
                    <a:lnTo>
                      <a:pt x="45184" y="232010"/>
                    </a:lnTo>
                    <a:lnTo>
                      <a:pt x="41790" y="235794"/>
                    </a:lnTo>
                    <a:lnTo>
                      <a:pt x="39003" y="236129"/>
                    </a:lnTo>
                    <a:lnTo>
                      <a:pt x="37913" y="223316"/>
                    </a:lnTo>
                    <a:lnTo>
                      <a:pt x="35049" y="223274"/>
                    </a:lnTo>
                    <a:lnTo>
                      <a:pt x="33217" y="228974"/>
                    </a:lnTo>
                    <a:lnTo>
                      <a:pt x="31205" y="229971"/>
                    </a:lnTo>
                    <a:lnTo>
                      <a:pt x="31329" y="227327"/>
                    </a:lnTo>
                    <a:lnTo>
                      <a:pt x="34067" y="219913"/>
                    </a:lnTo>
                    <a:lnTo>
                      <a:pt x="36442" y="213638"/>
                    </a:lnTo>
                    <a:lnTo>
                      <a:pt x="36905" y="205023"/>
                    </a:lnTo>
                    <a:lnTo>
                      <a:pt x="37006" y="198142"/>
                    </a:lnTo>
                    <a:lnTo>
                      <a:pt x="37140" y="188951"/>
                    </a:lnTo>
                    <a:lnTo>
                      <a:pt x="36895" y="182638"/>
                    </a:lnTo>
                    <a:lnTo>
                      <a:pt x="35020" y="177436"/>
                    </a:lnTo>
                    <a:lnTo>
                      <a:pt x="30531" y="171633"/>
                    </a:lnTo>
                    <a:lnTo>
                      <a:pt x="24080" y="165797"/>
                    </a:lnTo>
                    <a:lnTo>
                      <a:pt x="17956" y="160527"/>
                    </a:lnTo>
                    <a:lnTo>
                      <a:pt x="14759" y="156466"/>
                    </a:lnTo>
                    <a:lnTo>
                      <a:pt x="12243" y="150679"/>
                    </a:lnTo>
                    <a:lnTo>
                      <a:pt x="8762" y="144302"/>
                    </a:lnTo>
                    <a:lnTo>
                      <a:pt x="8478" y="141434"/>
                    </a:lnTo>
                    <a:lnTo>
                      <a:pt x="10483" y="138583"/>
                    </a:lnTo>
                    <a:lnTo>
                      <a:pt x="16009" y="139829"/>
                    </a:lnTo>
                    <a:lnTo>
                      <a:pt x="22198" y="139927"/>
                    </a:lnTo>
                    <a:lnTo>
                      <a:pt x="28675" y="142900"/>
                    </a:lnTo>
                    <a:lnTo>
                      <a:pt x="32915" y="142964"/>
                    </a:lnTo>
                    <a:lnTo>
                      <a:pt x="33947" y="139543"/>
                    </a:lnTo>
                    <a:lnTo>
                      <a:pt x="34041" y="133224"/>
                    </a:lnTo>
                    <a:lnTo>
                      <a:pt x="33129" y="128608"/>
                    </a:lnTo>
                    <a:lnTo>
                      <a:pt x="30915" y="124566"/>
                    </a:lnTo>
                    <a:lnTo>
                      <a:pt x="29366" y="119942"/>
                    </a:lnTo>
                    <a:lnTo>
                      <a:pt x="30398" y="115376"/>
                    </a:lnTo>
                    <a:lnTo>
                      <a:pt x="35337" y="111993"/>
                    </a:lnTo>
                    <a:lnTo>
                      <a:pt x="40633" y="105752"/>
                    </a:lnTo>
                    <a:lnTo>
                      <a:pt x="41688" y="100029"/>
                    </a:lnTo>
                    <a:lnTo>
                      <a:pt x="42115" y="92571"/>
                    </a:lnTo>
                    <a:lnTo>
                      <a:pt x="38700" y="82183"/>
                    </a:lnTo>
                    <a:lnTo>
                      <a:pt x="28376" y="77447"/>
                    </a:lnTo>
                    <a:lnTo>
                      <a:pt x="20034" y="70997"/>
                    </a:lnTo>
                    <a:lnTo>
                      <a:pt x="12299" y="67437"/>
                    </a:lnTo>
                    <a:lnTo>
                      <a:pt x="8947" y="63955"/>
                    </a:lnTo>
                    <a:lnTo>
                      <a:pt x="10250" y="62802"/>
                    </a:lnTo>
                    <a:lnTo>
                      <a:pt x="17774" y="57749"/>
                    </a:lnTo>
                    <a:lnTo>
                      <a:pt x="24679" y="52704"/>
                    </a:lnTo>
                    <a:lnTo>
                      <a:pt x="26703" y="46989"/>
                    </a:lnTo>
                    <a:lnTo>
                      <a:pt x="26756" y="43554"/>
                    </a:lnTo>
                    <a:lnTo>
                      <a:pt x="19701" y="39414"/>
                    </a:lnTo>
                    <a:lnTo>
                      <a:pt x="14515" y="39330"/>
                    </a:lnTo>
                    <a:lnTo>
                      <a:pt x="8038" y="39224"/>
                    </a:lnTo>
                    <a:lnTo>
                      <a:pt x="3192" y="38569"/>
                    </a:lnTo>
                    <a:lnTo>
                      <a:pt x="0" y="35641"/>
                    </a:lnTo>
                    <a:lnTo>
                      <a:pt x="1699" y="31080"/>
                    </a:lnTo>
                    <a:lnTo>
                      <a:pt x="7295" y="25426"/>
                    </a:lnTo>
                    <a:lnTo>
                      <a:pt x="14880" y="16940"/>
                    </a:lnTo>
                    <a:lnTo>
                      <a:pt x="20889" y="4981"/>
                    </a:lnTo>
                    <a:lnTo>
                      <a:pt x="23802" y="0"/>
                    </a:lnTo>
                    <a:lnTo>
                      <a:pt x="26246" y="3277"/>
                    </a:lnTo>
                    <a:lnTo>
                      <a:pt x="60230" y="19050"/>
                    </a:lnTo>
                    <a:lnTo>
                      <a:pt x="73723" y="2686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2" name="Freeform 3">
                <a:extLst>
                  <a:ext uri="{FF2B5EF4-FFF2-40B4-BE49-F238E27FC236}">
                    <a16:creationId xmlns:a16="http://schemas.microsoft.com/office/drawing/2014/main" id="{EA66ECB7-A8B4-0561-BB3C-A1F9A86A10C3}"/>
                  </a:ext>
                </a:extLst>
              </p:cNvPr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>
              <a:xfrm>
                <a:off x="4338022" y="3431161"/>
                <a:ext cx="67646" cy="51942"/>
              </a:xfrm>
              <a:custGeom>
                <a:avLst/>
                <a:gdLst/>
                <a:ahLst/>
                <a:cxnLst/>
                <a:rect l="0" t="0" r="0" b="0"/>
                <a:pathLst>
                  <a:path w="69454" h="53331">
                    <a:moveTo>
                      <a:pt x="49770" y="9360"/>
                    </a:moveTo>
                    <a:lnTo>
                      <a:pt x="51227" y="8841"/>
                    </a:lnTo>
                    <a:lnTo>
                      <a:pt x="51140" y="17412"/>
                    </a:lnTo>
                    <a:lnTo>
                      <a:pt x="52088" y="25340"/>
                    </a:lnTo>
                    <a:lnTo>
                      <a:pt x="54439" y="29016"/>
                    </a:lnTo>
                    <a:lnTo>
                      <a:pt x="56839" y="27825"/>
                    </a:lnTo>
                    <a:lnTo>
                      <a:pt x="61963" y="27272"/>
                    </a:lnTo>
                    <a:lnTo>
                      <a:pt x="67761" y="27324"/>
                    </a:lnTo>
                    <a:lnTo>
                      <a:pt x="69453" y="29156"/>
                    </a:lnTo>
                    <a:lnTo>
                      <a:pt x="69415" y="33420"/>
                    </a:lnTo>
                    <a:lnTo>
                      <a:pt x="68326" y="40125"/>
                    </a:lnTo>
                    <a:lnTo>
                      <a:pt x="65892" y="44981"/>
                    </a:lnTo>
                    <a:lnTo>
                      <a:pt x="62810" y="46157"/>
                    </a:lnTo>
                    <a:lnTo>
                      <a:pt x="56319" y="46095"/>
                    </a:lnTo>
                    <a:lnTo>
                      <a:pt x="45727" y="45387"/>
                    </a:lnTo>
                    <a:lnTo>
                      <a:pt x="40932" y="47163"/>
                    </a:lnTo>
                    <a:lnTo>
                      <a:pt x="41250" y="49003"/>
                    </a:lnTo>
                    <a:lnTo>
                      <a:pt x="43042" y="52261"/>
                    </a:lnTo>
                    <a:lnTo>
                      <a:pt x="40277" y="52962"/>
                    </a:lnTo>
                    <a:lnTo>
                      <a:pt x="36895" y="53330"/>
                    </a:lnTo>
                    <a:lnTo>
                      <a:pt x="31933" y="52870"/>
                    </a:lnTo>
                    <a:lnTo>
                      <a:pt x="27005" y="50008"/>
                    </a:lnTo>
                    <a:lnTo>
                      <a:pt x="23233" y="45126"/>
                    </a:lnTo>
                    <a:lnTo>
                      <a:pt x="20102" y="42680"/>
                    </a:lnTo>
                    <a:lnTo>
                      <a:pt x="18515" y="43470"/>
                    </a:lnTo>
                    <a:lnTo>
                      <a:pt x="17120" y="46671"/>
                    </a:lnTo>
                    <a:lnTo>
                      <a:pt x="14606" y="49445"/>
                    </a:lnTo>
                    <a:lnTo>
                      <a:pt x="12342" y="49830"/>
                    </a:lnTo>
                    <a:lnTo>
                      <a:pt x="10095" y="49802"/>
                    </a:lnTo>
                    <a:lnTo>
                      <a:pt x="6728" y="48554"/>
                    </a:lnTo>
                    <a:lnTo>
                      <a:pt x="2914" y="47280"/>
                    </a:lnTo>
                    <a:lnTo>
                      <a:pt x="2447" y="46602"/>
                    </a:lnTo>
                    <a:lnTo>
                      <a:pt x="699" y="44031"/>
                    </a:lnTo>
                    <a:lnTo>
                      <a:pt x="139" y="35582"/>
                    </a:lnTo>
                    <a:lnTo>
                      <a:pt x="0" y="19673"/>
                    </a:lnTo>
                    <a:lnTo>
                      <a:pt x="1015" y="19410"/>
                    </a:lnTo>
                    <a:lnTo>
                      <a:pt x="13401" y="26898"/>
                    </a:lnTo>
                    <a:lnTo>
                      <a:pt x="19229" y="26338"/>
                    </a:lnTo>
                    <a:lnTo>
                      <a:pt x="21239" y="22847"/>
                    </a:lnTo>
                    <a:lnTo>
                      <a:pt x="20790" y="15200"/>
                    </a:lnTo>
                    <a:lnTo>
                      <a:pt x="16713" y="4220"/>
                    </a:lnTo>
                    <a:lnTo>
                      <a:pt x="18949" y="959"/>
                    </a:lnTo>
                    <a:lnTo>
                      <a:pt x="25262" y="3266"/>
                    </a:lnTo>
                    <a:lnTo>
                      <a:pt x="35776" y="3268"/>
                    </a:lnTo>
                    <a:lnTo>
                      <a:pt x="40836" y="6838"/>
                    </a:lnTo>
                    <a:lnTo>
                      <a:pt x="42808" y="5161"/>
                    </a:lnTo>
                    <a:lnTo>
                      <a:pt x="44337" y="1030"/>
                    </a:lnTo>
                    <a:lnTo>
                      <a:pt x="47791" y="0"/>
                    </a:lnTo>
                    <a:lnTo>
                      <a:pt x="48522" y="2871"/>
                    </a:lnTo>
                    <a:lnTo>
                      <a:pt x="48004" y="764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3" name="Freeform 4">
                <a:extLst>
                  <a:ext uri="{FF2B5EF4-FFF2-40B4-BE49-F238E27FC236}">
                    <a16:creationId xmlns:a16="http://schemas.microsoft.com/office/drawing/2014/main" id="{F31C62AA-DAAE-77F1-A1D0-056A692573B1}"/>
                  </a:ext>
                </a:extLst>
              </p:cNvPr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>
              <a:xfrm>
                <a:off x="4304866" y="3508574"/>
                <a:ext cx="62444" cy="49984"/>
              </a:xfrm>
              <a:custGeom>
                <a:avLst/>
                <a:gdLst/>
                <a:ahLst/>
                <a:cxnLst/>
                <a:rect l="0" t="0" r="0" b="0"/>
                <a:pathLst>
                  <a:path w="64113" h="51320">
                    <a:moveTo>
                      <a:pt x="38881" y="10064"/>
                    </a:moveTo>
                    <a:lnTo>
                      <a:pt x="42722" y="10113"/>
                    </a:lnTo>
                    <a:lnTo>
                      <a:pt x="48610" y="9378"/>
                    </a:lnTo>
                    <a:lnTo>
                      <a:pt x="53162" y="7025"/>
                    </a:lnTo>
                    <a:lnTo>
                      <a:pt x="56335" y="6254"/>
                    </a:lnTo>
                    <a:lnTo>
                      <a:pt x="59830" y="10145"/>
                    </a:lnTo>
                    <a:lnTo>
                      <a:pt x="59868" y="13542"/>
                    </a:lnTo>
                    <a:lnTo>
                      <a:pt x="58911" y="17955"/>
                    </a:lnTo>
                    <a:lnTo>
                      <a:pt x="57072" y="20757"/>
                    </a:lnTo>
                    <a:lnTo>
                      <a:pt x="55920" y="22342"/>
                    </a:lnTo>
                    <a:lnTo>
                      <a:pt x="57222" y="26782"/>
                    </a:lnTo>
                    <a:lnTo>
                      <a:pt x="60808" y="30043"/>
                    </a:lnTo>
                    <a:lnTo>
                      <a:pt x="62814" y="32476"/>
                    </a:lnTo>
                    <a:lnTo>
                      <a:pt x="64112" y="38118"/>
                    </a:lnTo>
                    <a:lnTo>
                      <a:pt x="63588" y="44559"/>
                    </a:lnTo>
                    <a:lnTo>
                      <a:pt x="62619" y="49378"/>
                    </a:lnTo>
                    <a:lnTo>
                      <a:pt x="59662" y="50548"/>
                    </a:lnTo>
                    <a:lnTo>
                      <a:pt x="57060" y="51169"/>
                    </a:lnTo>
                    <a:lnTo>
                      <a:pt x="56474" y="51319"/>
                    </a:lnTo>
                    <a:lnTo>
                      <a:pt x="49921" y="49227"/>
                    </a:lnTo>
                    <a:lnTo>
                      <a:pt x="36428" y="41411"/>
                    </a:lnTo>
                    <a:lnTo>
                      <a:pt x="2444" y="25638"/>
                    </a:lnTo>
                    <a:lnTo>
                      <a:pt x="0" y="22361"/>
                    </a:lnTo>
                    <a:lnTo>
                      <a:pt x="29" y="22303"/>
                    </a:lnTo>
                    <a:lnTo>
                      <a:pt x="360" y="21014"/>
                    </a:lnTo>
                    <a:lnTo>
                      <a:pt x="733" y="19569"/>
                    </a:lnTo>
                    <a:lnTo>
                      <a:pt x="6448" y="16043"/>
                    </a:lnTo>
                    <a:lnTo>
                      <a:pt x="16684" y="12166"/>
                    </a:lnTo>
                    <a:lnTo>
                      <a:pt x="29013" y="3494"/>
                    </a:lnTo>
                    <a:lnTo>
                      <a:pt x="34942" y="0"/>
                    </a:lnTo>
                    <a:lnTo>
                      <a:pt x="34866" y="5588"/>
                    </a:lnTo>
                    <a:lnTo>
                      <a:pt x="36849" y="964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4" name="Freeform 5">
                <a:extLst>
                  <a:ext uri="{FF2B5EF4-FFF2-40B4-BE49-F238E27FC236}">
                    <a16:creationId xmlns:a16="http://schemas.microsoft.com/office/drawing/2014/main" id="{D415D1E9-EF92-360C-E210-7FAFAD1BDE2A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4338824" y="3472730"/>
                <a:ext cx="60214" cy="49125"/>
              </a:xfrm>
              <a:custGeom>
                <a:avLst/>
                <a:gdLst/>
                <a:ahLst/>
                <a:cxnLst/>
                <a:rect l="0" t="0" r="0" b="0"/>
                <a:pathLst>
                  <a:path w="61824" h="50438">
                    <a:moveTo>
                      <a:pt x="36072" y="10650"/>
                    </a:moveTo>
                    <a:lnTo>
                      <a:pt x="39454" y="10282"/>
                    </a:lnTo>
                    <a:lnTo>
                      <a:pt x="42219" y="9581"/>
                    </a:lnTo>
                    <a:lnTo>
                      <a:pt x="42778" y="10603"/>
                    </a:lnTo>
                    <a:lnTo>
                      <a:pt x="47849" y="16136"/>
                    </a:lnTo>
                    <a:lnTo>
                      <a:pt x="51248" y="18618"/>
                    </a:lnTo>
                    <a:lnTo>
                      <a:pt x="56034" y="18665"/>
                    </a:lnTo>
                    <a:lnTo>
                      <a:pt x="59790" y="18701"/>
                    </a:lnTo>
                    <a:lnTo>
                      <a:pt x="61823" y="21149"/>
                    </a:lnTo>
                    <a:lnTo>
                      <a:pt x="61800" y="23597"/>
                    </a:lnTo>
                    <a:lnTo>
                      <a:pt x="58667" y="29057"/>
                    </a:lnTo>
                    <a:lnTo>
                      <a:pt x="58616" y="34368"/>
                    </a:lnTo>
                    <a:lnTo>
                      <a:pt x="53879" y="34975"/>
                    </a:lnTo>
                    <a:lnTo>
                      <a:pt x="44184" y="32864"/>
                    </a:lnTo>
                    <a:lnTo>
                      <a:pt x="38756" y="32806"/>
                    </a:lnTo>
                    <a:lnTo>
                      <a:pt x="35361" y="34368"/>
                    </a:lnTo>
                    <a:lnTo>
                      <a:pt x="34419" y="36776"/>
                    </a:lnTo>
                    <a:lnTo>
                      <a:pt x="36170" y="42019"/>
                    </a:lnTo>
                    <a:lnTo>
                      <a:pt x="35905" y="46440"/>
                    </a:lnTo>
                    <a:lnTo>
                      <a:pt x="33146" y="50437"/>
                    </a:lnTo>
                    <a:lnTo>
                      <a:pt x="27944" y="50378"/>
                    </a:lnTo>
                    <a:lnTo>
                      <a:pt x="25490" y="47547"/>
                    </a:lnTo>
                    <a:lnTo>
                      <a:pt x="24964" y="46947"/>
                    </a:lnTo>
                    <a:lnTo>
                      <a:pt x="21469" y="43056"/>
                    </a:lnTo>
                    <a:lnTo>
                      <a:pt x="18296" y="43827"/>
                    </a:lnTo>
                    <a:lnTo>
                      <a:pt x="13744" y="46180"/>
                    </a:lnTo>
                    <a:lnTo>
                      <a:pt x="7856" y="46915"/>
                    </a:lnTo>
                    <a:lnTo>
                      <a:pt x="4015" y="46866"/>
                    </a:lnTo>
                    <a:lnTo>
                      <a:pt x="1983" y="46444"/>
                    </a:lnTo>
                    <a:lnTo>
                      <a:pt x="0" y="42390"/>
                    </a:lnTo>
                    <a:lnTo>
                      <a:pt x="76" y="36802"/>
                    </a:lnTo>
                    <a:lnTo>
                      <a:pt x="81" y="36357"/>
                    </a:lnTo>
                    <a:lnTo>
                      <a:pt x="141" y="31935"/>
                    </a:lnTo>
                    <a:lnTo>
                      <a:pt x="471" y="24287"/>
                    </a:lnTo>
                    <a:lnTo>
                      <a:pt x="533" y="19647"/>
                    </a:lnTo>
                    <a:lnTo>
                      <a:pt x="557" y="17860"/>
                    </a:lnTo>
                    <a:lnTo>
                      <a:pt x="660" y="10220"/>
                    </a:lnTo>
                    <a:lnTo>
                      <a:pt x="1624" y="3922"/>
                    </a:lnTo>
                    <a:lnTo>
                      <a:pt x="2091" y="4600"/>
                    </a:lnTo>
                    <a:lnTo>
                      <a:pt x="5905" y="5874"/>
                    </a:lnTo>
                    <a:lnTo>
                      <a:pt x="9272" y="7122"/>
                    </a:lnTo>
                    <a:lnTo>
                      <a:pt x="11519" y="7150"/>
                    </a:lnTo>
                    <a:lnTo>
                      <a:pt x="13783" y="6765"/>
                    </a:lnTo>
                    <a:lnTo>
                      <a:pt x="16297" y="3991"/>
                    </a:lnTo>
                    <a:lnTo>
                      <a:pt x="17692" y="790"/>
                    </a:lnTo>
                    <a:lnTo>
                      <a:pt x="19279" y="0"/>
                    </a:lnTo>
                    <a:lnTo>
                      <a:pt x="22410" y="2446"/>
                    </a:lnTo>
                    <a:lnTo>
                      <a:pt x="26182" y="7328"/>
                    </a:lnTo>
                    <a:lnTo>
                      <a:pt x="31110" y="101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5" name="Freeform 6">
                <a:extLst>
                  <a:ext uri="{FF2B5EF4-FFF2-40B4-BE49-F238E27FC236}">
                    <a16:creationId xmlns:a16="http://schemas.microsoft.com/office/drawing/2014/main" id="{077D969E-B4E9-3C1E-ED73-E97B3F6E5A46}"/>
                  </a:ext>
                </a:extLst>
              </p:cNvPr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>
              <a:xfrm>
                <a:off x="4227462" y="3455402"/>
                <a:ext cx="64175" cy="43721"/>
              </a:xfrm>
              <a:custGeom>
                <a:avLst/>
                <a:gdLst/>
                <a:ahLst/>
                <a:cxnLst/>
                <a:rect l="0" t="0" r="0" b="0"/>
                <a:pathLst>
                  <a:path w="65891" h="44890">
                    <a:moveTo>
                      <a:pt x="57192" y="11441"/>
                    </a:moveTo>
                    <a:lnTo>
                      <a:pt x="57199" y="11465"/>
                    </a:lnTo>
                    <a:lnTo>
                      <a:pt x="58777" y="17506"/>
                    </a:lnTo>
                    <a:lnTo>
                      <a:pt x="61606" y="23578"/>
                    </a:lnTo>
                    <a:lnTo>
                      <a:pt x="64653" y="30067"/>
                    </a:lnTo>
                    <a:lnTo>
                      <a:pt x="65890" y="36921"/>
                    </a:lnTo>
                    <a:lnTo>
                      <a:pt x="64911" y="41743"/>
                    </a:lnTo>
                    <a:lnTo>
                      <a:pt x="60568" y="44889"/>
                    </a:lnTo>
                    <a:lnTo>
                      <a:pt x="56278" y="44816"/>
                    </a:lnTo>
                    <a:lnTo>
                      <a:pt x="51078" y="44725"/>
                    </a:lnTo>
                    <a:lnTo>
                      <a:pt x="45905" y="43824"/>
                    </a:lnTo>
                    <a:lnTo>
                      <a:pt x="39816" y="43318"/>
                    </a:lnTo>
                    <a:lnTo>
                      <a:pt x="35094" y="42025"/>
                    </a:lnTo>
                    <a:lnTo>
                      <a:pt x="30404" y="39113"/>
                    </a:lnTo>
                    <a:lnTo>
                      <a:pt x="29936" y="38661"/>
                    </a:lnTo>
                    <a:lnTo>
                      <a:pt x="24860" y="33773"/>
                    </a:lnTo>
                    <a:lnTo>
                      <a:pt x="19911" y="33282"/>
                    </a:lnTo>
                    <a:lnTo>
                      <a:pt x="8624" y="33056"/>
                    </a:lnTo>
                    <a:lnTo>
                      <a:pt x="1083" y="34874"/>
                    </a:lnTo>
                    <a:lnTo>
                      <a:pt x="604" y="34992"/>
                    </a:lnTo>
                    <a:lnTo>
                      <a:pt x="598" y="34995"/>
                    </a:lnTo>
                    <a:lnTo>
                      <a:pt x="597" y="34990"/>
                    </a:lnTo>
                    <a:lnTo>
                      <a:pt x="0" y="24434"/>
                    </a:lnTo>
                    <a:lnTo>
                      <a:pt x="1541" y="14234"/>
                    </a:lnTo>
                    <a:lnTo>
                      <a:pt x="4747" y="7597"/>
                    </a:lnTo>
                    <a:lnTo>
                      <a:pt x="9709" y="3486"/>
                    </a:lnTo>
                    <a:lnTo>
                      <a:pt x="16451" y="790"/>
                    </a:lnTo>
                    <a:lnTo>
                      <a:pt x="20472" y="0"/>
                    </a:lnTo>
                    <a:lnTo>
                      <a:pt x="23371" y="414"/>
                    </a:lnTo>
                    <a:lnTo>
                      <a:pt x="36827" y="7125"/>
                    </a:lnTo>
                    <a:lnTo>
                      <a:pt x="40429" y="7814"/>
                    </a:lnTo>
                    <a:lnTo>
                      <a:pt x="42904" y="6754"/>
                    </a:lnTo>
                    <a:lnTo>
                      <a:pt x="47441" y="972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6" name="Freeform 7">
                <a:extLst>
                  <a:ext uri="{FF2B5EF4-FFF2-40B4-BE49-F238E27FC236}">
                    <a16:creationId xmlns:a16="http://schemas.microsoft.com/office/drawing/2014/main" id="{4D156012-B5AE-6E06-F6C6-6A2C6283FE14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4220169" y="3487598"/>
                <a:ext cx="87575" cy="115707"/>
              </a:xfrm>
              <a:custGeom>
                <a:avLst/>
                <a:gdLst/>
                <a:ahLst/>
                <a:cxnLst/>
                <a:rect l="0" t="0" r="0" b="0"/>
                <a:pathLst>
                  <a:path w="89916" h="118800">
                    <a:moveTo>
                      <a:pt x="37424" y="5605"/>
                    </a:moveTo>
                    <a:lnTo>
                      <a:pt x="40207" y="14949"/>
                    </a:lnTo>
                    <a:lnTo>
                      <a:pt x="44803" y="23082"/>
                    </a:lnTo>
                    <a:lnTo>
                      <a:pt x="54775" y="34532"/>
                    </a:lnTo>
                    <a:lnTo>
                      <a:pt x="61897" y="40681"/>
                    </a:lnTo>
                    <a:lnTo>
                      <a:pt x="73873" y="42098"/>
                    </a:lnTo>
                    <a:lnTo>
                      <a:pt x="81583" y="41818"/>
                    </a:lnTo>
                    <a:lnTo>
                      <a:pt x="87321" y="42551"/>
                    </a:lnTo>
                    <a:lnTo>
                      <a:pt x="86990" y="43840"/>
                    </a:lnTo>
                    <a:lnTo>
                      <a:pt x="86961" y="43898"/>
                    </a:lnTo>
                    <a:lnTo>
                      <a:pt x="84048" y="48879"/>
                    </a:lnTo>
                    <a:lnTo>
                      <a:pt x="78039" y="60838"/>
                    </a:lnTo>
                    <a:lnTo>
                      <a:pt x="70454" y="69324"/>
                    </a:lnTo>
                    <a:lnTo>
                      <a:pt x="64858" y="74978"/>
                    </a:lnTo>
                    <a:lnTo>
                      <a:pt x="63159" y="79539"/>
                    </a:lnTo>
                    <a:lnTo>
                      <a:pt x="66351" y="82467"/>
                    </a:lnTo>
                    <a:lnTo>
                      <a:pt x="71197" y="83122"/>
                    </a:lnTo>
                    <a:lnTo>
                      <a:pt x="77674" y="83228"/>
                    </a:lnTo>
                    <a:lnTo>
                      <a:pt x="82860" y="83312"/>
                    </a:lnTo>
                    <a:lnTo>
                      <a:pt x="89915" y="87452"/>
                    </a:lnTo>
                    <a:lnTo>
                      <a:pt x="89862" y="90887"/>
                    </a:lnTo>
                    <a:lnTo>
                      <a:pt x="87838" y="96602"/>
                    </a:lnTo>
                    <a:lnTo>
                      <a:pt x="80933" y="101647"/>
                    </a:lnTo>
                    <a:lnTo>
                      <a:pt x="73409" y="106700"/>
                    </a:lnTo>
                    <a:lnTo>
                      <a:pt x="72106" y="107853"/>
                    </a:lnTo>
                    <a:lnTo>
                      <a:pt x="65822" y="113464"/>
                    </a:lnTo>
                    <a:lnTo>
                      <a:pt x="57293" y="118483"/>
                    </a:lnTo>
                    <a:lnTo>
                      <a:pt x="55607" y="118799"/>
                    </a:lnTo>
                    <a:lnTo>
                      <a:pt x="53732" y="118662"/>
                    </a:lnTo>
                    <a:lnTo>
                      <a:pt x="53687" y="118241"/>
                    </a:lnTo>
                    <a:lnTo>
                      <a:pt x="52830" y="110155"/>
                    </a:lnTo>
                    <a:lnTo>
                      <a:pt x="48309" y="102128"/>
                    </a:lnTo>
                    <a:lnTo>
                      <a:pt x="42095" y="96663"/>
                    </a:lnTo>
                    <a:lnTo>
                      <a:pt x="30433" y="91216"/>
                    </a:lnTo>
                    <a:lnTo>
                      <a:pt x="23489" y="90800"/>
                    </a:lnTo>
                    <a:lnTo>
                      <a:pt x="21498" y="89393"/>
                    </a:lnTo>
                    <a:lnTo>
                      <a:pt x="23183" y="85849"/>
                    </a:lnTo>
                    <a:lnTo>
                      <a:pt x="23240" y="83004"/>
                    </a:lnTo>
                    <a:lnTo>
                      <a:pt x="10923" y="74496"/>
                    </a:lnTo>
                    <a:lnTo>
                      <a:pt x="4072" y="67961"/>
                    </a:lnTo>
                    <a:lnTo>
                      <a:pt x="0" y="61669"/>
                    </a:lnTo>
                    <a:lnTo>
                      <a:pt x="9725" y="51673"/>
                    </a:lnTo>
                    <a:lnTo>
                      <a:pt x="13176" y="43533"/>
                    </a:lnTo>
                    <a:lnTo>
                      <a:pt x="12534" y="30627"/>
                    </a:lnTo>
                    <a:lnTo>
                      <a:pt x="11248" y="26028"/>
                    </a:lnTo>
                    <a:lnTo>
                      <a:pt x="10015" y="22722"/>
                    </a:lnTo>
                    <a:lnTo>
                      <a:pt x="9041" y="18750"/>
                    </a:lnTo>
                    <a:lnTo>
                      <a:pt x="8114" y="2231"/>
                    </a:lnTo>
                    <a:lnTo>
                      <a:pt x="8086" y="1939"/>
                    </a:lnTo>
                    <a:lnTo>
                      <a:pt x="8092" y="1936"/>
                    </a:lnTo>
                    <a:lnTo>
                      <a:pt x="8571" y="1818"/>
                    </a:lnTo>
                    <a:lnTo>
                      <a:pt x="16112" y="0"/>
                    </a:lnTo>
                    <a:lnTo>
                      <a:pt x="27399" y="226"/>
                    </a:lnTo>
                    <a:lnTo>
                      <a:pt x="32348" y="71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7" name="Freeform 8">
                <a:extLst>
                  <a:ext uri="{FF2B5EF4-FFF2-40B4-BE49-F238E27FC236}">
                    <a16:creationId xmlns:a16="http://schemas.microsoft.com/office/drawing/2014/main" id="{59B97116-A3D8-23AF-B624-1540B66D1979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4377889" y="3432323"/>
                <a:ext cx="97090" cy="109395"/>
              </a:xfrm>
              <a:custGeom>
                <a:avLst/>
                <a:gdLst/>
                <a:ahLst/>
                <a:cxnLst/>
                <a:rect l="0" t="0" r="0" b="0"/>
                <a:pathLst>
                  <a:path w="99685" h="112319">
                    <a:moveTo>
                      <a:pt x="34771" y="5328"/>
                    </a:moveTo>
                    <a:lnTo>
                      <a:pt x="35546" y="8315"/>
                    </a:lnTo>
                    <a:lnTo>
                      <a:pt x="42966" y="7626"/>
                    </a:lnTo>
                    <a:lnTo>
                      <a:pt x="43963" y="10082"/>
                    </a:lnTo>
                    <a:lnTo>
                      <a:pt x="42493" y="15698"/>
                    </a:lnTo>
                    <a:lnTo>
                      <a:pt x="50505" y="16075"/>
                    </a:lnTo>
                    <a:lnTo>
                      <a:pt x="50937" y="22021"/>
                    </a:lnTo>
                    <a:lnTo>
                      <a:pt x="53580" y="26386"/>
                    </a:lnTo>
                    <a:lnTo>
                      <a:pt x="65874" y="27002"/>
                    </a:lnTo>
                    <a:lnTo>
                      <a:pt x="66464" y="28180"/>
                    </a:lnTo>
                    <a:lnTo>
                      <a:pt x="65621" y="29448"/>
                    </a:lnTo>
                    <a:lnTo>
                      <a:pt x="59636" y="35669"/>
                    </a:lnTo>
                    <a:lnTo>
                      <a:pt x="67622" y="41980"/>
                    </a:lnTo>
                    <a:lnTo>
                      <a:pt x="76463" y="46060"/>
                    </a:lnTo>
                    <a:lnTo>
                      <a:pt x="77757" y="50323"/>
                    </a:lnTo>
                    <a:lnTo>
                      <a:pt x="75230" y="52648"/>
                    </a:lnTo>
                    <a:lnTo>
                      <a:pt x="81036" y="59256"/>
                    </a:lnTo>
                    <a:lnTo>
                      <a:pt x="94993" y="54969"/>
                    </a:lnTo>
                    <a:lnTo>
                      <a:pt x="99684" y="57427"/>
                    </a:lnTo>
                    <a:lnTo>
                      <a:pt x="98832" y="59972"/>
                    </a:lnTo>
                    <a:lnTo>
                      <a:pt x="93772" y="61648"/>
                    </a:lnTo>
                    <a:lnTo>
                      <a:pt x="91371" y="64618"/>
                    </a:lnTo>
                    <a:lnTo>
                      <a:pt x="97010" y="82049"/>
                    </a:lnTo>
                    <a:lnTo>
                      <a:pt x="96469" y="85335"/>
                    </a:lnTo>
                    <a:lnTo>
                      <a:pt x="93219" y="91048"/>
                    </a:lnTo>
                    <a:lnTo>
                      <a:pt x="93738" y="93084"/>
                    </a:lnTo>
                    <a:lnTo>
                      <a:pt x="83421" y="100874"/>
                    </a:lnTo>
                    <a:lnTo>
                      <a:pt x="69317" y="108101"/>
                    </a:lnTo>
                    <a:lnTo>
                      <a:pt x="61742" y="112318"/>
                    </a:lnTo>
                    <a:lnTo>
                      <a:pt x="58316" y="111683"/>
                    </a:lnTo>
                    <a:lnTo>
                      <a:pt x="52514" y="106766"/>
                    </a:lnTo>
                    <a:lnTo>
                      <a:pt x="40260" y="95714"/>
                    </a:lnTo>
                    <a:lnTo>
                      <a:pt x="22564" y="81542"/>
                    </a:lnTo>
                    <a:lnTo>
                      <a:pt x="18500" y="76627"/>
                    </a:lnTo>
                    <a:lnTo>
                      <a:pt x="18507" y="75855"/>
                    </a:lnTo>
                    <a:lnTo>
                      <a:pt x="18558" y="70544"/>
                    </a:lnTo>
                    <a:lnTo>
                      <a:pt x="21691" y="65084"/>
                    </a:lnTo>
                    <a:lnTo>
                      <a:pt x="21714" y="62636"/>
                    </a:lnTo>
                    <a:lnTo>
                      <a:pt x="19681" y="60188"/>
                    </a:lnTo>
                    <a:lnTo>
                      <a:pt x="15925" y="60152"/>
                    </a:lnTo>
                    <a:lnTo>
                      <a:pt x="11139" y="60105"/>
                    </a:lnTo>
                    <a:lnTo>
                      <a:pt x="7740" y="57623"/>
                    </a:lnTo>
                    <a:lnTo>
                      <a:pt x="2669" y="52090"/>
                    </a:lnTo>
                    <a:lnTo>
                      <a:pt x="2110" y="51068"/>
                    </a:lnTo>
                    <a:lnTo>
                      <a:pt x="318" y="47810"/>
                    </a:lnTo>
                    <a:lnTo>
                      <a:pt x="0" y="45970"/>
                    </a:lnTo>
                    <a:lnTo>
                      <a:pt x="4795" y="44194"/>
                    </a:lnTo>
                    <a:lnTo>
                      <a:pt x="15387" y="44902"/>
                    </a:lnTo>
                    <a:lnTo>
                      <a:pt x="21878" y="44964"/>
                    </a:lnTo>
                    <a:lnTo>
                      <a:pt x="24960" y="43788"/>
                    </a:lnTo>
                    <a:lnTo>
                      <a:pt x="27394" y="38932"/>
                    </a:lnTo>
                    <a:lnTo>
                      <a:pt x="28483" y="32227"/>
                    </a:lnTo>
                    <a:lnTo>
                      <a:pt x="28521" y="27963"/>
                    </a:lnTo>
                    <a:lnTo>
                      <a:pt x="26829" y="26131"/>
                    </a:lnTo>
                    <a:lnTo>
                      <a:pt x="21031" y="26079"/>
                    </a:lnTo>
                    <a:lnTo>
                      <a:pt x="15907" y="26632"/>
                    </a:lnTo>
                    <a:lnTo>
                      <a:pt x="13507" y="27823"/>
                    </a:lnTo>
                    <a:lnTo>
                      <a:pt x="11156" y="24147"/>
                    </a:lnTo>
                    <a:lnTo>
                      <a:pt x="10208" y="16219"/>
                    </a:lnTo>
                    <a:lnTo>
                      <a:pt x="10295" y="7648"/>
                    </a:lnTo>
                    <a:lnTo>
                      <a:pt x="13724" y="6419"/>
                    </a:lnTo>
                    <a:lnTo>
                      <a:pt x="19720" y="0"/>
                    </a:lnTo>
                    <a:lnTo>
                      <a:pt x="33425" y="12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8" name="Freeform 9">
                <a:extLst>
                  <a:ext uri="{FF2B5EF4-FFF2-40B4-BE49-F238E27FC236}">
                    <a16:creationId xmlns:a16="http://schemas.microsoft.com/office/drawing/2014/main" id="{A1CC6CA3-F191-8DAA-E608-D0069AFCF8CC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4256619" y="3466545"/>
                <a:ext cx="82726" cy="62496"/>
              </a:xfrm>
              <a:custGeom>
                <a:avLst/>
                <a:gdLst/>
                <a:ahLst/>
                <a:cxnLst/>
                <a:rect l="0" t="0" r="0" b="0"/>
                <a:pathLst>
                  <a:path w="84937" h="64167">
                    <a:moveTo>
                      <a:pt x="56813" y="2044"/>
                    </a:moveTo>
                    <a:lnTo>
                      <a:pt x="58266" y="3834"/>
                    </a:lnTo>
                    <a:lnTo>
                      <a:pt x="61982" y="6182"/>
                    </a:lnTo>
                    <a:lnTo>
                      <a:pt x="67108" y="10285"/>
                    </a:lnTo>
                    <a:lnTo>
                      <a:pt x="76237" y="18454"/>
                    </a:lnTo>
                    <a:lnTo>
                      <a:pt x="84936" y="25997"/>
                    </a:lnTo>
                    <a:lnTo>
                      <a:pt x="84874" y="30637"/>
                    </a:lnTo>
                    <a:lnTo>
                      <a:pt x="84544" y="38285"/>
                    </a:lnTo>
                    <a:lnTo>
                      <a:pt x="84484" y="42707"/>
                    </a:lnTo>
                    <a:lnTo>
                      <a:pt x="84479" y="43152"/>
                    </a:lnTo>
                    <a:lnTo>
                      <a:pt x="78550" y="46646"/>
                    </a:lnTo>
                    <a:lnTo>
                      <a:pt x="66221" y="55318"/>
                    </a:lnTo>
                    <a:lnTo>
                      <a:pt x="55985" y="59195"/>
                    </a:lnTo>
                    <a:lnTo>
                      <a:pt x="50270" y="62721"/>
                    </a:lnTo>
                    <a:lnTo>
                      <a:pt x="49897" y="64166"/>
                    </a:lnTo>
                    <a:lnTo>
                      <a:pt x="44159" y="63433"/>
                    </a:lnTo>
                    <a:lnTo>
                      <a:pt x="36449" y="63713"/>
                    </a:lnTo>
                    <a:lnTo>
                      <a:pt x="24473" y="62296"/>
                    </a:lnTo>
                    <a:lnTo>
                      <a:pt x="17351" y="56147"/>
                    </a:lnTo>
                    <a:lnTo>
                      <a:pt x="7379" y="44697"/>
                    </a:lnTo>
                    <a:lnTo>
                      <a:pt x="2783" y="36564"/>
                    </a:lnTo>
                    <a:lnTo>
                      <a:pt x="0" y="27220"/>
                    </a:lnTo>
                    <a:lnTo>
                      <a:pt x="468" y="27672"/>
                    </a:lnTo>
                    <a:lnTo>
                      <a:pt x="5158" y="30584"/>
                    </a:lnTo>
                    <a:lnTo>
                      <a:pt x="9880" y="31877"/>
                    </a:lnTo>
                    <a:lnTo>
                      <a:pt x="15969" y="32383"/>
                    </a:lnTo>
                    <a:lnTo>
                      <a:pt x="21142" y="33284"/>
                    </a:lnTo>
                    <a:lnTo>
                      <a:pt x="26342" y="33375"/>
                    </a:lnTo>
                    <a:lnTo>
                      <a:pt x="30632" y="33448"/>
                    </a:lnTo>
                    <a:lnTo>
                      <a:pt x="34975" y="30302"/>
                    </a:lnTo>
                    <a:lnTo>
                      <a:pt x="35954" y="25480"/>
                    </a:lnTo>
                    <a:lnTo>
                      <a:pt x="34717" y="18626"/>
                    </a:lnTo>
                    <a:lnTo>
                      <a:pt x="31670" y="12137"/>
                    </a:lnTo>
                    <a:lnTo>
                      <a:pt x="28841" y="6065"/>
                    </a:lnTo>
                    <a:lnTo>
                      <a:pt x="27263" y="24"/>
                    </a:lnTo>
                    <a:lnTo>
                      <a:pt x="27256" y="0"/>
                    </a:lnTo>
                    <a:lnTo>
                      <a:pt x="53060" y="449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79" name="Freeform 10">
                <a:extLst>
                  <a:ext uri="{FF2B5EF4-FFF2-40B4-BE49-F238E27FC236}">
                    <a16:creationId xmlns:a16="http://schemas.microsoft.com/office/drawing/2014/main" id="{7EF956FD-0EAB-5CA8-2815-D69BA55A41E7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>
              <a:xfrm>
                <a:off x="4187052" y="3592643"/>
                <a:ext cx="135651" cy="220481"/>
              </a:xfrm>
              <a:custGeom>
                <a:avLst/>
                <a:gdLst/>
                <a:ahLst/>
                <a:cxnLst/>
                <a:rect l="0" t="0" r="0" b="0"/>
                <a:pathLst>
                  <a:path w="139277" h="226375">
                    <a:moveTo>
                      <a:pt x="125836" y="78945"/>
                    </a:moveTo>
                    <a:lnTo>
                      <a:pt x="119359" y="75972"/>
                    </a:lnTo>
                    <a:lnTo>
                      <a:pt x="113170" y="75874"/>
                    </a:lnTo>
                    <a:lnTo>
                      <a:pt x="107644" y="74628"/>
                    </a:lnTo>
                    <a:lnTo>
                      <a:pt x="105639" y="77479"/>
                    </a:lnTo>
                    <a:lnTo>
                      <a:pt x="105923" y="80347"/>
                    </a:lnTo>
                    <a:lnTo>
                      <a:pt x="109404" y="86724"/>
                    </a:lnTo>
                    <a:lnTo>
                      <a:pt x="111920" y="92511"/>
                    </a:lnTo>
                    <a:lnTo>
                      <a:pt x="115117" y="96572"/>
                    </a:lnTo>
                    <a:lnTo>
                      <a:pt x="121241" y="101842"/>
                    </a:lnTo>
                    <a:lnTo>
                      <a:pt x="127692" y="107678"/>
                    </a:lnTo>
                    <a:lnTo>
                      <a:pt x="132181" y="113481"/>
                    </a:lnTo>
                    <a:lnTo>
                      <a:pt x="134056" y="118683"/>
                    </a:lnTo>
                    <a:lnTo>
                      <a:pt x="134301" y="124996"/>
                    </a:lnTo>
                    <a:lnTo>
                      <a:pt x="134167" y="134187"/>
                    </a:lnTo>
                    <a:lnTo>
                      <a:pt x="134066" y="141068"/>
                    </a:lnTo>
                    <a:lnTo>
                      <a:pt x="133603" y="149683"/>
                    </a:lnTo>
                    <a:lnTo>
                      <a:pt x="131228" y="155958"/>
                    </a:lnTo>
                    <a:lnTo>
                      <a:pt x="128490" y="163372"/>
                    </a:lnTo>
                    <a:lnTo>
                      <a:pt x="128366" y="166016"/>
                    </a:lnTo>
                    <a:lnTo>
                      <a:pt x="123654" y="168315"/>
                    </a:lnTo>
                    <a:lnTo>
                      <a:pt x="112860" y="164435"/>
                    </a:lnTo>
                    <a:lnTo>
                      <a:pt x="110117" y="165239"/>
                    </a:lnTo>
                    <a:lnTo>
                      <a:pt x="96899" y="172249"/>
                    </a:lnTo>
                    <a:lnTo>
                      <a:pt x="88818" y="179950"/>
                    </a:lnTo>
                    <a:lnTo>
                      <a:pt x="87823" y="184505"/>
                    </a:lnTo>
                    <a:lnTo>
                      <a:pt x="89196" y="192913"/>
                    </a:lnTo>
                    <a:lnTo>
                      <a:pt x="94601" y="196404"/>
                    </a:lnTo>
                    <a:lnTo>
                      <a:pt x="95221" y="199178"/>
                    </a:lnTo>
                    <a:lnTo>
                      <a:pt x="94439" y="202563"/>
                    </a:lnTo>
                    <a:lnTo>
                      <a:pt x="92087" y="205169"/>
                    </a:lnTo>
                    <a:lnTo>
                      <a:pt x="76499" y="209464"/>
                    </a:lnTo>
                    <a:lnTo>
                      <a:pt x="62813" y="209415"/>
                    </a:lnTo>
                    <a:lnTo>
                      <a:pt x="60264" y="211915"/>
                    </a:lnTo>
                    <a:lnTo>
                      <a:pt x="54808" y="208194"/>
                    </a:lnTo>
                    <a:lnTo>
                      <a:pt x="39428" y="210758"/>
                    </a:lnTo>
                    <a:lnTo>
                      <a:pt x="36998" y="213581"/>
                    </a:lnTo>
                    <a:lnTo>
                      <a:pt x="35168" y="219053"/>
                    </a:lnTo>
                    <a:lnTo>
                      <a:pt x="29643" y="224565"/>
                    </a:lnTo>
                    <a:lnTo>
                      <a:pt x="27312" y="225267"/>
                    </a:lnTo>
                    <a:lnTo>
                      <a:pt x="19906" y="221491"/>
                    </a:lnTo>
                    <a:lnTo>
                      <a:pt x="13693" y="221255"/>
                    </a:lnTo>
                    <a:lnTo>
                      <a:pt x="3604" y="226374"/>
                    </a:lnTo>
                    <a:lnTo>
                      <a:pt x="3603" y="226370"/>
                    </a:lnTo>
                    <a:lnTo>
                      <a:pt x="3501" y="225777"/>
                    </a:lnTo>
                    <a:lnTo>
                      <a:pt x="609" y="218135"/>
                    </a:lnTo>
                    <a:lnTo>
                      <a:pt x="0" y="213642"/>
                    </a:lnTo>
                    <a:lnTo>
                      <a:pt x="330" y="205174"/>
                    </a:lnTo>
                    <a:lnTo>
                      <a:pt x="845" y="202603"/>
                    </a:lnTo>
                    <a:lnTo>
                      <a:pt x="1828" y="199360"/>
                    </a:lnTo>
                    <a:lnTo>
                      <a:pt x="5905" y="190122"/>
                    </a:lnTo>
                    <a:lnTo>
                      <a:pt x="7518" y="184979"/>
                    </a:lnTo>
                    <a:lnTo>
                      <a:pt x="8300" y="177205"/>
                    </a:lnTo>
                    <a:lnTo>
                      <a:pt x="10291" y="170158"/>
                    </a:lnTo>
                    <a:lnTo>
                      <a:pt x="14654" y="165871"/>
                    </a:lnTo>
                    <a:lnTo>
                      <a:pt x="23734" y="160239"/>
                    </a:lnTo>
                    <a:lnTo>
                      <a:pt x="38291" y="141186"/>
                    </a:lnTo>
                    <a:lnTo>
                      <a:pt x="39364" y="140322"/>
                    </a:lnTo>
                    <a:lnTo>
                      <a:pt x="41620" y="139762"/>
                    </a:lnTo>
                    <a:lnTo>
                      <a:pt x="42071" y="138559"/>
                    </a:lnTo>
                    <a:lnTo>
                      <a:pt x="42093" y="134486"/>
                    </a:lnTo>
                    <a:lnTo>
                      <a:pt x="42301" y="132561"/>
                    </a:lnTo>
                    <a:lnTo>
                      <a:pt x="47543" y="119775"/>
                    </a:lnTo>
                    <a:lnTo>
                      <a:pt x="48471" y="116388"/>
                    </a:lnTo>
                    <a:lnTo>
                      <a:pt x="48716" y="112630"/>
                    </a:lnTo>
                    <a:lnTo>
                      <a:pt x="48335" y="104317"/>
                    </a:lnTo>
                    <a:lnTo>
                      <a:pt x="48789" y="100718"/>
                    </a:lnTo>
                    <a:lnTo>
                      <a:pt x="50030" y="98410"/>
                    </a:lnTo>
                    <a:lnTo>
                      <a:pt x="57441" y="89539"/>
                    </a:lnTo>
                    <a:lnTo>
                      <a:pt x="61448" y="86258"/>
                    </a:lnTo>
                    <a:lnTo>
                      <a:pt x="63223" y="84053"/>
                    </a:lnTo>
                    <a:lnTo>
                      <a:pt x="64583" y="80377"/>
                    </a:lnTo>
                    <a:lnTo>
                      <a:pt x="66573" y="71535"/>
                    </a:lnTo>
                    <a:lnTo>
                      <a:pt x="68722" y="67190"/>
                    </a:lnTo>
                    <a:lnTo>
                      <a:pt x="75829" y="60932"/>
                    </a:lnTo>
                    <a:lnTo>
                      <a:pt x="90372" y="54321"/>
                    </a:lnTo>
                    <a:lnTo>
                      <a:pt x="95740" y="46794"/>
                    </a:lnTo>
                    <a:lnTo>
                      <a:pt x="97769" y="36441"/>
                    </a:lnTo>
                    <a:lnTo>
                      <a:pt x="95982" y="27188"/>
                    </a:lnTo>
                    <a:lnTo>
                      <a:pt x="90906" y="20475"/>
                    </a:lnTo>
                    <a:lnTo>
                      <a:pt x="83090" y="17630"/>
                    </a:lnTo>
                    <a:lnTo>
                      <a:pt x="87734" y="10809"/>
                    </a:lnTo>
                    <a:lnTo>
                      <a:pt x="89609" y="10946"/>
                    </a:lnTo>
                    <a:lnTo>
                      <a:pt x="91295" y="10630"/>
                    </a:lnTo>
                    <a:lnTo>
                      <a:pt x="99824" y="5611"/>
                    </a:lnTo>
                    <a:lnTo>
                      <a:pt x="106108" y="0"/>
                    </a:lnTo>
                    <a:lnTo>
                      <a:pt x="109460" y="3482"/>
                    </a:lnTo>
                    <a:lnTo>
                      <a:pt x="117195" y="7042"/>
                    </a:lnTo>
                    <a:lnTo>
                      <a:pt x="125537" y="13492"/>
                    </a:lnTo>
                    <a:lnTo>
                      <a:pt x="135861" y="18228"/>
                    </a:lnTo>
                    <a:lnTo>
                      <a:pt x="139276" y="28616"/>
                    </a:lnTo>
                    <a:lnTo>
                      <a:pt x="138849" y="36074"/>
                    </a:lnTo>
                    <a:lnTo>
                      <a:pt x="137794" y="41797"/>
                    </a:lnTo>
                    <a:lnTo>
                      <a:pt x="132498" y="48038"/>
                    </a:lnTo>
                    <a:lnTo>
                      <a:pt x="127559" y="51421"/>
                    </a:lnTo>
                    <a:lnTo>
                      <a:pt x="126527" y="55987"/>
                    </a:lnTo>
                    <a:lnTo>
                      <a:pt x="128076" y="60611"/>
                    </a:lnTo>
                    <a:lnTo>
                      <a:pt x="130290" y="64653"/>
                    </a:lnTo>
                    <a:lnTo>
                      <a:pt x="131202" y="69269"/>
                    </a:lnTo>
                    <a:lnTo>
                      <a:pt x="131108" y="75588"/>
                    </a:lnTo>
                    <a:lnTo>
                      <a:pt x="130076" y="7900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0" name="Freeform 11">
                <a:extLst>
                  <a:ext uri="{FF2B5EF4-FFF2-40B4-BE49-F238E27FC236}">
                    <a16:creationId xmlns:a16="http://schemas.microsoft.com/office/drawing/2014/main" id="{E098B64B-8A45-AF8B-66D3-6F8908FD820D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4359330" y="3504682"/>
                <a:ext cx="180805" cy="202175"/>
              </a:xfrm>
              <a:custGeom>
                <a:avLst/>
                <a:gdLst/>
                <a:ahLst/>
                <a:cxnLst/>
                <a:rect l="0" t="0" r="0" b="0"/>
                <a:pathLst>
                  <a:path w="185638" h="207579">
                    <a:moveTo>
                      <a:pt x="32825" y="2169"/>
                    </a:moveTo>
                    <a:lnTo>
                      <a:pt x="37562" y="1562"/>
                    </a:lnTo>
                    <a:lnTo>
                      <a:pt x="37555" y="2334"/>
                    </a:lnTo>
                    <a:lnTo>
                      <a:pt x="41619" y="7249"/>
                    </a:lnTo>
                    <a:lnTo>
                      <a:pt x="59315" y="21421"/>
                    </a:lnTo>
                    <a:lnTo>
                      <a:pt x="71569" y="32473"/>
                    </a:lnTo>
                    <a:lnTo>
                      <a:pt x="77371" y="37390"/>
                    </a:lnTo>
                    <a:lnTo>
                      <a:pt x="80797" y="38025"/>
                    </a:lnTo>
                    <a:lnTo>
                      <a:pt x="88372" y="33808"/>
                    </a:lnTo>
                    <a:lnTo>
                      <a:pt x="102476" y="26581"/>
                    </a:lnTo>
                    <a:lnTo>
                      <a:pt x="112793" y="18791"/>
                    </a:lnTo>
                    <a:lnTo>
                      <a:pt x="113268" y="20688"/>
                    </a:lnTo>
                    <a:lnTo>
                      <a:pt x="114827" y="20912"/>
                    </a:lnTo>
                    <a:lnTo>
                      <a:pt x="118126" y="16780"/>
                    </a:lnTo>
                    <a:lnTo>
                      <a:pt x="122548" y="14367"/>
                    </a:lnTo>
                    <a:lnTo>
                      <a:pt x="139080" y="11123"/>
                    </a:lnTo>
                    <a:lnTo>
                      <a:pt x="143623" y="11983"/>
                    </a:lnTo>
                    <a:lnTo>
                      <a:pt x="148979" y="17308"/>
                    </a:lnTo>
                    <a:lnTo>
                      <a:pt x="158049" y="18172"/>
                    </a:lnTo>
                    <a:lnTo>
                      <a:pt x="171997" y="24247"/>
                    </a:lnTo>
                    <a:lnTo>
                      <a:pt x="171829" y="27525"/>
                    </a:lnTo>
                    <a:lnTo>
                      <a:pt x="176844" y="37813"/>
                    </a:lnTo>
                    <a:lnTo>
                      <a:pt x="176726" y="43876"/>
                    </a:lnTo>
                    <a:lnTo>
                      <a:pt x="179590" y="45990"/>
                    </a:lnTo>
                    <a:lnTo>
                      <a:pt x="184374" y="45771"/>
                    </a:lnTo>
                    <a:lnTo>
                      <a:pt x="185637" y="47903"/>
                    </a:lnTo>
                    <a:lnTo>
                      <a:pt x="167318" y="70510"/>
                    </a:lnTo>
                    <a:lnTo>
                      <a:pt x="167014" y="74853"/>
                    </a:lnTo>
                    <a:lnTo>
                      <a:pt x="168991" y="76454"/>
                    </a:lnTo>
                    <a:lnTo>
                      <a:pt x="169586" y="79209"/>
                    </a:lnTo>
                    <a:lnTo>
                      <a:pt x="167608" y="84412"/>
                    </a:lnTo>
                    <a:lnTo>
                      <a:pt x="159325" y="85785"/>
                    </a:lnTo>
                    <a:lnTo>
                      <a:pt x="157045" y="88961"/>
                    </a:lnTo>
                    <a:lnTo>
                      <a:pt x="162140" y="97566"/>
                    </a:lnTo>
                    <a:lnTo>
                      <a:pt x="162542" y="102019"/>
                    </a:lnTo>
                    <a:lnTo>
                      <a:pt x="165611" y="104254"/>
                    </a:lnTo>
                    <a:lnTo>
                      <a:pt x="166379" y="107020"/>
                    </a:lnTo>
                    <a:lnTo>
                      <a:pt x="165236" y="111046"/>
                    </a:lnTo>
                    <a:lnTo>
                      <a:pt x="166076" y="121553"/>
                    </a:lnTo>
                    <a:lnTo>
                      <a:pt x="160178" y="130254"/>
                    </a:lnTo>
                    <a:lnTo>
                      <a:pt x="159987" y="135349"/>
                    </a:lnTo>
                    <a:lnTo>
                      <a:pt x="155268" y="150942"/>
                    </a:lnTo>
                    <a:lnTo>
                      <a:pt x="162729" y="161782"/>
                    </a:lnTo>
                    <a:lnTo>
                      <a:pt x="148124" y="171623"/>
                    </a:lnTo>
                    <a:lnTo>
                      <a:pt x="148535" y="178950"/>
                    </a:lnTo>
                    <a:lnTo>
                      <a:pt x="147193" y="184911"/>
                    </a:lnTo>
                    <a:lnTo>
                      <a:pt x="147116" y="192335"/>
                    </a:lnTo>
                    <a:lnTo>
                      <a:pt x="139427" y="196443"/>
                    </a:lnTo>
                    <a:lnTo>
                      <a:pt x="138095" y="198888"/>
                    </a:lnTo>
                    <a:lnTo>
                      <a:pt x="137355" y="206430"/>
                    </a:lnTo>
                    <a:lnTo>
                      <a:pt x="131791" y="207578"/>
                    </a:lnTo>
                    <a:lnTo>
                      <a:pt x="125533" y="199797"/>
                    </a:lnTo>
                    <a:lnTo>
                      <a:pt x="118964" y="195646"/>
                    </a:lnTo>
                    <a:lnTo>
                      <a:pt x="117654" y="191810"/>
                    </a:lnTo>
                    <a:lnTo>
                      <a:pt x="117523" y="179605"/>
                    </a:lnTo>
                    <a:lnTo>
                      <a:pt x="109990" y="176394"/>
                    </a:lnTo>
                    <a:lnTo>
                      <a:pt x="104334" y="161813"/>
                    </a:lnTo>
                    <a:lnTo>
                      <a:pt x="92179" y="147532"/>
                    </a:lnTo>
                    <a:lnTo>
                      <a:pt x="80772" y="144184"/>
                    </a:lnTo>
                    <a:lnTo>
                      <a:pt x="63851" y="144263"/>
                    </a:lnTo>
                    <a:lnTo>
                      <a:pt x="59604" y="141148"/>
                    </a:lnTo>
                    <a:lnTo>
                      <a:pt x="58127" y="141690"/>
                    </a:lnTo>
                    <a:lnTo>
                      <a:pt x="60111" y="134359"/>
                    </a:lnTo>
                    <a:lnTo>
                      <a:pt x="62462" y="124050"/>
                    </a:lnTo>
                    <a:lnTo>
                      <a:pt x="63161" y="118309"/>
                    </a:lnTo>
                    <a:lnTo>
                      <a:pt x="63214" y="111427"/>
                    </a:lnTo>
                    <a:lnTo>
                      <a:pt x="60985" y="105674"/>
                    </a:lnTo>
                    <a:lnTo>
                      <a:pt x="56486" y="99892"/>
                    </a:lnTo>
                    <a:lnTo>
                      <a:pt x="52600" y="98714"/>
                    </a:lnTo>
                    <a:lnTo>
                      <a:pt x="48375" y="99251"/>
                    </a:lnTo>
                    <a:lnTo>
                      <a:pt x="44453" y="102080"/>
                    </a:lnTo>
                    <a:lnTo>
                      <a:pt x="40843" y="106076"/>
                    </a:lnTo>
                    <a:lnTo>
                      <a:pt x="34024" y="106585"/>
                    </a:lnTo>
                    <a:lnTo>
                      <a:pt x="22007" y="106465"/>
                    </a:lnTo>
                    <a:lnTo>
                      <a:pt x="16489" y="106406"/>
                    </a:lnTo>
                    <a:lnTo>
                      <a:pt x="12267" y="106360"/>
                    </a:lnTo>
                    <a:lnTo>
                      <a:pt x="9055" y="103460"/>
                    </a:lnTo>
                    <a:lnTo>
                      <a:pt x="10084" y="98870"/>
                    </a:lnTo>
                    <a:lnTo>
                      <a:pt x="15338" y="92609"/>
                    </a:lnTo>
                    <a:lnTo>
                      <a:pt x="17658" y="88625"/>
                    </a:lnTo>
                    <a:lnTo>
                      <a:pt x="17689" y="85742"/>
                    </a:lnTo>
                    <a:lnTo>
                      <a:pt x="16109" y="81716"/>
                    </a:lnTo>
                    <a:lnTo>
                      <a:pt x="11617" y="77067"/>
                    </a:lnTo>
                    <a:lnTo>
                      <a:pt x="8107" y="72445"/>
                    </a:lnTo>
                    <a:lnTo>
                      <a:pt x="3363" y="62635"/>
                    </a:lnTo>
                    <a:lnTo>
                      <a:pt x="1140" y="55165"/>
                    </a:lnTo>
                    <a:lnTo>
                      <a:pt x="3742" y="54544"/>
                    </a:lnTo>
                    <a:lnTo>
                      <a:pt x="6699" y="53374"/>
                    </a:lnTo>
                    <a:lnTo>
                      <a:pt x="7668" y="48555"/>
                    </a:lnTo>
                    <a:lnTo>
                      <a:pt x="8192" y="42114"/>
                    </a:lnTo>
                    <a:lnTo>
                      <a:pt x="6894" y="36472"/>
                    </a:lnTo>
                    <a:lnTo>
                      <a:pt x="4888" y="34039"/>
                    </a:lnTo>
                    <a:lnTo>
                      <a:pt x="1302" y="30778"/>
                    </a:lnTo>
                    <a:lnTo>
                      <a:pt x="0" y="26338"/>
                    </a:lnTo>
                    <a:lnTo>
                      <a:pt x="1152" y="24753"/>
                    </a:lnTo>
                    <a:lnTo>
                      <a:pt x="2991" y="21951"/>
                    </a:lnTo>
                    <a:lnTo>
                      <a:pt x="3948" y="17538"/>
                    </a:lnTo>
                    <a:lnTo>
                      <a:pt x="3910" y="14141"/>
                    </a:lnTo>
                    <a:lnTo>
                      <a:pt x="4436" y="14741"/>
                    </a:lnTo>
                    <a:lnTo>
                      <a:pt x="6890" y="17572"/>
                    </a:lnTo>
                    <a:lnTo>
                      <a:pt x="12092" y="17631"/>
                    </a:lnTo>
                    <a:lnTo>
                      <a:pt x="14851" y="13634"/>
                    </a:lnTo>
                    <a:lnTo>
                      <a:pt x="15116" y="9213"/>
                    </a:lnTo>
                    <a:lnTo>
                      <a:pt x="13365" y="3970"/>
                    </a:lnTo>
                    <a:lnTo>
                      <a:pt x="14307" y="1562"/>
                    </a:lnTo>
                    <a:lnTo>
                      <a:pt x="17702" y="0"/>
                    </a:lnTo>
                    <a:lnTo>
                      <a:pt x="23130" y="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1" name="Freeform 12">
                <a:extLst>
                  <a:ext uri="{FF2B5EF4-FFF2-40B4-BE49-F238E27FC236}">
                    <a16:creationId xmlns:a16="http://schemas.microsoft.com/office/drawing/2014/main" id="{AEEBD172-30B1-1C48-FE23-F98CDC6168B1}"/>
                  </a:ext>
                </a:extLst>
              </p:cNvPr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>
              <a:xfrm>
                <a:off x="4288987" y="3411548"/>
                <a:ext cx="51419" cy="80319"/>
              </a:xfrm>
              <a:custGeom>
                <a:avLst/>
                <a:gdLst/>
                <a:ahLst/>
                <a:cxnLst/>
                <a:rect l="0" t="0" r="0" b="0"/>
                <a:pathLst>
                  <a:path w="52794" h="82466">
                    <a:moveTo>
                      <a:pt x="17450" y="2342"/>
                    </a:moveTo>
                    <a:lnTo>
                      <a:pt x="17435" y="2243"/>
                    </a:lnTo>
                    <a:lnTo>
                      <a:pt x="21895" y="6104"/>
                    </a:lnTo>
                    <a:lnTo>
                      <a:pt x="33276" y="9672"/>
                    </a:lnTo>
                    <a:lnTo>
                      <a:pt x="37144" y="12908"/>
                    </a:lnTo>
                    <a:lnTo>
                      <a:pt x="36822" y="14602"/>
                    </a:lnTo>
                    <a:lnTo>
                      <a:pt x="28031" y="19252"/>
                    </a:lnTo>
                    <a:lnTo>
                      <a:pt x="27435" y="23606"/>
                    </a:lnTo>
                    <a:lnTo>
                      <a:pt x="30499" y="29063"/>
                    </a:lnTo>
                    <a:lnTo>
                      <a:pt x="36111" y="30844"/>
                    </a:lnTo>
                    <a:lnTo>
                      <a:pt x="40984" y="39612"/>
                    </a:lnTo>
                    <a:lnTo>
                      <a:pt x="44867" y="41257"/>
                    </a:lnTo>
                    <a:lnTo>
                      <a:pt x="50346" y="39811"/>
                    </a:lnTo>
                    <a:lnTo>
                      <a:pt x="50485" y="55720"/>
                    </a:lnTo>
                    <a:lnTo>
                      <a:pt x="51045" y="64169"/>
                    </a:lnTo>
                    <a:lnTo>
                      <a:pt x="52793" y="66740"/>
                    </a:lnTo>
                    <a:lnTo>
                      <a:pt x="51829" y="73038"/>
                    </a:lnTo>
                    <a:lnTo>
                      <a:pt x="51726" y="80678"/>
                    </a:lnTo>
                    <a:lnTo>
                      <a:pt x="51702" y="82465"/>
                    </a:lnTo>
                    <a:lnTo>
                      <a:pt x="43003" y="74922"/>
                    </a:lnTo>
                    <a:lnTo>
                      <a:pt x="33874" y="66753"/>
                    </a:lnTo>
                    <a:lnTo>
                      <a:pt x="28748" y="62650"/>
                    </a:lnTo>
                    <a:lnTo>
                      <a:pt x="25032" y="60302"/>
                    </a:lnTo>
                    <a:lnTo>
                      <a:pt x="23579" y="58512"/>
                    </a:lnTo>
                    <a:lnTo>
                      <a:pt x="25081" y="57529"/>
                    </a:lnTo>
                    <a:lnTo>
                      <a:pt x="1850" y="52106"/>
                    </a:lnTo>
                    <a:lnTo>
                      <a:pt x="1847" y="52104"/>
                    </a:lnTo>
                    <a:lnTo>
                      <a:pt x="1435" y="50683"/>
                    </a:lnTo>
                    <a:lnTo>
                      <a:pt x="431" y="44920"/>
                    </a:lnTo>
                    <a:lnTo>
                      <a:pt x="115" y="37192"/>
                    </a:lnTo>
                    <a:lnTo>
                      <a:pt x="104" y="36857"/>
                    </a:lnTo>
                    <a:lnTo>
                      <a:pt x="45" y="33163"/>
                    </a:lnTo>
                    <a:lnTo>
                      <a:pt x="0" y="29608"/>
                    </a:lnTo>
                    <a:lnTo>
                      <a:pt x="68" y="28898"/>
                    </a:lnTo>
                    <a:lnTo>
                      <a:pt x="500" y="25192"/>
                    </a:lnTo>
                    <a:lnTo>
                      <a:pt x="501" y="25132"/>
                    </a:lnTo>
                    <a:lnTo>
                      <a:pt x="614" y="22389"/>
                    </a:lnTo>
                    <a:lnTo>
                      <a:pt x="719" y="19765"/>
                    </a:lnTo>
                    <a:lnTo>
                      <a:pt x="1197" y="5574"/>
                    </a:lnTo>
                    <a:lnTo>
                      <a:pt x="927" y="0"/>
                    </a:lnTo>
                    <a:lnTo>
                      <a:pt x="1131" y="4"/>
                    </a:lnTo>
                    <a:lnTo>
                      <a:pt x="5886" y="83"/>
                    </a:lnTo>
                    <a:lnTo>
                      <a:pt x="11570" y="19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2" name="Freeform 13">
                <a:extLst>
                  <a:ext uri="{FF2B5EF4-FFF2-40B4-BE49-F238E27FC236}">
                    <a16:creationId xmlns:a16="http://schemas.microsoft.com/office/drawing/2014/main" id="{E091E87F-B060-3DD9-4954-89DC316118BA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>
              <a:xfrm>
                <a:off x="4750041" y="2978734"/>
                <a:ext cx="62389" cy="59255"/>
              </a:xfrm>
              <a:custGeom>
                <a:avLst/>
                <a:gdLst/>
                <a:ahLst/>
                <a:cxnLst/>
                <a:rect l="0" t="0" r="0" b="0"/>
                <a:pathLst>
                  <a:path w="64057" h="60839">
                    <a:moveTo>
                      <a:pt x="36554" y="7320"/>
                    </a:moveTo>
                    <a:lnTo>
                      <a:pt x="39521" y="7266"/>
                    </a:lnTo>
                    <a:lnTo>
                      <a:pt x="42295" y="7215"/>
                    </a:lnTo>
                    <a:lnTo>
                      <a:pt x="44474" y="4785"/>
                    </a:lnTo>
                    <a:lnTo>
                      <a:pt x="46452" y="1668"/>
                    </a:lnTo>
                    <a:lnTo>
                      <a:pt x="48650" y="600"/>
                    </a:lnTo>
                    <a:lnTo>
                      <a:pt x="51422" y="548"/>
                    </a:lnTo>
                    <a:lnTo>
                      <a:pt x="53827" y="502"/>
                    </a:lnTo>
                    <a:lnTo>
                      <a:pt x="58266" y="416"/>
                    </a:lnTo>
                    <a:lnTo>
                      <a:pt x="61989" y="1369"/>
                    </a:lnTo>
                    <a:lnTo>
                      <a:pt x="62578" y="1910"/>
                    </a:lnTo>
                    <a:lnTo>
                      <a:pt x="64055" y="3076"/>
                    </a:lnTo>
                    <a:lnTo>
                      <a:pt x="64056" y="3077"/>
                    </a:lnTo>
                    <a:lnTo>
                      <a:pt x="63460" y="4765"/>
                    </a:lnTo>
                    <a:lnTo>
                      <a:pt x="58920" y="24680"/>
                    </a:lnTo>
                    <a:lnTo>
                      <a:pt x="57911" y="32506"/>
                    </a:lnTo>
                    <a:lnTo>
                      <a:pt x="58616" y="39613"/>
                    </a:lnTo>
                    <a:lnTo>
                      <a:pt x="62627" y="42645"/>
                    </a:lnTo>
                    <a:lnTo>
                      <a:pt x="63326" y="45911"/>
                    </a:lnTo>
                    <a:lnTo>
                      <a:pt x="60158" y="52965"/>
                    </a:lnTo>
                    <a:lnTo>
                      <a:pt x="59536" y="51319"/>
                    </a:lnTo>
                    <a:lnTo>
                      <a:pt x="58129" y="49628"/>
                    </a:lnTo>
                    <a:lnTo>
                      <a:pt x="51988" y="49074"/>
                    </a:lnTo>
                    <a:lnTo>
                      <a:pt x="46261" y="50545"/>
                    </a:lnTo>
                    <a:lnTo>
                      <a:pt x="37205" y="52764"/>
                    </a:lnTo>
                    <a:lnTo>
                      <a:pt x="31283" y="54233"/>
                    </a:lnTo>
                    <a:lnTo>
                      <a:pt x="24260" y="56061"/>
                    </a:lnTo>
                    <a:lnTo>
                      <a:pt x="18157" y="57537"/>
                    </a:lnTo>
                    <a:lnTo>
                      <a:pt x="12634" y="60352"/>
                    </a:lnTo>
                    <a:lnTo>
                      <a:pt x="7441" y="60791"/>
                    </a:lnTo>
                    <a:lnTo>
                      <a:pt x="4468" y="60838"/>
                    </a:lnTo>
                    <a:lnTo>
                      <a:pt x="1834" y="58826"/>
                    </a:lnTo>
                    <a:lnTo>
                      <a:pt x="466" y="54395"/>
                    </a:lnTo>
                    <a:lnTo>
                      <a:pt x="0" y="48251"/>
                    </a:lnTo>
                    <a:lnTo>
                      <a:pt x="483" y="43466"/>
                    </a:lnTo>
                    <a:lnTo>
                      <a:pt x="1929" y="40699"/>
                    </a:lnTo>
                    <a:lnTo>
                      <a:pt x="6928" y="40620"/>
                    </a:lnTo>
                    <a:lnTo>
                      <a:pt x="13234" y="40182"/>
                    </a:lnTo>
                    <a:lnTo>
                      <a:pt x="16305" y="35353"/>
                    </a:lnTo>
                    <a:lnTo>
                      <a:pt x="17685" y="29514"/>
                    </a:lnTo>
                    <a:lnTo>
                      <a:pt x="16286" y="23723"/>
                    </a:lnTo>
                    <a:lnTo>
                      <a:pt x="14014" y="20344"/>
                    </a:lnTo>
                    <a:lnTo>
                      <a:pt x="11187" y="17666"/>
                    </a:lnTo>
                    <a:lnTo>
                      <a:pt x="10172" y="12213"/>
                    </a:lnTo>
                    <a:lnTo>
                      <a:pt x="10667" y="8443"/>
                    </a:lnTo>
                    <a:lnTo>
                      <a:pt x="11926" y="6023"/>
                    </a:lnTo>
                    <a:lnTo>
                      <a:pt x="13900" y="2239"/>
                    </a:lnTo>
                    <a:lnTo>
                      <a:pt x="17195" y="487"/>
                    </a:lnTo>
                    <a:lnTo>
                      <a:pt x="24957" y="0"/>
                    </a:lnTo>
                    <a:lnTo>
                      <a:pt x="29766" y="272"/>
                    </a:lnTo>
                    <a:lnTo>
                      <a:pt x="33342" y="32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3" name="Freeform 14">
                <a:extLst>
                  <a:ext uri="{FF2B5EF4-FFF2-40B4-BE49-F238E27FC236}">
                    <a16:creationId xmlns:a16="http://schemas.microsoft.com/office/drawing/2014/main" id="{BC364427-FCFE-EAF4-1620-CA210034512E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>
              <a:xfrm>
                <a:off x="4458297" y="2805620"/>
                <a:ext cx="408792" cy="359974"/>
              </a:xfrm>
              <a:custGeom>
                <a:avLst/>
                <a:gdLst/>
                <a:ahLst/>
                <a:cxnLst/>
                <a:rect l="0" t="0" r="0" b="0"/>
                <a:pathLst>
                  <a:path w="419720" h="369597">
                    <a:moveTo>
                      <a:pt x="363598" y="180819"/>
                    </a:moveTo>
                    <a:lnTo>
                      <a:pt x="363597" y="180818"/>
                    </a:lnTo>
                    <a:lnTo>
                      <a:pt x="362120" y="179652"/>
                    </a:lnTo>
                    <a:lnTo>
                      <a:pt x="361531" y="179111"/>
                    </a:lnTo>
                    <a:lnTo>
                      <a:pt x="357808" y="178158"/>
                    </a:lnTo>
                    <a:lnTo>
                      <a:pt x="353369" y="178244"/>
                    </a:lnTo>
                    <a:lnTo>
                      <a:pt x="350964" y="178290"/>
                    </a:lnTo>
                    <a:lnTo>
                      <a:pt x="348192" y="178342"/>
                    </a:lnTo>
                    <a:lnTo>
                      <a:pt x="345994" y="179410"/>
                    </a:lnTo>
                    <a:lnTo>
                      <a:pt x="344016" y="182527"/>
                    </a:lnTo>
                    <a:lnTo>
                      <a:pt x="341837" y="184957"/>
                    </a:lnTo>
                    <a:lnTo>
                      <a:pt x="339063" y="185008"/>
                    </a:lnTo>
                    <a:lnTo>
                      <a:pt x="336096" y="185062"/>
                    </a:lnTo>
                    <a:lnTo>
                      <a:pt x="332884" y="181012"/>
                    </a:lnTo>
                    <a:lnTo>
                      <a:pt x="329308" y="178014"/>
                    </a:lnTo>
                    <a:lnTo>
                      <a:pt x="324499" y="177742"/>
                    </a:lnTo>
                    <a:lnTo>
                      <a:pt x="316737" y="178229"/>
                    </a:lnTo>
                    <a:lnTo>
                      <a:pt x="313442" y="179981"/>
                    </a:lnTo>
                    <a:lnTo>
                      <a:pt x="311468" y="183765"/>
                    </a:lnTo>
                    <a:lnTo>
                      <a:pt x="310209" y="186185"/>
                    </a:lnTo>
                    <a:lnTo>
                      <a:pt x="309714" y="189955"/>
                    </a:lnTo>
                    <a:lnTo>
                      <a:pt x="310729" y="195408"/>
                    </a:lnTo>
                    <a:lnTo>
                      <a:pt x="313556" y="198086"/>
                    </a:lnTo>
                    <a:lnTo>
                      <a:pt x="315828" y="201465"/>
                    </a:lnTo>
                    <a:lnTo>
                      <a:pt x="317227" y="207256"/>
                    </a:lnTo>
                    <a:lnTo>
                      <a:pt x="315847" y="213095"/>
                    </a:lnTo>
                    <a:lnTo>
                      <a:pt x="312776" y="217924"/>
                    </a:lnTo>
                    <a:lnTo>
                      <a:pt x="306470" y="218362"/>
                    </a:lnTo>
                    <a:lnTo>
                      <a:pt x="301471" y="218441"/>
                    </a:lnTo>
                    <a:lnTo>
                      <a:pt x="300025" y="221208"/>
                    </a:lnTo>
                    <a:lnTo>
                      <a:pt x="299542" y="225993"/>
                    </a:lnTo>
                    <a:lnTo>
                      <a:pt x="300008" y="232137"/>
                    </a:lnTo>
                    <a:lnTo>
                      <a:pt x="301376" y="236568"/>
                    </a:lnTo>
                    <a:lnTo>
                      <a:pt x="304010" y="238580"/>
                    </a:lnTo>
                    <a:lnTo>
                      <a:pt x="306983" y="238533"/>
                    </a:lnTo>
                    <a:lnTo>
                      <a:pt x="312176" y="238094"/>
                    </a:lnTo>
                    <a:lnTo>
                      <a:pt x="317699" y="235279"/>
                    </a:lnTo>
                    <a:lnTo>
                      <a:pt x="323802" y="233803"/>
                    </a:lnTo>
                    <a:lnTo>
                      <a:pt x="330825" y="231975"/>
                    </a:lnTo>
                    <a:lnTo>
                      <a:pt x="336747" y="230506"/>
                    </a:lnTo>
                    <a:lnTo>
                      <a:pt x="345803" y="228287"/>
                    </a:lnTo>
                    <a:lnTo>
                      <a:pt x="351530" y="226816"/>
                    </a:lnTo>
                    <a:lnTo>
                      <a:pt x="357671" y="227370"/>
                    </a:lnTo>
                    <a:lnTo>
                      <a:pt x="359078" y="229061"/>
                    </a:lnTo>
                    <a:lnTo>
                      <a:pt x="359700" y="230707"/>
                    </a:lnTo>
                    <a:lnTo>
                      <a:pt x="359698" y="230713"/>
                    </a:lnTo>
                    <a:lnTo>
                      <a:pt x="359585" y="230980"/>
                    </a:lnTo>
                    <a:lnTo>
                      <a:pt x="341395" y="261566"/>
                    </a:lnTo>
                    <a:lnTo>
                      <a:pt x="335245" y="275438"/>
                    </a:lnTo>
                    <a:lnTo>
                      <a:pt x="332745" y="289228"/>
                    </a:lnTo>
                    <a:lnTo>
                      <a:pt x="333422" y="292449"/>
                    </a:lnTo>
                    <a:lnTo>
                      <a:pt x="334694" y="294759"/>
                    </a:lnTo>
                    <a:lnTo>
                      <a:pt x="335780" y="297571"/>
                    </a:lnTo>
                    <a:lnTo>
                      <a:pt x="335838" y="302235"/>
                    </a:lnTo>
                    <a:lnTo>
                      <a:pt x="334849" y="304398"/>
                    </a:lnTo>
                    <a:lnTo>
                      <a:pt x="331101" y="309470"/>
                    </a:lnTo>
                    <a:lnTo>
                      <a:pt x="330303" y="311443"/>
                    </a:lnTo>
                    <a:lnTo>
                      <a:pt x="329133" y="318367"/>
                    </a:lnTo>
                    <a:lnTo>
                      <a:pt x="326132" y="322710"/>
                    </a:lnTo>
                    <a:lnTo>
                      <a:pt x="319055" y="328583"/>
                    </a:lnTo>
                    <a:lnTo>
                      <a:pt x="313575" y="336727"/>
                    </a:lnTo>
                    <a:lnTo>
                      <a:pt x="308701" y="345855"/>
                    </a:lnTo>
                    <a:lnTo>
                      <a:pt x="305360" y="350012"/>
                    </a:lnTo>
                    <a:lnTo>
                      <a:pt x="293806" y="357698"/>
                    </a:lnTo>
                    <a:lnTo>
                      <a:pt x="290326" y="360907"/>
                    </a:lnTo>
                    <a:lnTo>
                      <a:pt x="286675" y="365406"/>
                    </a:lnTo>
                    <a:lnTo>
                      <a:pt x="284742" y="369596"/>
                    </a:lnTo>
                    <a:lnTo>
                      <a:pt x="282568" y="367686"/>
                    </a:lnTo>
                    <a:lnTo>
                      <a:pt x="278371" y="367744"/>
                    </a:lnTo>
                    <a:lnTo>
                      <a:pt x="272455" y="368348"/>
                    </a:lnTo>
                    <a:lnTo>
                      <a:pt x="263765" y="357946"/>
                    </a:lnTo>
                    <a:lnTo>
                      <a:pt x="251290" y="356402"/>
                    </a:lnTo>
                    <a:lnTo>
                      <a:pt x="246024" y="353068"/>
                    </a:lnTo>
                    <a:lnTo>
                      <a:pt x="235561" y="337704"/>
                    </a:lnTo>
                    <a:lnTo>
                      <a:pt x="235905" y="332597"/>
                    </a:lnTo>
                    <a:lnTo>
                      <a:pt x="234559" y="325611"/>
                    </a:lnTo>
                    <a:lnTo>
                      <a:pt x="238010" y="317933"/>
                    </a:lnTo>
                    <a:lnTo>
                      <a:pt x="238358" y="313358"/>
                    </a:lnTo>
                    <a:lnTo>
                      <a:pt x="233929" y="310434"/>
                    </a:lnTo>
                    <a:lnTo>
                      <a:pt x="231582" y="302818"/>
                    </a:lnTo>
                    <a:lnTo>
                      <a:pt x="223231" y="296852"/>
                    </a:lnTo>
                    <a:lnTo>
                      <a:pt x="219748" y="290095"/>
                    </a:lnTo>
                    <a:lnTo>
                      <a:pt x="216249" y="286940"/>
                    </a:lnTo>
                    <a:lnTo>
                      <a:pt x="206170" y="287033"/>
                    </a:lnTo>
                    <a:lnTo>
                      <a:pt x="201206" y="281459"/>
                    </a:lnTo>
                    <a:lnTo>
                      <a:pt x="192486" y="277297"/>
                    </a:lnTo>
                    <a:lnTo>
                      <a:pt x="188156" y="278060"/>
                    </a:lnTo>
                    <a:lnTo>
                      <a:pt x="180965" y="283001"/>
                    </a:lnTo>
                    <a:lnTo>
                      <a:pt x="160476" y="282490"/>
                    </a:lnTo>
                    <a:lnTo>
                      <a:pt x="153607" y="285391"/>
                    </a:lnTo>
                    <a:lnTo>
                      <a:pt x="149635" y="288709"/>
                    </a:lnTo>
                    <a:lnTo>
                      <a:pt x="147731" y="292538"/>
                    </a:lnTo>
                    <a:lnTo>
                      <a:pt x="143653" y="310910"/>
                    </a:lnTo>
                    <a:lnTo>
                      <a:pt x="140936" y="313588"/>
                    </a:lnTo>
                    <a:lnTo>
                      <a:pt x="132800" y="307460"/>
                    </a:lnTo>
                    <a:lnTo>
                      <a:pt x="124801" y="306531"/>
                    </a:lnTo>
                    <a:lnTo>
                      <a:pt x="108788" y="298509"/>
                    </a:lnTo>
                    <a:lnTo>
                      <a:pt x="106931" y="299679"/>
                    </a:lnTo>
                    <a:lnTo>
                      <a:pt x="106246" y="307537"/>
                    </a:lnTo>
                    <a:lnTo>
                      <a:pt x="104924" y="309870"/>
                    </a:lnTo>
                    <a:lnTo>
                      <a:pt x="94148" y="312433"/>
                    </a:lnTo>
                    <a:lnTo>
                      <a:pt x="88640" y="317433"/>
                    </a:lnTo>
                    <a:lnTo>
                      <a:pt x="83697" y="317160"/>
                    </a:lnTo>
                    <a:lnTo>
                      <a:pt x="75761" y="316688"/>
                    </a:lnTo>
                    <a:lnTo>
                      <a:pt x="69847" y="319449"/>
                    </a:lnTo>
                    <a:lnTo>
                      <a:pt x="61144" y="313717"/>
                    </a:lnTo>
                    <a:lnTo>
                      <a:pt x="51458" y="315499"/>
                    </a:lnTo>
                    <a:lnTo>
                      <a:pt x="48742" y="314329"/>
                    </a:lnTo>
                    <a:lnTo>
                      <a:pt x="47236" y="312411"/>
                    </a:lnTo>
                    <a:lnTo>
                      <a:pt x="47317" y="301907"/>
                    </a:lnTo>
                    <a:lnTo>
                      <a:pt x="43439" y="298622"/>
                    </a:lnTo>
                    <a:lnTo>
                      <a:pt x="35791" y="301129"/>
                    </a:lnTo>
                    <a:lnTo>
                      <a:pt x="27975" y="298578"/>
                    </a:lnTo>
                    <a:lnTo>
                      <a:pt x="22632" y="302269"/>
                    </a:lnTo>
                    <a:lnTo>
                      <a:pt x="18345" y="302786"/>
                    </a:lnTo>
                    <a:lnTo>
                      <a:pt x="14293" y="301269"/>
                    </a:lnTo>
                    <a:lnTo>
                      <a:pt x="11007" y="297433"/>
                    </a:lnTo>
                    <a:lnTo>
                      <a:pt x="0" y="298336"/>
                    </a:lnTo>
                    <a:lnTo>
                      <a:pt x="3193" y="285302"/>
                    </a:lnTo>
                    <a:lnTo>
                      <a:pt x="9006" y="278756"/>
                    </a:lnTo>
                    <a:lnTo>
                      <a:pt x="10649" y="274934"/>
                    </a:lnTo>
                    <a:lnTo>
                      <a:pt x="10079" y="261130"/>
                    </a:lnTo>
                    <a:lnTo>
                      <a:pt x="12098" y="248731"/>
                    </a:lnTo>
                    <a:lnTo>
                      <a:pt x="10955" y="246287"/>
                    </a:lnTo>
                    <a:lnTo>
                      <a:pt x="12648" y="242248"/>
                    </a:lnTo>
                    <a:lnTo>
                      <a:pt x="24616" y="235317"/>
                    </a:lnTo>
                    <a:lnTo>
                      <a:pt x="29366" y="239351"/>
                    </a:lnTo>
                    <a:lnTo>
                      <a:pt x="36982" y="240500"/>
                    </a:lnTo>
                    <a:lnTo>
                      <a:pt x="51004" y="240532"/>
                    </a:lnTo>
                    <a:lnTo>
                      <a:pt x="66234" y="240552"/>
                    </a:lnTo>
                    <a:lnTo>
                      <a:pt x="76902" y="240557"/>
                    </a:lnTo>
                    <a:lnTo>
                      <a:pt x="86658" y="239429"/>
                    </a:lnTo>
                    <a:lnTo>
                      <a:pt x="93969" y="237743"/>
                    </a:lnTo>
                    <a:lnTo>
                      <a:pt x="98535" y="233808"/>
                    </a:lnTo>
                    <a:lnTo>
                      <a:pt x="98528" y="228764"/>
                    </a:lnTo>
                    <a:lnTo>
                      <a:pt x="96391" y="222598"/>
                    </a:lnTo>
                    <a:lnTo>
                      <a:pt x="94864" y="218670"/>
                    </a:lnTo>
                    <a:lnTo>
                      <a:pt x="93943" y="215315"/>
                    </a:lnTo>
                    <a:lnTo>
                      <a:pt x="94542" y="209708"/>
                    </a:lnTo>
                    <a:lnTo>
                      <a:pt x="96667" y="204670"/>
                    </a:lnTo>
                    <a:lnTo>
                      <a:pt x="101834" y="202412"/>
                    </a:lnTo>
                    <a:lnTo>
                      <a:pt x="107292" y="199597"/>
                    </a:lnTo>
                    <a:lnTo>
                      <a:pt x="112141" y="193417"/>
                    </a:lnTo>
                    <a:lnTo>
                      <a:pt x="116984" y="186683"/>
                    </a:lnTo>
                    <a:lnTo>
                      <a:pt x="121214" y="179938"/>
                    </a:lnTo>
                    <a:lnTo>
                      <a:pt x="126050" y="173763"/>
                    </a:lnTo>
                    <a:lnTo>
                      <a:pt x="135435" y="168674"/>
                    </a:lnTo>
                    <a:lnTo>
                      <a:pt x="139972" y="165851"/>
                    </a:lnTo>
                    <a:lnTo>
                      <a:pt x="146041" y="166948"/>
                    </a:lnTo>
                    <a:lnTo>
                      <a:pt x="151504" y="169163"/>
                    </a:lnTo>
                    <a:lnTo>
                      <a:pt x="156056" y="169701"/>
                    </a:lnTo>
                    <a:lnTo>
                      <a:pt x="159095" y="169684"/>
                    </a:lnTo>
                    <a:lnTo>
                      <a:pt x="163314" y="166303"/>
                    </a:lnTo>
                    <a:lnTo>
                      <a:pt x="168113" y="157863"/>
                    </a:lnTo>
                    <a:lnTo>
                      <a:pt x="171980" y="146614"/>
                    </a:lnTo>
                    <a:lnTo>
                      <a:pt x="171931" y="139339"/>
                    </a:lnTo>
                    <a:lnTo>
                      <a:pt x="171279" y="132611"/>
                    </a:lnTo>
                    <a:lnTo>
                      <a:pt x="167601" y="125350"/>
                    </a:lnTo>
                    <a:lnTo>
                      <a:pt x="163934" y="118640"/>
                    </a:lnTo>
                    <a:lnTo>
                      <a:pt x="162377" y="111917"/>
                    </a:lnTo>
                    <a:lnTo>
                      <a:pt x="162615" y="100149"/>
                    </a:lnTo>
                    <a:lnTo>
                      <a:pt x="166469" y="89465"/>
                    </a:lnTo>
                    <a:lnTo>
                      <a:pt x="177850" y="78748"/>
                    </a:lnTo>
                    <a:lnTo>
                      <a:pt x="186842" y="72502"/>
                    </a:lnTo>
                    <a:lnTo>
                      <a:pt x="194665" y="71888"/>
                    </a:lnTo>
                    <a:lnTo>
                      <a:pt x="203705" y="72363"/>
                    </a:lnTo>
                    <a:lnTo>
                      <a:pt x="211268" y="75669"/>
                    </a:lnTo>
                    <a:lnTo>
                      <a:pt x="219724" y="77819"/>
                    </a:lnTo>
                    <a:lnTo>
                      <a:pt x="224814" y="74964"/>
                    </a:lnTo>
                    <a:lnTo>
                      <a:pt x="225051" y="68801"/>
                    </a:lnTo>
                    <a:lnTo>
                      <a:pt x="221966" y="62101"/>
                    </a:lnTo>
                    <a:lnTo>
                      <a:pt x="215868" y="53751"/>
                    </a:lnTo>
                    <a:lnTo>
                      <a:pt x="209497" y="47652"/>
                    </a:lnTo>
                    <a:lnTo>
                      <a:pt x="200616" y="29233"/>
                    </a:lnTo>
                    <a:lnTo>
                      <a:pt x="200492" y="15218"/>
                    </a:lnTo>
                    <a:lnTo>
                      <a:pt x="200652" y="5898"/>
                    </a:lnTo>
                    <a:lnTo>
                      <a:pt x="200763" y="2847"/>
                    </a:lnTo>
                    <a:lnTo>
                      <a:pt x="200763" y="2839"/>
                    </a:lnTo>
                    <a:lnTo>
                      <a:pt x="213658" y="2721"/>
                    </a:lnTo>
                    <a:lnTo>
                      <a:pt x="215062" y="3547"/>
                    </a:lnTo>
                    <a:lnTo>
                      <a:pt x="217161" y="7258"/>
                    </a:lnTo>
                    <a:lnTo>
                      <a:pt x="219223" y="8123"/>
                    </a:lnTo>
                    <a:lnTo>
                      <a:pt x="221501" y="7307"/>
                    </a:lnTo>
                    <a:lnTo>
                      <a:pt x="223191" y="6000"/>
                    </a:lnTo>
                    <a:lnTo>
                      <a:pt x="224826" y="5704"/>
                    </a:lnTo>
                    <a:lnTo>
                      <a:pt x="227012" y="8043"/>
                    </a:lnTo>
                    <a:lnTo>
                      <a:pt x="233923" y="4564"/>
                    </a:lnTo>
                    <a:lnTo>
                      <a:pt x="251468" y="10469"/>
                    </a:lnTo>
                    <a:lnTo>
                      <a:pt x="257882" y="10048"/>
                    </a:lnTo>
                    <a:lnTo>
                      <a:pt x="261194" y="15259"/>
                    </a:lnTo>
                    <a:lnTo>
                      <a:pt x="262817" y="14662"/>
                    </a:lnTo>
                    <a:lnTo>
                      <a:pt x="264224" y="11706"/>
                    </a:lnTo>
                    <a:lnTo>
                      <a:pt x="266878" y="9930"/>
                    </a:lnTo>
                    <a:lnTo>
                      <a:pt x="270542" y="10315"/>
                    </a:lnTo>
                    <a:lnTo>
                      <a:pt x="280259" y="15186"/>
                    </a:lnTo>
                    <a:lnTo>
                      <a:pt x="281713" y="12257"/>
                    </a:lnTo>
                    <a:lnTo>
                      <a:pt x="283302" y="12794"/>
                    </a:lnTo>
                    <a:lnTo>
                      <a:pt x="285174" y="14539"/>
                    </a:lnTo>
                    <a:lnTo>
                      <a:pt x="287370" y="15082"/>
                    </a:lnTo>
                    <a:lnTo>
                      <a:pt x="289695" y="13726"/>
                    </a:lnTo>
                    <a:lnTo>
                      <a:pt x="293135" y="10239"/>
                    </a:lnTo>
                    <a:lnTo>
                      <a:pt x="294961" y="9527"/>
                    </a:lnTo>
                    <a:lnTo>
                      <a:pt x="298975" y="11952"/>
                    </a:lnTo>
                    <a:lnTo>
                      <a:pt x="301455" y="12597"/>
                    </a:lnTo>
                    <a:lnTo>
                      <a:pt x="302523" y="10715"/>
                    </a:lnTo>
                    <a:lnTo>
                      <a:pt x="303112" y="8560"/>
                    </a:lnTo>
                    <a:lnTo>
                      <a:pt x="304541" y="6485"/>
                    </a:lnTo>
                    <a:lnTo>
                      <a:pt x="306419" y="4900"/>
                    </a:lnTo>
                    <a:lnTo>
                      <a:pt x="308127" y="4110"/>
                    </a:lnTo>
                    <a:lnTo>
                      <a:pt x="312496" y="4863"/>
                    </a:lnTo>
                    <a:lnTo>
                      <a:pt x="321619" y="10320"/>
                    </a:lnTo>
                    <a:lnTo>
                      <a:pt x="325768" y="11633"/>
                    </a:lnTo>
                    <a:lnTo>
                      <a:pt x="331035" y="10420"/>
                    </a:lnTo>
                    <a:lnTo>
                      <a:pt x="343063" y="886"/>
                    </a:lnTo>
                    <a:lnTo>
                      <a:pt x="346354" y="0"/>
                    </a:lnTo>
                    <a:lnTo>
                      <a:pt x="368926" y="377"/>
                    </a:lnTo>
                    <a:lnTo>
                      <a:pt x="369106" y="1820"/>
                    </a:lnTo>
                    <a:lnTo>
                      <a:pt x="370422" y="5104"/>
                    </a:lnTo>
                    <a:lnTo>
                      <a:pt x="372267" y="8611"/>
                    </a:lnTo>
                    <a:lnTo>
                      <a:pt x="374083" y="10704"/>
                    </a:lnTo>
                    <a:lnTo>
                      <a:pt x="376584" y="10962"/>
                    </a:lnTo>
                    <a:lnTo>
                      <a:pt x="379903" y="7890"/>
                    </a:lnTo>
                    <a:lnTo>
                      <a:pt x="382407" y="7915"/>
                    </a:lnTo>
                    <a:lnTo>
                      <a:pt x="383830" y="9485"/>
                    </a:lnTo>
                    <a:lnTo>
                      <a:pt x="386288" y="14563"/>
                    </a:lnTo>
                    <a:lnTo>
                      <a:pt x="404068" y="33756"/>
                    </a:lnTo>
                    <a:lnTo>
                      <a:pt x="406062" y="40257"/>
                    </a:lnTo>
                    <a:lnTo>
                      <a:pt x="406934" y="47171"/>
                    </a:lnTo>
                    <a:lnTo>
                      <a:pt x="408244" y="53905"/>
                    </a:lnTo>
                    <a:lnTo>
                      <a:pt x="411541" y="59908"/>
                    </a:lnTo>
                    <a:lnTo>
                      <a:pt x="411597" y="62270"/>
                    </a:lnTo>
                    <a:lnTo>
                      <a:pt x="410885" y="67076"/>
                    </a:lnTo>
                    <a:lnTo>
                      <a:pt x="413139" y="71236"/>
                    </a:lnTo>
                    <a:lnTo>
                      <a:pt x="419129" y="77734"/>
                    </a:lnTo>
                    <a:lnTo>
                      <a:pt x="416214" y="78161"/>
                    </a:lnTo>
                    <a:lnTo>
                      <a:pt x="414896" y="81070"/>
                    </a:lnTo>
                    <a:lnTo>
                      <a:pt x="415159" y="84344"/>
                    </a:lnTo>
                    <a:lnTo>
                      <a:pt x="417153" y="85882"/>
                    </a:lnTo>
                    <a:lnTo>
                      <a:pt x="419719" y="86848"/>
                    </a:lnTo>
                    <a:lnTo>
                      <a:pt x="418422" y="89227"/>
                    </a:lnTo>
                    <a:lnTo>
                      <a:pt x="413748" y="93536"/>
                    </a:lnTo>
                    <a:lnTo>
                      <a:pt x="405595" y="105295"/>
                    </a:lnTo>
                    <a:lnTo>
                      <a:pt x="402188" y="112261"/>
                    </a:lnTo>
                    <a:lnTo>
                      <a:pt x="401799" y="117541"/>
                    </a:lnTo>
                    <a:lnTo>
                      <a:pt x="380713" y="138342"/>
                    </a:lnTo>
                    <a:lnTo>
                      <a:pt x="375569" y="14680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4" name="Freeform 15">
                <a:extLst>
                  <a:ext uri="{FF2B5EF4-FFF2-40B4-BE49-F238E27FC236}">
                    <a16:creationId xmlns:a16="http://schemas.microsoft.com/office/drawing/2014/main" id="{B3D2121C-960C-529F-4930-2E93A1175D58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>
              <a:xfrm>
                <a:off x="4468032" y="2801277"/>
                <a:ext cx="209458" cy="238638"/>
              </a:xfrm>
              <a:custGeom>
                <a:avLst/>
                <a:gdLst/>
                <a:ahLst/>
                <a:cxnLst/>
                <a:rect l="0" t="0" r="0" b="0"/>
                <a:pathLst>
                  <a:path w="215057" h="245017">
                    <a:moveTo>
                      <a:pt x="190768" y="7298"/>
                    </a:moveTo>
                    <a:lnTo>
                      <a:pt x="190768" y="7306"/>
                    </a:lnTo>
                    <a:lnTo>
                      <a:pt x="190657" y="10357"/>
                    </a:lnTo>
                    <a:lnTo>
                      <a:pt x="190497" y="19677"/>
                    </a:lnTo>
                    <a:lnTo>
                      <a:pt x="190621" y="33692"/>
                    </a:lnTo>
                    <a:lnTo>
                      <a:pt x="199502" y="52111"/>
                    </a:lnTo>
                    <a:lnTo>
                      <a:pt x="205873" y="58210"/>
                    </a:lnTo>
                    <a:lnTo>
                      <a:pt x="211971" y="66560"/>
                    </a:lnTo>
                    <a:lnTo>
                      <a:pt x="215056" y="73260"/>
                    </a:lnTo>
                    <a:lnTo>
                      <a:pt x="214819" y="79423"/>
                    </a:lnTo>
                    <a:lnTo>
                      <a:pt x="209729" y="82278"/>
                    </a:lnTo>
                    <a:lnTo>
                      <a:pt x="201273" y="80128"/>
                    </a:lnTo>
                    <a:lnTo>
                      <a:pt x="193710" y="76822"/>
                    </a:lnTo>
                    <a:lnTo>
                      <a:pt x="184670" y="76347"/>
                    </a:lnTo>
                    <a:lnTo>
                      <a:pt x="176847" y="76961"/>
                    </a:lnTo>
                    <a:lnTo>
                      <a:pt x="167855" y="83207"/>
                    </a:lnTo>
                    <a:lnTo>
                      <a:pt x="156474" y="93924"/>
                    </a:lnTo>
                    <a:lnTo>
                      <a:pt x="152620" y="104608"/>
                    </a:lnTo>
                    <a:lnTo>
                      <a:pt x="152382" y="116376"/>
                    </a:lnTo>
                    <a:lnTo>
                      <a:pt x="153939" y="123099"/>
                    </a:lnTo>
                    <a:lnTo>
                      <a:pt x="157606" y="129809"/>
                    </a:lnTo>
                    <a:lnTo>
                      <a:pt x="161284" y="137070"/>
                    </a:lnTo>
                    <a:lnTo>
                      <a:pt x="161936" y="143798"/>
                    </a:lnTo>
                    <a:lnTo>
                      <a:pt x="161985" y="151073"/>
                    </a:lnTo>
                    <a:lnTo>
                      <a:pt x="158118" y="162322"/>
                    </a:lnTo>
                    <a:lnTo>
                      <a:pt x="153319" y="170762"/>
                    </a:lnTo>
                    <a:lnTo>
                      <a:pt x="149100" y="174143"/>
                    </a:lnTo>
                    <a:lnTo>
                      <a:pt x="146061" y="174160"/>
                    </a:lnTo>
                    <a:lnTo>
                      <a:pt x="141509" y="173622"/>
                    </a:lnTo>
                    <a:lnTo>
                      <a:pt x="136046" y="171407"/>
                    </a:lnTo>
                    <a:lnTo>
                      <a:pt x="129977" y="170310"/>
                    </a:lnTo>
                    <a:lnTo>
                      <a:pt x="125440" y="173133"/>
                    </a:lnTo>
                    <a:lnTo>
                      <a:pt x="116055" y="178222"/>
                    </a:lnTo>
                    <a:lnTo>
                      <a:pt x="111219" y="184397"/>
                    </a:lnTo>
                    <a:lnTo>
                      <a:pt x="106989" y="191142"/>
                    </a:lnTo>
                    <a:lnTo>
                      <a:pt x="102146" y="197876"/>
                    </a:lnTo>
                    <a:lnTo>
                      <a:pt x="97297" y="204056"/>
                    </a:lnTo>
                    <a:lnTo>
                      <a:pt x="91839" y="206871"/>
                    </a:lnTo>
                    <a:lnTo>
                      <a:pt x="86672" y="209129"/>
                    </a:lnTo>
                    <a:lnTo>
                      <a:pt x="84547" y="214167"/>
                    </a:lnTo>
                    <a:lnTo>
                      <a:pt x="83948" y="219774"/>
                    </a:lnTo>
                    <a:lnTo>
                      <a:pt x="84869" y="223129"/>
                    </a:lnTo>
                    <a:lnTo>
                      <a:pt x="86396" y="227057"/>
                    </a:lnTo>
                    <a:lnTo>
                      <a:pt x="88533" y="233223"/>
                    </a:lnTo>
                    <a:lnTo>
                      <a:pt x="88540" y="238267"/>
                    </a:lnTo>
                    <a:lnTo>
                      <a:pt x="83974" y="242202"/>
                    </a:lnTo>
                    <a:lnTo>
                      <a:pt x="76663" y="243888"/>
                    </a:lnTo>
                    <a:lnTo>
                      <a:pt x="66907" y="245016"/>
                    </a:lnTo>
                    <a:lnTo>
                      <a:pt x="56239" y="245011"/>
                    </a:lnTo>
                    <a:lnTo>
                      <a:pt x="41009" y="244991"/>
                    </a:lnTo>
                    <a:lnTo>
                      <a:pt x="26987" y="244959"/>
                    </a:lnTo>
                    <a:lnTo>
                      <a:pt x="19371" y="243810"/>
                    </a:lnTo>
                    <a:lnTo>
                      <a:pt x="14621" y="239776"/>
                    </a:lnTo>
                    <a:lnTo>
                      <a:pt x="15378" y="239334"/>
                    </a:lnTo>
                    <a:lnTo>
                      <a:pt x="22488" y="232033"/>
                    </a:lnTo>
                    <a:lnTo>
                      <a:pt x="28194" y="231418"/>
                    </a:lnTo>
                    <a:lnTo>
                      <a:pt x="33807" y="224759"/>
                    </a:lnTo>
                    <a:lnTo>
                      <a:pt x="40208" y="220725"/>
                    </a:lnTo>
                    <a:lnTo>
                      <a:pt x="45512" y="213726"/>
                    </a:lnTo>
                    <a:lnTo>
                      <a:pt x="57092" y="208122"/>
                    </a:lnTo>
                    <a:lnTo>
                      <a:pt x="61749" y="208331"/>
                    </a:lnTo>
                    <a:lnTo>
                      <a:pt x="65036" y="204305"/>
                    </a:lnTo>
                    <a:lnTo>
                      <a:pt x="66984" y="198994"/>
                    </a:lnTo>
                    <a:lnTo>
                      <a:pt x="66353" y="194967"/>
                    </a:lnTo>
                    <a:lnTo>
                      <a:pt x="68422" y="191147"/>
                    </a:lnTo>
                    <a:lnTo>
                      <a:pt x="61245" y="185725"/>
                    </a:lnTo>
                    <a:lnTo>
                      <a:pt x="63260" y="167168"/>
                    </a:lnTo>
                    <a:lnTo>
                      <a:pt x="55520" y="162169"/>
                    </a:lnTo>
                    <a:lnTo>
                      <a:pt x="54717" y="159720"/>
                    </a:lnTo>
                    <a:lnTo>
                      <a:pt x="57537" y="155162"/>
                    </a:lnTo>
                    <a:lnTo>
                      <a:pt x="63265" y="150506"/>
                    </a:lnTo>
                    <a:lnTo>
                      <a:pt x="68824" y="139687"/>
                    </a:lnTo>
                    <a:lnTo>
                      <a:pt x="74494" y="134888"/>
                    </a:lnTo>
                    <a:lnTo>
                      <a:pt x="75807" y="130643"/>
                    </a:lnTo>
                    <a:lnTo>
                      <a:pt x="73044" y="115364"/>
                    </a:lnTo>
                    <a:lnTo>
                      <a:pt x="64648" y="113568"/>
                    </a:lnTo>
                    <a:lnTo>
                      <a:pt x="52432" y="101566"/>
                    </a:lnTo>
                    <a:lnTo>
                      <a:pt x="35919" y="104827"/>
                    </a:lnTo>
                    <a:lnTo>
                      <a:pt x="32371" y="106418"/>
                    </a:lnTo>
                    <a:lnTo>
                      <a:pt x="29326" y="110339"/>
                    </a:lnTo>
                    <a:lnTo>
                      <a:pt x="17781" y="111685"/>
                    </a:lnTo>
                    <a:lnTo>
                      <a:pt x="10494" y="120364"/>
                    </a:lnTo>
                    <a:lnTo>
                      <a:pt x="7049" y="121298"/>
                    </a:lnTo>
                    <a:lnTo>
                      <a:pt x="5861" y="119161"/>
                    </a:lnTo>
                    <a:lnTo>
                      <a:pt x="6907" y="114714"/>
                    </a:lnTo>
                    <a:lnTo>
                      <a:pt x="14040" y="105827"/>
                    </a:lnTo>
                    <a:lnTo>
                      <a:pt x="13605" y="99983"/>
                    </a:lnTo>
                    <a:lnTo>
                      <a:pt x="15243" y="87888"/>
                    </a:lnTo>
                    <a:lnTo>
                      <a:pt x="14809" y="82061"/>
                    </a:lnTo>
                    <a:lnTo>
                      <a:pt x="13631" y="76647"/>
                    </a:lnTo>
                    <a:lnTo>
                      <a:pt x="8625" y="72818"/>
                    </a:lnTo>
                    <a:lnTo>
                      <a:pt x="8938" y="66334"/>
                    </a:lnTo>
                    <a:lnTo>
                      <a:pt x="7757" y="62509"/>
                    </a:lnTo>
                    <a:lnTo>
                      <a:pt x="9134" y="59968"/>
                    </a:lnTo>
                    <a:lnTo>
                      <a:pt x="9274" y="55605"/>
                    </a:lnTo>
                    <a:lnTo>
                      <a:pt x="5183" y="52726"/>
                    </a:lnTo>
                    <a:lnTo>
                      <a:pt x="3399" y="44663"/>
                    </a:lnTo>
                    <a:lnTo>
                      <a:pt x="122" y="37383"/>
                    </a:lnTo>
                    <a:lnTo>
                      <a:pt x="3" y="36909"/>
                    </a:lnTo>
                    <a:lnTo>
                      <a:pt x="0" y="36897"/>
                    </a:lnTo>
                    <a:lnTo>
                      <a:pt x="14327" y="26218"/>
                    </a:lnTo>
                    <a:lnTo>
                      <a:pt x="26534" y="23398"/>
                    </a:lnTo>
                    <a:lnTo>
                      <a:pt x="25007" y="27590"/>
                    </a:lnTo>
                    <a:lnTo>
                      <a:pt x="23953" y="29391"/>
                    </a:lnTo>
                    <a:lnTo>
                      <a:pt x="22324" y="31219"/>
                    </a:lnTo>
                    <a:lnTo>
                      <a:pt x="25006" y="33436"/>
                    </a:lnTo>
                    <a:lnTo>
                      <a:pt x="27638" y="33226"/>
                    </a:lnTo>
                    <a:lnTo>
                      <a:pt x="30413" y="31989"/>
                    </a:lnTo>
                    <a:lnTo>
                      <a:pt x="33503" y="31251"/>
                    </a:lnTo>
                    <a:lnTo>
                      <a:pt x="29319" y="21043"/>
                    </a:lnTo>
                    <a:lnTo>
                      <a:pt x="36832" y="23736"/>
                    </a:lnTo>
                    <a:lnTo>
                      <a:pt x="40891" y="24225"/>
                    </a:lnTo>
                    <a:lnTo>
                      <a:pt x="44811" y="23439"/>
                    </a:lnTo>
                    <a:lnTo>
                      <a:pt x="47735" y="21205"/>
                    </a:lnTo>
                    <a:lnTo>
                      <a:pt x="51017" y="17059"/>
                    </a:lnTo>
                    <a:lnTo>
                      <a:pt x="52959" y="12211"/>
                    </a:lnTo>
                    <a:lnTo>
                      <a:pt x="51792" y="7826"/>
                    </a:lnTo>
                    <a:lnTo>
                      <a:pt x="53807" y="3897"/>
                    </a:lnTo>
                    <a:lnTo>
                      <a:pt x="55652" y="3556"/>
                    </a:lnTo>
                    <a:lnTo>
                      <a:pt x="57645" y="4707"/>
                    </a:lnTo>
                    <a:lnTo>
                      <a:pt x="60170" y="5222"/>
                    </a:lnTo>
                    <a:lnTo>
                      <a:pt x="62788" y="4150"/>
                    </a:lnTo>
                    <a:lnTo>
                      <a:pt x="68221" y="747"/>
                    </a:lnTo>
                    <a:lnTo>
                      <a:pt x="70687" y="0"/>
                    </a:lnTo>
                    <a:lnTo>
                      <a:pt x="96087" y="1077"/>
                    </a:lnTo>
                    <a:lnTo>
                      <a:pt x="111360" y="11141"/>
                    </a:lnTo>
                    <a:lnTo>
                      <a:pt x="138247" y="20421"/>
                    </a:lnTo>
                    <a:lnTo>
                      <a:pt x="147199" y="20684"/>
                    </a:lnTo>
                    <a:lnTo>
                      <a:pt x="155441" y="17993"/>
                    </a:lnTo>
                    <a:lnTo>
                      <a:pt x="168007" y="8707"/>
                    </a:lnTo>
                    <a:lnTo>
                      <a:pt x="171389" y="745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5" name="Freeform 16">
                <a:extLst>
                  <a:ext uri="{FF2B5EF4-FFF2-40B4-BE49-F238E27FC236}">
                    <a16:creationId xmlns:a16="http://schemas.microsoft.com/office/drawing/2014/main" id="{46972CD3-FBF9-E71A-9CD6-E15E0D49C297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>
              <a:xfrm>
                <a:off x="4411755" y="3423156"/>
                <a:ext cx="105265" cy="58181"/>
              </a:xfrm>
              <a:custGeom>
                <a:avLst/>
                <a:gdLst/>
                <a:ahLst/>
                <a:cxnLst/>
                <a:rect l="0" t="0" r="0" b="0"/>
                <a:pathLst>
                  <a:path w="108079" h="59736">
                    <a:moveTo>
                      <a:pt x="58210" y="405"/>
                    </a:moveTo>
                    <a:lnTo>
                      <a:pt x="60890" y="5252"/>
                    </a:lnTo>
                    <a:lnTo>
                      <a:pt x="61946" y="8055"/>
                    </a:lnTo>
                    <a:lnTo>
                      <a:pt x="63820" y="8716"/>
                    </a:lnTo>
                    <a:lnTo>
                      <a:pt x="67915" y="7909"/>
                    </a:lnTo>
                    <a:lnTo>
                      <a:pt x="69374" y="8085"/>
                    </a:lnTo>
                    <a:lnTo>
                      <a:pt x="70879" y="10096"/>
                    </a:lnTo>
                    <a:lnTo>
                      <a:pt x="71886" y="12681"/>
                    </a:lnTo>
                    <a:lnTo>
                      <a:pt x="73268" y="14956"/>
                    </a:lnTo>
                    <a:lnTo>
                      <a:pt x="75838" y="15944"/>
                    </a:lnTo>
                    <a:lnTo>
                      <a:pt x="87919" y="13290"/>
                    </a:lnTo>
                    <a:lnTo>
                      <a:pt x="92690" y="13378"/>
                    </a:lnTo>
                    <a:lnTo>
                      <a:pt x="108078" y="17777"/>
                    </a:lnTo>
                    <a:lnTo>
                      <a:pt x="108073" y="17784"/>
                    </a:lnTo>
                    <a:lnTo>
                      <a:pt x="106530" y="19983"/>
                    </a:lnTo>
                    <a:lnTo>
                      <a:pt x="100769" y="25020"/>
                    </a:lnTo>
                    <a:lnTo>
                      <a:pt x="94947" y="25009"/>
                    </a:lnTo>
                    <a:lnTo>
                      <a:pt x="92225" y="22348"/>
                    </a:lnTo>
                    <a:lnTo>
                      <a:pt x="88125" y="23296"/>
                    </a:lnTo>
                    <a:lnTo>
                      <a:pt x="80314" y="33148"/>
                    </a:lnTo>
                    <a:lnTo>
                      <a:pt x="74060" y="37265"/>
                    </a:lnTo>
                    <a:lnTo>
                      <a:pt x="73392" y="41932"/>
                    </a:lnTo>
                    <a:lnTo>
                      <a:pt x="62256" y="45818"/>
                    </a:lnTo>
                    <a:lnTo>
                      <a:pt x="50490" y="57020"/>
                    </a:lnTo>
                    <a:lnTo>
                      <a:pt x="42986" y="59735"/>
                    </a:lnTo>
                    <a:lnTo>
                      <a:pt x="41692" y="55472"/>
                    </a:lnTo>
                    <a:lnTo>
                      <a:pt x="32851" y="51392"/>
                    </a:lnTo>
                    <a:lnTo>
                      <a:pt x="24865" y="45081"/>
                    </a:lnTo>
                    <a:lnTo>
                      <a:pt x="30850" y="38860"/>
                    </a:lnTo>
                    <a:lnTo>
                      <a:pt x="31693" y="37592"/>
                    </a:lnTo>
                    <a:lnTo>
                      <a:pt x="31103" y="36414"/>
                    </a:lnTo>
                    <a:lnTo>
                      <a:pt x="18809" y="35798"/>
                    </a:lnTo>
                    <a:lnTo>
                      <a:pt x="16166" y="31433"/>
                    </a:lnTo>
                    <a:lnTo>
                      <a:pt x="15734" y="25487"/>
                    </a:lnTo>
                    <a:lnTo>
                      <a:pt x="7722" y="25110"/>
                    </a:lnTo>
                    <a:lnTo>
                      <a:pt x="9192" y="19494"/>
                    </a:lnTo>
                    <a:lnTo>
                      <a:pt x="8195" y="17038"/>
                    </a:lnTo>
                    <a:lnTo>
                      <a:pt x="775" y="17727"/>
                    </a:lnTo>
                    <a:lnTo>
                      <a:pt x="0" y="14740"/>
                    </a:lnTo>
                    <a:lnTo>
                      <a:pt x="4885" y="10653"/>
                    </a:lnTo>
                    <a:lnTo>
                      <a:pt x="19226" y="5282"/>
                    </a:lnTo>
                    <a:lnTo>
                      <a:pt x="40013" y="2977"/>
                    </a:lnTo>
                    <a:lnTo>
                      <a:pt x="51935" y="0"/>
                    </a:lnTo>
                    <a:lnTo>
                      <a:pt x="58202" y="40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6" name="Freeform 17">
                <a:extLst>
                  <a:ext uri="{FF2B5EF4-FFF2-40B4-BE49-F238E27FC236}">
                    <a16:creationId xmlns:a16="http://schemas.microsoft.com/office/drawing/2014/main" id="{78A60061-5410-9D0D-976D-44B3BFA89956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>
              <a:xfrm>
                <a:off x="4242703" y="3240043"/>
                <a:ext cx="225747" cy="217317"/>
              </a:xfrm>
              <a:custGeom>
                <a:avLst/>
                <a:gdLst/>
                <a:ahLst/>
                <a:cxnLst/>
                <a:rect l="0" t="0" r="0" b="0"/>
                <a:pathLst>
                  <a:path w="231782" h="223126">
                    <a:moveTo>
                      <a:pt x="116233" y="20818"/>
                    </a:moveTo>
                    <a:lnTo>
                      <a:pt x="116260" y="20798"/>
                    </a:lnTo>
                    <a:lnTo>
                      <a:pt x="117390" y="22905"/>
                    </a:lnTo>
                    <a:lnTo>
                      <a:pt x="128062" y="19143"/>
                    </a:lnTo>
                    <a:lnTo>
                      <a:pt x="140532" y="12411"/>
                    </a:lnTo>
                    <a:lnTo>
                      <a:pt x="144970" y="11077"/>
                    </a:lnTo>
                    <a:lnTo>
                      <a:pt x="146833" y="11619"/>
                    </a:lnTo>
                    <a:lnTo>
                      <a:pt x="147042" y="11454"/>
                    </a:lnTo>
                    <a:lnTo>
                      <a:pt x="151868" y="15313"/>
                    </a:lnTo>
                    <a:lnTo>
                      <a:pt x="157312" y="28321"/>
                    </a:lnTo>
                    <a:lnTo>
                      <a:pt x="150774" y="30172"/>
                    </a:lnTo>
                    <a:lnTo>
                      <a:pt x="146106" y="34151"/>
                    </a:lnTo>
                    <a:lnTo>
                      <a:pt x="137913" y="32366"/>
                    </a:lnTo>
                    <a:lnTo>
                      <a:pt x="137756" y="57522"/>
                    </a:lnTo>
                    <a:lnTo>
                      <a:pt x="136448" y="60173"/>
                    </a:lnTo>
                    <a:lnTo>
                      <a:pt x="136388" y="60173"/>
                    </a:lnTo>
                    <a:lnTo>
                      <a:pt x="134787" y="62050"/>
                    </a:lnTo>
                    <a:lnTo>
                      <a:pt x="129716" y="61756"/>
                    </a:lnTo>
                    <a:lnTo>
                      <a:pt x="128746" y="64302"/>
                    </a:lnTo>
                    <a:lnTo>
                      <a:pt x="127492" y="64436"/>
                    </a:lnTo>
                    <a:lnTo>
                      <a:pt x="128564" y="64961"/>
                    </a:lnTo>
                    <a:lnTo>
                      <a:pt x="128608" y="71004"/>
                    </a:lnTo>
                    <a:lnTo>
                      <a:pt x="131102" y="73896"/>
                    </a:lnTo>
                    <a:lnTo>
                      <a:pt x="130488" y="81215"/>
                    </a:lnTo>
                    <a:lnTo>
                      <a:pt x="140725" y="92367"/>
                    </a:lnTo>
                    <a:lnTo>
                      <a:pt x="151361" y="94924"/>
                    </a:lnTo>
                    <a:lnTo>
                      <a:pt x="155786" y="100813"/>
                    </a:lnTo>
                    <a:lnTo>
                      <a:pt x="159299" y="102644"/>
                    </a:lnTo>
                    <a:lnTo>
                      <a:pt x="160890" y="102442"/>
                    </a:lnTo>
                    <a:lnTo>
                      <a:pt x="162402" y="98526"/>
                    </a:lnTo>
                    <a:lnTo>
                      <a:pt x="163819" y="98125"/>
                    </a:lnTo>
                    <a:lnTo>
                      <a:pt x="167315" y="103142"/>
                    </a:lnTo>
                    <a:lnTo>
                      <a:pt x="177555" y="104602"/>
                    </a:lnTo>
                    <a:lnTo>
                      <a:pt x="184688" y="111669"/>
                    </a:lnTo>
                    <a:lnTo>
                      <a:pt x="196503" y="118231"/>
                    </a:lnTo>
                    <a:lnTo>
                      <a:pt x="202522" y="125914"/>
                    </a:lnTo>
                    <a:lnTo>
                      <a:pt x="210032" y="124263"/>
                    </a:lnTo>
                    <a:lnTo>
                      <a:pt x="211032" y="125216"/>
                    </a:lnTo>
                    <a:lnTo>
                      <a:pt x="211459" y="132653"/>
                    </a:lnTo>
                    <a:lnTo>
                      <a:pt x="213157" y="134588"/>
                    </a:lnTo>
                    <a:lnTo>
                      <a:pt x="213884" y="134119"/>
                    </a:lnTo>
                    <a:lnTo>
                      <a:pt x="213096" y="138359"/>
                    </a:lnTo>
                    <a:lnTo>
                      <a:pt x="210556" y="147744"/>
                    </a:lnTo>
                    <a:lnTo>
                      <a:pt x="207269" y="153766"/>
                    </a:lnTo>
                    <a:lnTo>
                      <a:pt x="205871" y="158239"/>
                    </a:lnTo>
                    <a:lnTo>
                      <a:pt x="206721" y="162274"/>
                    </a:lnTo>
                    <a:lnTo>
                      <a:pt x="209061" y="166533"/>
                    </a:lnTo>
                    <a:lnTo>
                      <a:pt x="210914" y="166643"/>
                    </a:lnTo>
                    <a:lnTo>
                      <a:pt x="210911" y="167004"/>
                    </a:lnTo>
                    <a:lnTo>
                      <a:pt x="223603" y="176091"/>
                    </a:lnTo>
                    <a:lnTo>
                      <a:pt x="225410" y="179039"/>
                    </a:lnTo>
                    <a:lnTo>
                      <a:pt x="227176" y="180073"/>
                    </a:lnTo>
                    <a:lnTo>
                      <a:pt x="231781" y="188413"/>
                    </a:lnTo>
                    <a:lnTo>
                      <a:pt x="231773" y="188413"/>
                    </a:lnTo>
                    <a:lnTo>
                      <a:pt x="225506" y="188008"/>
                    </a:lnTo>
                    <a:lnTo>
                      <a:pt x="213584" y="190985"/>
                    </a:lnTo>
                    <a:lnTo>
                      <a:pt x="192797" y="193290"/>
                    </a:lnTo>
                    <a:lnTo>
                      <a:pt x="178456" y="198661"/>
                    </a:lnTo>
                    <a:lnTo>
                      <a:pt x="173571" y="202748"/>
                    </a:lnTo>
                    <a:lnTo>
                      <a:pt x="172225" y="197543"/>
                    </a:lnTo>
                    <a:lnTo>
                      <a:pt x="158520" y="197420"/>
                    </a:lnTo>
                    <a:lnTo>
                      <a:pt x="152524" y="203839"/>
                    </a:lnTo>
                    <a:lnTo>
                      <a:pt x="149095" y="205068"/>
                    </a:lnTo>
                    <a:lnTo>
                      <a:pt x="147638" y="205587"/>
                    </a:lnTo>
                    <a:lnTo>
                      <a:pt x="145872" y="203871"/>
                    </a:lnTo>
                    <a:lnTo>
                      <a:pt x="146390" y="199098"/>
                    </a:lnTo>
                    <a:lnTo>
                      <a:pt x="145659" y="196227"/>
                    </a:lnTo>
                    <a:lnTo>
                      <a:pt x="142205" y="197257"/>
                    </a:lnTo>
                    <a:lnTo>
                      <a:pt x="140676" y="201388"/>
                    </a:lnTo>
                    <a:lnTo>
                      <a:pt x="138704" y="203065"/>
                    </a:lnTo>
                    <a:lnTo>
                      <a:pt x="133644" y="199495"/>
                    </a:lnTo>
                    <a:lnTo>
                      <a:pt x="123130" y="199493"/>
                    </a:lnTo>
                    <a:lnTo>
                      <a:pt x="116817" y="197186"/>
                    </a:lnTo>
                    <a:lnTo>
                      <a:pt x="114581" y="200447"/>
                    </a:lnTo>
                    <a:lnTo>
                      <a:pt x="118658" y="211427"/>
                    </a:lnTo>
                    <a:lnTo>
                      <a:pt x="119107" y="219074"/>
                    </a:lnTo>
                    <a:lnTo>
                      <a:pt x="117097" y="222565"/>
                    </a:lnTo>
                    <a:lnTo>
                      <a:pt x="111269" y="223125"/>
                    </a:lnTo>
                    <a:lnTo>
                      <a:pt x="98883" y="215637"/>
                    </a:lnTo>
                    <a:lnTo>
                      <a:pt x="97868" y="215900"/>
                    </a:lnTo>
                    <a:lnTo>
                      <a:pt x="92389" y="217346"/>
                    </a:lnTo>
                    <a:lnTo>
                      <a:pt x="88506" y="215701"/>
                    </a:lnTo>
                    <a:lnTo>
                      <a:pt x="83633" y="206933"/>
                    </a:lnTo>
                    <a:lnTo>
                      <a:pt x="78021" y="205152"/>
                    </a:lnTo>
                    <a:lnTo>
                      <a:pt x="74957" y="199695"/>
                    </a:lnTo>
                    <a:lnTo>
                      <a:pt x="75553" y="195341"/>
                    </a:lnTo>
                    <a:lnTo>
                      <a:pt x="84344" y="190691"/>
                    </a:lnTo>
                    <a:lnTo>
                      <a:pt x="84666" y="188997"/>
                    </a:lnTo>
                    <a:lnTo>
                      <a:pt x="80798" y="185761"/>
                    </a:lnTo>
                    <a:lnTo>
                      <a:pt x="69417" y="182193"/>
                    </a:lnTo>
                    <a:lnTo>
                      <a:pt x="64957" y="178332"/>
                    </a:lnTo>
                    <a:lnTo>
                      <a:pt x="64972" y="178431"/>
                    </a:lnTo>
                    <a:lnTo>
                      <a:pt x="59092" y="178042"/>
                    </a:lnTo>
                    <a:lnTo>
                      <a:pt x="53408" y="176172"/>
                    </a:lnTo>
                    <a:lnTo>
                      <a:pt x="48653" y="176093"/>
                    </a:lnTo>
                    <a:lnTo>
                      <a:pt x="45901" y="172037"/>
                    </a:lnTo>
                    <a:lnTo>
                      <a:pt x="41553" y="157920"/>
                    </a:lnTo>
                    <a:lnTo>
                      <a:pt x="34815" y="139534"/>
                    </a:lnTo>
                    <a:lnTo>
                      <a:pt x="31909" y="129707"/>
                    </a:lnTo>
                    <a:lnTo>
                      <a:pt x="31613" y="119728"/>
                    </a:lnTo>
                    <a:lnTo>
                      <a:pt x="31588" y="118996"/>
                    </a:lnTo>
                    <a:lnTo>
                      <a:pt x="31566" y="118383"/>
                    </a:lnTo>
                    <a:lnTo>
                      <a:pt x="31263" y="110587"/>
                    </a:lnTo>
                    <a:lnTo>
                      <a:pt x="32356" y="106885"/>
                    </a:lnTo>
                    <a:lnTo>
                      <a:pt x="32464" y="107321"/>
                    </a:lnTo>
                    <a:lnTo>
                      <a:pt x="33637" y="101871"/>
                    </a:lnTo>
                    <a:lnTo>
                      <a:pt x="36249" y="99331"/>
                    </a:lnTo>
                    <a:lnTo>
                      <a:pt x="37365" y="98235"/>
                    </a:lnTo>
                    <a:lnTo>
                      <a:pt x="37382" y="98226"/>
                    </a:lnTo>
                    <a:lnTo>
                      <a:pt x="35224" y="95067"/>
                    </a:lnTo>
                    <a:lnTo>
                      <a:pt x="34728" y="92195"/>
                    </a:lnTo>
                    <a:lnTo>
                      <a:pt x="34483" y="90847"/>
                    </a:lnTo>
                    <a:lnTo>
                      <a:pt x="39388" y="83074"/>
                    </a:lnTo>
                    <a:lnTo>
                      <a:pt x="27523" y="80570"/>
                    </a:lnTo>
                    <a:lnTo>
                      <a:pt x="24622" y="79963"/>
                    </a:lnTo>
                    <a:lnTo>
                      <a:pt x="22927" y="80425"/>
                    </a:lnTo>
                    <a:lnTo>
                      <a:pt x="11887" y="83533"/>
                    </a:lnTo>
                    <a:lnTo>
                      <a:pt x="10852" y="81854"/>
                    </a:lnTo>
                    <a:lnTo>
                      <a:pt x="10698" y="81594"/>
                    </a:lnTo>
                    <a:lnTo>
                      <a:pt x="11293" y="80321"/>
                    </a:lnTo>
                    <a:lnTo>
                      <a:pt x="12961" y="76760"/>
                    </a:lnTo>
                    <a:lnTo>
                      <a:pt x="12837" y="75295"/>
                    </a:lnTo>
                    <a:lnTo>
                      <a:pt x="12735" y="74089"/>
                    </a:lnTo>
                    <a:lnTo>
                      <a:pt x="771" y="66268"/>
                    </a:lnTo>
                    <a:lnTo>
                      <a:pt x="0" y="63547"/>
                    </a:lnTo>
                    <a:lnTo>
                      <a:pt x="5813" y="55171"/>
                    </a:lnTo>
                    <a:lnTo>
                      <a:pt x="6572" y="52224"/>
                    </a:lnTo>
                    <a:lnTo>
                      <a:pt x="7411" y="49042"/>
                    </a:lnTo>
                    <a:lnTo>
                      <a:pt x="14469" y="42070"/>
                    </a:lnTo>
                    <a:lnTo>
                      <a:pt x="23995" y="38222"/>
                    </a:lnTo>
                    <a:lnTo>
                      <a:pt x="24715" y="33082"/>
                    </a:lnTo>
                    <a:lnTo>
                      <a:pt x="24877" y="31958"/>
                    </a:lnTo>
                    <a:lnTo>
                      <a:pt x="29377" y="29455"/>
                    </a:lnTo>
                    <a:lnTo>
                      <a:pt x="36891" y="29729"/>
                    </a:lnTo>
                    <a:lnTo>
                      <a:pt x="42488" y="25423"/>
                    </a:lnTo>
                    <a:lnTo>
                      <a:pt x="42521" y="25443"/>
                    </a:lnTo>
                    <a:lnTo>
                      <a:pt x="50867" y="17688"/>
                    </a:lnTo>
                    <a:lnTo>
                      <a:pt x="58247" y="14828"/>
                    </a:lnTo>
                    <a:lnTo>
                      <a:pt x="65810" y="14634"/>
                    </a:lnTo>
                    <a:lnTo>
                      <a:pt x="67713" y="12868"/>
                    </a:lnTo>
                    <a:lnTo>
                      <a:pt x="67705" y="9569"/>
                    </a:lnTo>
                    <a:lnTo>
                      <a:pt x="69494" y="7781"/>
                    </a:lnTo>
                    <a:lnTo>
                      <a:pt x="72185" y="7723"/>
                    </a:lnTo>
                    <a:lnTo>
                      <a:pt x="75822" y="11078"/>
                    </a:lnTo>
                    <a:lnTo>
                      <a:pt x="78345" y="10682"/>
                    </a:lnTo>
                    <a:lnTo>
                      <a:pt x="95292" y="5516"/>
                    </a:lnTo>
                    <a:lnTo>
                      <a:pt x="103564" y="0"/>
                    </a:lnTo>
                    <a:lnTo>
                      <a:pt x="109612" y="294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7" name="Freeform 18">
                <a:extLst>
                  <a:ext uri="{FF2B5EF4-FFF2-40B4-BE49-F238E27FC236}">
                    <a16:creationId xmlns:a16="http://schemas.microsoft.com/office/drawing/2014/main" id="{157DCE6B-8A7C-C2EA-9A1E-91B905022CAD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>
              <a:xfrm>
                <a:off x="4443214" y="3362088"/>
                <a:ext cx="63757" cy="53238"/>
              </a:xfrm>
              <a:custGeom>
                <a:avLst/>
                <a:gdLst/>
                <a:ahLst/>
                <a:cxnLst/>
                <a:rect l="0" t="0" r="0" b="0"/>
                <a:pathLst>
                  <a:path w="65461" h="54661">
                    <a:moveTo>
                      <a:pt x="42068" y="11021"/>
                    </a:moveTo>
                    <a:lnTo>
                      <a:pt x="43915" y="7315"/>
                    </a:lnTo>
                    <a:lnTo>
                      <a:pt x="49762" y="8498"/>
                    </a:lnTo>
                    <a:lnTo>
                      <a:pt x="53249" y="6909"/>
                    </a:lnTo>
                    <a:lnTo>
                      <a:pt x="63925" y="11179"/>
                    </a:lnTo>
                    <a:lnTo>
                      <a:pt x="65460" y="13098"/>
                    </a:lnTo>
                    <a:lnTo>
                      <a:pt x="63687" y="14911"/>
                    </a:lnTo>
                    <a:lnTo>
                      <a:pt x="46579" y="23239"/>
                    </a:lnTo>
                    <a:lnTo>
                      <a:pt x="47796" y="31417"/>
                    </a:lnTo>
                    <a:lnTo>
                      <a:pt x="49149" y="33574"/>
                    </a:lnTo>
                    <a:lnTo>
                      <a:pt x="45360" y="36090"/>
                    </a:lnTo>
                    <a:lnTo>
                      <a:pt x="46178" y="38521"/>
                    </a:lnTo>
                    <a:lnTo>
                      <a:pt x="48834" y="39694"/>
                    </a:lnTo>
                    <a:lnTo>
                      <a:pt x="48948" y="41926"/>
                    </a:lnTo>
                    <a:lnTo>
                      <a:pt x="35912" y="45594"/>
                    </a:lnTo>
                    <a:lnTo>
                      <a:pt x="31000" y="45258"/>
                    </a:lnTo>
                    <a:lnTo>
                      <a:pt x="28902" y="50343"/>
                    </a:lnTo>
                    <a:lnTo>
                      <a:pt x="25217" y="53940"/>
                    </a:lnTo>
                    <a:lnTo>
                      <a:pt x="24372" y="54660"/>
                    </a:lnTo>
                    <a:lnTo>
                      <a:pt x="24369" y="54657"/>
                    </a:lnTo>
                    <a:lnTo>
                      <a:pt x="16787" y="47203"/>
                    </a:lnTo>
                    <a:lnTo>
                      <a:pt x="12360" y="41473"/>
                    </a:lnTo>
                    <a:lnTo>
                      <a:pt x="9415" y="39498"/>
                    </a:lnTo>
                    <a:lnTo>
                      <a:pt x="5054" y="39333"/>
                    </a:lnTo>
                    <a:lnTo>
                      <a:pt x="5043" y="41336"/>
                    </a:lnTo>
                    <a:lnTo>
                      <a:pt x="3190" y="41226"/>
                    </a:lnTo>
                    <a:lnTo>
                      <a:pt x="850" y="36967"/>
                    </a:lnTo>
                    <a:lnTo>
                      <a:pt x="0" y="32932"/>
                    </a:lnTo>
                    <a:lnTo>
                      <a:pt x="1398" y="28459"/>
                    </a:lnTo>
                    <a:lnTo>
                      <a:pt x="4685" y="22437"/>
                    </a:lnTo>
                    <a:lnTo>
                      <a:pt x="7225" y="13052"/>
                    </a:lnTo>
                    <a:lnTo>
                      <a:pt x="8013" y="8812"/>
                    </a:lnTo>
                    <a:lnTo>
                      <a:pt x="21978" y="0"/>
                    </a:lnTo>
                    <a:lnTo>
                      <a:pt x="24331" y="1492"/>
                    </a:lnTo>
                    <a:lnTo>
                      <a:pt x="27260" y="8535"/>
                    </a:lnTo>
                    <a:lnTo>
                      <a:pt x="29555" y="1001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8" name="Freeform 19">
                <a:extLst>
                  <a:ext uri="{FF2B5EF4-FFF2-40B4-BE49-F238E27FC236}">
                    <a16:creationId xmlns:a16="http://schemas.microsoft.com/office/drawing/2014/main" id="{5E8DD25D-4E52-06EF-4400-85878C3FEBAA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>
              <a:xfrm>
                <a:off x="4271026" y="3089598"/>
                <a:ext cx="338686" cy="305191"/>
              </a:xfrm>
              <a:custGeom>
                <a:avLst/>
                <a:gdLst/>
                <a:ahLst/>
                <a:cxnLst/>
                <a:rect l="0" t="0" r="0" b="0"/>
                <a:pathLst>
                  <a:path w="347740" h="313349">
                    <a:moveTo>
                      <a:pt x="175226" y="8798"/>
                    </a:moveTo>
                    <a:lnTo>
                      <a:pt x="188045" y="5254"/>
                    </a:lnTo>
                    <a:lnTo>
                      <a:pt x="192277" y="6767"/>
                    </a:lnTo>
                    <a:lnTo>
                      <a:pt x="203284" y="5864"/>
                    </a:lnTo>
                    <a:lnTo>
                      <a:pt x="206570" y="9700"/>
                    </a:lnTo>
                    <a:lnTo>
                      <a:pt x="210622" y="11217"/>
                    </a:lnTo>
                    <a:lnTo>
                      <a:pt x="214909" y="10700"/>
                    </a:lnTo>
                    <a:lnTo>
                      <a:pt x="220252" y="7009"/>
                    </a:lnTo>
                    <a:lnTo>
                      <a:pt x="228068" y="9560"/>
                    </a:lnTo>
                    <a:lnTo>
                      <a:pt x="235716" y="7053"/>
                    </a:lnTo>
                    <a:lnTo>
                      <a:pt x="239594" y="10338"/>
                    </a:lnTo>
                    <a:lnTo>
                      <a:pt x="239513" y="20842"/>
                    </a:lnTo>
                    <a:lnTo>
                      <a:pt x="241019" y="22760"/>
                    </a:lnTo>
                    <a:lnTo>
                      <a:pt x="243735" y="23930"/>
                    </a:lnTo>
                    <a:lnTo>
                      <a:pt x="253421" y="22148"/>
                    </a:lnTo>
                    <a:lnTo>
                      <a:pt x="262124" y="27880"/>
                    </a:lnTo>
                    <a:lnTo>
                      <a:pt x="268038" y="25119"/>
                    </a:lnTo>
                    <a:lnTo>
                      <a:pt x="275974" y="25591"/>
                    </a:lnTo>
                    <a:lnTo>
                      <a:pt x="276643" y="36805"/>
                    </a:lnTo>
                    <a:lnTo>
                      <a:pt x="279084" y="46281"/>
                    </a:lnTo>
                    <a:lnTo>
                      <a:pt x="281226" y="49064"/>
                    </a:lnTo>
                    <a:lnTo>
                      <a:pt x="284278" y="57985"/>
                    </a:lnTo>
                    <a:lnTo>
                      <a:pt x="284285" y="65232"/>
                    </a:lnTo>
                    <a:lnTo>
                      <a:pt x="284292" y="71904"/>
                    </a:lnTo>
                    <a:lnTo>
                      <a:pt x="286754" y="80826"/>
                    </a:lnTo>
                    <a:lnTo>
                      <a:pt x="288591" y="85839"/>
                    </a:lnTo>
                    <a:lnTo>
                      <a:pt x="295028" y="95307"/>
                    </a:lnTo>
                    <a:lnTo>
                      <a:pt x="300554" y="103648"/>
                    </a:lnTo>
                    <a:lnTo>
                      <a:pt x="303929" y="106424"/>
                    </a:lnTo>
                    <a:lnTo>
                      <a:pt x="310059" y="108078"/>
                    </a:lnTo>
                    <a:lnTo>
                      <a:pt x="316489" y="109726"/>
                    </a:lnTo>
                    <a:lnTo>
                      <a:pt x="320786" y="110828"/>
                    </a:lnTo>
                    <a:lnTo>
                      <a:pt x="326315" y="114706"/>
                    </a:lnTo>
                    <a:lnTo>
                      <a:pt x="327859" y="118047"/>
                    </a:lnTo>
                    <a:lnTo>
                      <a:pt x="328182" y="122499"/>
                    </a:lnTo>
                    <a:lnTo>
                      <a:pt x="331883" y="126946"/>
                    </a:lnTo>
                    <a:lnTo>
                      <a:pt x="337102" y="127475"/>
                    </a:lnTo>
                    <a:lnTo>
                      <a:pt x="341402" y="130239"/>
                    </a:lnTo>
                    <a:lnTo>
                      <a:pt x="341419" y="133596"/>
                    </a:lnTo>
                    <a:lnTo>
                      <a:pt x="335610" y="136407"/>
                    </a:lnTo>
                    <a:lnTo>
                      <a:pt x="329196" y="144786"/>
                    </a:lnTo>
                    <a:lnTo>
                      <a:pt x="323723" y="159301"/>
                    </a:lnTo>
                    <a:lnTo>
                      <a:pt x="323433" y="164870"/>
                    </a:lnTo>
                    <a:lnTo>
                      <a:pt x="328392" y="174880"/>
                    </a:lnTo>
                    <a:lnTo>
                      <a:pt x="335805" y="179312"/>
                    </a:lnTo>
                    <a:lnTo>
                      <a:pt x="341647" y="179837"/>
                    </a:lnTo>
                    <a:lnTo>
                      <a:pt x="342683" y="180761"/>
                    </a:lnTo>
                    <a:lnTo>
                      <a:pt x="345362" y="183156"/>
                    </a:lnTo>
                    <a:lnTo>
                      <a:pt x="347532" y="188090"/>
                    </a:lnTo>
                    <a:lnTo>
                      <a:pt x="347739" y="189432"/>
                    </a:lnTo>
                    <a:lnTo>
                      <a:pt x="347729" y="189433"/>
                    </a:lnTo>
                    <a:lnTo>
                      <a:pt x="346681" y="189593"/>
                    </a:lnTo>
                    <a:lnTo>
                      <a:pt x="338536" y="193397"/>
                    </a:lnTo>
                    <a:lnTo>
                      <a:pt x="331244" y="199134"/>
                    </a:lnTo>
                    <a:lnTo>
                      <a:pt x="309267" y="221831"/>
                    </a:lnTo>
                    <a:lnTo>
                      <a:pt x="300387" y="225616"/>
                    </a:lnTo>
                    <a:lnTo>
                      <a:pt x="291217" y="222568"/>
                    </a:lnTo>
                    <a:lnTo>
                      <a:pt x="293755" y="226156"/>
                    </a:lnTo>
                    <a:lnTo>
                      <a:pt x="297462" y="227581"/>
                    </a:lnTo>
                    <a:lnTo>
                      <a:pt x="304155" y="227543"/>
                    </a:lnTo>
                    <a:lnTo>
                      <a:pt x="304155" y="227559"/>
                    </a:lnTo>
                    <a:lnTo>
                      <a:pt x="304157" y="228269"/>
                    </a:lnTo>
                    <a:lnTo>
                      <a:pt x="304707" y="229789"/>
                    </a:lnTo>
                    <a:lnTo>
                      <a:pt x="306202" y="234485"/>
                    </a:lnTo>
                    <a:lnTo>
                      <a:pt x="303449" y="237137"/>
                    </a:lnTo>
                    <a:lnTo>
                      <a:pt x="303453" y="238736"/>
                    </a:lnTo>
                    <a:lnTo>
                      <a:pt x="308522" y="242535"/>
                    </a:lnTo>
                    <a:lnTo>
                      <a:pt x="308234" y="245399"/>
                    </a:lnTo>
                    <a:lnTo>
                      <a:pt x="305001" y="247105"/>
                    </a:lnTo>
                    <a:lnTo>
                      <a:pt x="298217" y="246596"/>
                    </a:lnTo>
                    <a:lnTo>
                      <a:pt x="297228" y="247655"/>
                    </a:lnTo>
                    <a:lnTo>
                      <a:pt x="298054" y="252866"/>
                    </a:lnTo>
                    <a:lnTo>
                      <a:pt x="296299" y="254774"/>
                    </a:lnTo>
                    <a:lnTo>
                      <a:pt x="288932" y="254677"/>
                    </a:lnTo>
                    <a:lnTo>
                      <a:pt x="282931" y="261259"/>
                    </a:lnTo>
                    <a:lnTo>
                      <a:pt x="282932" y="262858"/>
                    </a:lnTo>
                    <a:lnTo>
                      <a:pt x="286171" y="265185"/>
                    </a:lnTo>
                    <a:lnTo>
                      <a:pt x="286002" y="271978"/>
                    </a:lnTo>
                    <a:lnTo>
                      <a:pt x="298632" y="273340"/>
                    </a:lnTo>
                    <a:lnTo>
                      <a:pt x="303896" y="278641"/>
                    </a:lnTo>
                    <a:lnTo>
                      <a:pt x="304565" y="287337"/>
                    </a:lnTo>
                    <a:lnTo>
                      <a:pt x="296838" y="291609"/>
                    </a:lnTo>
                    <a:lnTo>
                      <a:pt x="295594" y="293723"/>
                    </a:lnTo>
                    <a:lnTo>
                      <a:pt x="297908" y="296701"/>
                    </a:lnTo>
                    <a:lnTo>
                      <a:pt x="302528" y="297856"/>
                    </a:lnTo>
                    <a:lnTo>
                      <a:pt x="301701" y="299023"/>
                    </a:lnTo>
                    <a:lnTo>
                      <a:pt x="298036" y="300511"/>
                    </a:lnTo>
                    <a:lnTo>
                      <a:pt x="291232" y="298410"/>
                    </a:lnTo>
                    <a:lnTo>
                      <a:pt x="285802" y="299365"/>
                    </a:lnTo>
                    <a:lnTo>
                      <a:pt x="283554" y="300532"/>
                    </a:lnTo>
                    <a:lnTo>
                      <a:pt x="282202" y="307226"/>
                    </a:lnTo>
                    <a:lnTo>
                      <a:pt x="277825" y="309994"/>
                    </a:lnTo>
                    <a:lnTo>
                      <a:pt x="259610" y="307445"/>
                    </a:lnTo>
                    <a:lnTo>
                      <a:pt x="247540" y="308282"/>
                    </a:lnTo>
                    <a:lnTo>
                      <a:pt x="242938" y="304127"/>
                    </a:lnTo>
                    <a:lnTo>
                      <a:pt x="239092" y="305284"/>
                    </a:lnTo>
                    <a:lnTo>
                      <a:pt x="237723" y="309645"/>
                    </a:lnTo>
                    <a:lnTo>
                      <a:pt x="235713" y="310905"/>
                    </a:lnTo>
                    <a:lnTo>
                      <a:pt x="225939" y="313348"/>
                    </a:lnTo>
                    <a:lnTo>
                      <a:pt x="224586" y="311191"/>
                    </a:lnTo>
                    <a:lnTo>
                      <a:pt x="223369" y="303013"/>
                    </a:lnTo>
                    <a:lnTo>
                      <a:pt x="240477" y="294685"/>
                    </a:lnTo>
                    <a:lnTo>
                      <a:pt x="242250" y="292872"/>
                    </a:lnTo>
                    <a:lnTo>
                      <a:pt x="240715" y="290953"/>
                    </a:lnTo>
                    <a:lnTo>
                      <a:pt x="230039" y="286683"/>
                    </a:lnTo>
                    <a:lnTo>
                      <a:pt x="226552" y="288272"/>
                    </a:lnTo>
                    <a:lnTo>
                      <a:pt x="220705" y="287089"/>
                    </a:lnTo>
                    <a:lnTo>
                      <a:pt x="218858" y="290795"/>
                    </a:lnTo>
                    <a:lnTo>
                      <a:pt x="206345" y="289790"/>
                    </a:lnTo>
                    <a:lnTo>
                      <a:pt x="204050" y="288309"/>
                    </a:lnTo>
                    <a:lnTo>
                      <a:pt x="201121" y="281266"/>
                    </a:lnTo>
                    <a:lnTo>
                      <a:pt x="198768" y="279774"/>
                    </a:lnTo>
                    <a:lnTo>
                      <a:pt x="184803" y="288586"/>
                    </a:lnTo>
                    <a:lnTo>
                      <a:pt x="184076" y="289055"/>
                    </a:lnTo>
                    <a:lnTo>
                      <a:pt x="182378" y="287120"/>
                    </a:lnTo>
                    <a:lnTo>
                      <a:pt x="181951" y="279683"/>
                    </a:lnTo>
                    <a:lnTo>
                      <a:pt x="180951" y="278730"/>
                    </a:lnTo>
                    <a:lnTo>
                      <a:pt x="173441" y="280381"/>
                    </a:lnTo>
                    <a:lnTo>
                      <a:pt x="167422" y="272698"/>
                    </a:lnTo>
                    <a:lnTo>
                      <a:pt x="155607" y="266136"/>
                    </a:lnTo>
                    <a:lnTo>
                      <a:pt x="148474" y="259069"/>
                    </a:lnTo>
                    <a:lnTo>
                      <a:pt x="138234" y="257609"/>
                    </a:lnTo>
                    <a:lnTo>
                      <a:pt x="134738" y="252592"/>
                    </a:lnTo>
                    <a:lnTo>
                      <a:pt x="133321" y="252993"/>
                    </a:lnTo>
                    <a:lnTo>
                      <a:pt x="131809" y="256909"/>
                    </a:lnTo>
                    <a:lnTo>
                      <a:pt x="130218" y="257111"/>
                    </a:lnTo>
                    <a:lnTo>
                      <a:pt x="126705" y="255280"/>
                    </a:lnTo>
                    <a:lnTo>
                      <a:pt x="122280" y="249391"/>
                    </a:lnTo>
                    <a:lnTo>
                      <a:pt x="111644" y="246834"/>
                    </a:lnTo>
                    <a:lnTo>
                      <a:pt x="101407" y="235682"/>
                    </a:lnTo>
                    <a:lnTo>
                      <a:pt x="102021" y="228363"/>
                    </a:lnTo>
                    <a:lnTo>
                      <a:pt x="99527" y="225471"/>
                    </a:lnTo>
                    <a:lnTo>
                      <a:pt x="99483" y="219428"/>
                    </a:lnTo>
                    <a:lnTo>
                      <a:pt x="98411" y="218903"/>
                    </a:lnTo>
                    <a:lnTo>
                      <a:pt x="99665" y="218769"/>
                    </a:lnTo>
                    <a:lnTo>
                      <a:pt x="100635" y="216223"/>
                    </a:lnTo>
                    <a:lnTo>
                      <a:pt x="105706" y="216517"/>
                    </a:lnTo>
                    <a:lnTo>
                      <a:pt x="107307" y="214640"/>
                    </a:lnTo>
                    <a:lnTo>
                      <a:pt x="107367" y="214640"/>
                    </a:lnTo>
                    <a:lnTo>
                      <a:pt x="108675" y="211989"/>
                    </a:lnTo>
                    <a:lnTo>
                      <a:pt x="108832" y="186833"/>
                    </a:lnTo>
                    <a:lnTo>
                      <a:pt x="117025" y="188618"/>
                    </a:lnTo>
                    <a:lnTo>
                      <a:pt x="121693" y="184639"/>
                    </a:lnTo>
                    <a:lnTo>
                      <a:pt x="128231" y="182788"/>
                    </a:lnTo>
                    <a:lnTo>
                      <a:pt x="122787" y="169780"/>
                    </a:lnTo>
                    <a:lnTo>
                      <a:pt x="117961" y="165921"/>
                    </a:lnTo>
                    <a:lnTo>
                      <a:pt x="117752" y="166086"/>
                    </a:lnTo>
                    <a:lnTo>
                      <a:pt x="115889" y="165544"/>
                    </a:lnTo>
                    <a:lnTo>
                      <a:pt x="111451" y="166878"/>
                    </a:lnTo>
                    <a:lnTo>
                      <a:pt x="98981" y="173610"/>
                    </a:lnTo>
                    <a:lnTo>
                      <a:pt x="88309" y="177372"/>
                    </a:lnTo>
                    <a:lnTo>
                      <a:pt x="87179" y="175265"/>
                    </a:lnTo>
                    <a:lnTo>
                      <a:pt x="87152" y="175285"/>
                    </a:lnTo>
                    <a:lnTo>
                      <a:pt x="80531" y="157409"/>
                    </a:lnTo>
                    <a:lnTo>
                      <a:pt x="74483" y="154467"/>
                    </a:lnTo>
                    <a:lnTo>
                      <a:pt x="66211" y="159983"/>
                    </a:lnTo>
                    <a:lnTo>
                      <a:pt x="49264" y="165149"/>
                    </a:lnTo>
                    <a:lnTo>
                      <a:pt x="46741" y="165545"/>
                    </a:lnTo>
                    <a:lnTo>
                      <a:pt x="43104" y="162190"/>
                    </a:lnTo>
                    <a:lnTo>
                      <a:pt x="40413" y="162248"/>
                    </a:lnTo>
                    <a:lnTo>
                      <a:pt x="38624" y="164036"/>
                    </a:lnTo>
                    <a:lnTo>
                      <a:pt x="38632" y="167335"/>
                    </a:lnTo>
                    <a:lnTo>
                      <a:pt x="36729" y="169101"/>
                    </a:lnTo>
                    <a:lnTo>
                      <a:pt x="29166" y="169295"/>
                    </a:lnTo>
                    <a:lnTo>
                      <a:pt x="21786" y="172155"/>
                    </a:lnTo>
                    <a:lnTo>
                      <a:pt x="13440" y="179910"/>
                    </a:lnTo>
                    <a:lnTo>
                      <a:pt x="13407" y="179890"/>
                    </a:lnTo>
                    <a:lnTo>
                      <a:pt x="8269" y="178062"/>
                    </a:lnTo>
                    <a:lnTo>
                      <a:pt x="5795" y="175263"/>
                    </a:lnTo>
                    <a:lnTo>
                      <a:pt x="5736" y="172171"/>
                    </a:lnTo>
                    <a:lnTo>
                      <a:pt x="11662" y="161750"/>
                    </a:lnTo>
                    <a:lnTo>
                      <a:pt x="11599" y="158827"/>
                    </a:lnTo>
                    <a:lnTo>
                      <a:pt x="10934" y="157966"/>
                    </a:lnTo>
                    <a:lnTo>
                      <a:pt x="9309" y="155904"/>
                    </a:lnTo>
                    <a:lnTo>
                      <a:pt x="3651" y="154418"/>
                    </a:lnTo>
                    <a:lnTo>
                      <a:pt x="2288" y="152163"/>
                    </a:lnTo>
                    <a:lnTo>
                      <a:pt x="2477" y="151376"/>
                    </a:lnTo>
                    <a:lnTo>
                      <a:pt x="2666" y="150579"/>
                    </a:lnTo>
                    <a:lnTo>
                      <a:pt x="23375" y="140862"/>
                    </a:lnTo>
                    <a:lnTo>
                      <a:pt x="27591" y="143479"/>
                    </a:lnTo>
                    <a:lnTo>
                      <a:pt x="29858" y="144898"/>
                    </a:lnTo>
                    <a:lnTo>
                      <a:pt x="31120" y="142589"/>
                    </a:lnTo>
                    <a:lnTo>
                      <a:pt x="25984" y="132867"/>
                    </a:lnTo>
                    <a:lnTo>
                      <a:pt x="23530" y="128225"/>
                    </a:lnTo>
                    <a:lnTo>
                      <a:pt x="22383" y="127900"/>
                    </a:lnTo>
                    <a:lnTo>
                      <a:pt x="16731" y="126312"/>
                    </a:lnTo>
                    <a:lnTo>
                      <a:pt x="16695" y="121848"/>
                    </a:lnTo>
                    <a:lnTo>
                      <a:pt x="19075" y="118986"/>
                    </a:lnTo>
                    <a:lnTo>
                      <a:pt x="18535" y="113171"/>
                    </a:lnTo>
                    <a:lnTo>
                      <a:pt x="15815" y="111959"/>
                    </a:lnTo>
                    <a:lnTo>
                      <a:pt x="7696" y="115628"/>
                    </a:lnTo>
                    <a:lnTo>
                      <a:pt x="0" y="114816"/>
                    </a:lnTo>
                    <a:lnTo>
                      <a:pt x="99" y="106583"/>
                    </a:lnTo>
                    <a:lnTo>
                      <a:pt x="1431" y="103843"/>
                    </a:lnTo>
                    <a:lnTo>
                      <a:pt x="13541" y="102046"/>
                    </a:lnTo>
                    <a:lnTo>
                      <a:pt x="26006" y="95783"/>
                    </a:lnTo>
                    <a:lnTo>
                      <a:pt x="23725" y="89601"/>
                    </a:lnTo>
                    <a:lnTo>
                      <a:pt x="24587" y="86734"/>
                    </a:lnTo>
                    <a:lnTo>
                      <a:pt x="28918" y="82461"/>
                    </a:lnTo>
                    <a:lnTo>
                      <a:pt x="28103" y="71943"/>
                    </a:lnTo>
                    <a:lnTo>
                      <a:pt x="33732" y="68736"/>
                    </a:lnTo>
                    <a:lnTo>
                      <a:pt x="35342" y="63253"/>
                    </a:lnTo>
                    <a:lnTo>
                      <a:pt x="41837" y="53582"/>
                    </a:lnTo>
                    <a:lnTo>
                      <a:pt x="46012" y="54180"/>
                    </a:lnTo>
                    <a:lnTo>
                      <a:pt x="50042" y="60501"/>
                    </a:lnTo>
                    <a:lnTo>
                      <a:pt x="55732" y="63409"/>
                    </a:lnTo>
                    <a:lnTo>
                      <a:pt x="57934" y="63441"/>
                    </a:lnTo>
                    <a:lnTo>
                      <a:pt x="67142" y="50382"/>
                    </a:lnTo>
                    <a:lnTo>
                      <a:pt x="69777" y="47911"/>
                    </a:lnTo>
                    <a:lnTo>
                      <a:pt x="70401" y="46922"/>
                    </a:lnTo>
                    <a:lnTo>
                      <a:pt x="72818" y="45227"/>
                    </a:lnTo>
                    <a:lnTo>
                      <a:pt x="79889" y="46270"/>
                    </a:lnTo>
                    <a:lnTo>
                      <a:pt x="86204" y="38392"/>
                    </a:lnTo>
                    <a:lnTo>
                      <a:pt x="96695" y="35441"/>
                    </a:lnTo>
                    <a:lnTo>
                      <a:pt x="107617" y="29308"/>
                    </a:lnTo>
                    <a:lnTo>
                      <a:pt x="108916" y="27091"/>
                    </a:lnTo>
                    <a:lnTo>
                      <a:pt x="107487" y="20283"/>
                    </a:lnTo>
                    <a:lnTo>
                      <a:pt x="112644" y="14830"/>
                    </a:lnTo>
                    <a:lnTo>
                      <a:pt x="115490" y="14426"/>
                    </a:lnTo>
                    <a:lnTo>
                      <a:pt x="129009" y="19658"/>
                    </a:lnTo>
                    <a:lnTo>
                      <a:pt x="142829" y="17032"/>
                    </a:lnTo>
                    <a:lnTo>
                      <a:pt x="154691" y="19786"/>
                    </a:lnTo>
                    <a:lnTo>
                      <a:pt x="156786" y="18203"/>
                    </a:lnTo>
                    <a:lnTo>
                      <a:pt x="158151" y="6978"/>
                    </a:lnTo>
                    <a:lnTo>
                      <a:pt x="160337" y="1566"/>
                    </a:lnTo>
                    <a:lnTo>
                      <a:pt x="162256" y="0"/>
                    </a:lnTo>
                    <a:lnTo>
                      <a:pt x="171010" y="748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89" name="Freeform 20">
                <a:extLst>
                  <a:ext uri="{FF2B5EF4-FFF2-40B4-BE49-F238E27FC236}">
                    <a16:creationId xmlns:a16="http://schemas.microsoft.com/office/drawing/2014/main" id="{B7D19055-32E4-C9AE-B4F0-E2A18350AD78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>
              <a:xfrm>
                <a:off x="4539815" y="3075697"/>
                <a:ext cx="195812" cy="192364"/>
              </a:xfrm>
              <a:custGeom>
                <a:avLst/>
                <a:gdLst/>
                <a:ahLst/>
                <a:cxnLst/>
                <a:rect l="0" t="0" r="0" b="0"/>
                <a:pathLst>
                  <a:path w="201046" h="197506">
                    <a:moveTo>
                      <a:pt x="122473" y="9736"/>
                    </a:moveTo>
                    <a:lnTo>
                      <a:pt x="132552" y="9643"/>
                    </a:lnTo>
                    <a:lnTo>
                      <a:pt x="136051" y="12798"/>
                    </a:lnTo>
                    <a:lnTo>
                      <a:pt x="139534" y="19555"/>
                    </a:lnTo>
                    <a:lnTo>
                      <a:pt x="147885" y="25521"/>
                    </a:lnTo>
                    <a:lnTo>
                      <a:pt x="150232" y="33137"/>
                    </a:lnTo>
                    <a:lnTo>
                      <a:pt x="154661" y="36061"/>
                    </a:lnTo>
                    <a:lnTo>
                      <a:pt x="154313" y="40636"/>
                    </a:lnTo>
                    <a:lnTo>
                      <a:pt x="150862" y="48314"/>
                    </a:lnTo>
                    <a:lnTo>
                      <a:pt x="152208" y="55300"/>
                    </a:lnTo>
                    <a:lnTo>
                      <a:pt x="151864" y="60407"/>
                    </a:lnTo>
                    <a:lnTo>
                      <a:pt x="162327" y="75771"/>
                    </a:lnTo>
                    <a:lnTo>
                      <a:pt x="167593" y="79105"/>
                    </a:lnTo>
                    <a:lnTo>
                      <a:pt x="180068" y="80649"/>
                    </a:lnTo>
                    <a:lnTo>
                      <a:pt x="188758" y="91051"/>
                    </a:lnTo>
                    <a:lnTo>
                      <a:pt x="194674" y="90447"/>
                    </a:lnTo>
                    <a:lnTo>
                      <a:pt x="198871" y="90389"/>
                    </a:lnTo>
                    <a:lnTo>
                      <a:pt x="201045" y="92299"/>
                    </a:lnTo>
                    <a:lnTo>
                      <a:pt x="201043" y="92304"/>
                    </a:lnTo>
                    <a:lnTo>
                      <a:pt x="200067" y="94433"/>
                    </a:lnTo>
                    <a:lnTo>
                      <a:pt x="198018" y="111222"/>
                    </a:lnTo>
                    <a:lnTo>
                      <a:pt x="195547" y="115921"/>
                    </a:lnTo>
                    <a:lnTo>
                      <a:pt x="192730" y="119816"/>
                    </a:lnTo>
                    <a:lnTo>
                      <a:pt x="190697" y="125502"/>
                    </a:lnTo>
                    <a:lnTo>
                      <a:pt x="190720" y="128487"/>
                    </a:lnTo>
                    <a:lnTo>
                      <a:pt x="192108" y="133693"/>
                    </a:lnTo>
                    <a:lnTo>
                      <a:pt x="192276" y="135930"/>
                    </a:lnTo>
                    <a:lnTo>
                      <a:pt x="191140" y="138604"/>
                    </a:lnTo>
                    <a:lnTo>
                      <a:pt x="187440" y="142758"/>
                    </a:lnTo>
                    <a:lnTo>
                      <a:pt x="185320" y="149410"/>
                    </a:lnTo>
                    <a:lnTo>
                      <a:pt x="182120" y="153556"/>
                    </a:lnTo>
                    <a:lnTo>
                      <a:pt x="162555" y="168068"/>
                    </a:lnTo>
                    <a:lnTo>
                      <a:pt x="159029" y="176147"/>
                    </a:lnTo>
                    <a:lnTo>
                      <a:pt x="154758" y="179303"/>
                    </a:lnTo>
                    <a:lnTo>
                      <a:pt x="146702" y="183433"/>
                    </a:lnTo>
                    <a:lnTo>
                      <a:pt x="144844" y="186375"/>
                    </a:lnTo>
                    <a:lnTo>
                      <a:pt x="140956" y="196520"/>
                    </a:lnTo>
                    <a:lnTo>
                      <a:pt x="138929" y="197505"/>
                    </a:lnTo>
                    <a:lnTo>
                      <a:pt x="137426" y="196555"/>
                    </a:lnTo>
                    <a:lnTo>
                      <a:pt x="135735" y="195017"/>
                    </a:lnTo>
                    <a:lnTo>
                      <a:pt x="133091" y="194234"/>
                    </a:lnTo>
                    <a:lnTo>
                      <a:pt x="121599" y="196033"/>
                    </a:lnTo>
                    <a:lnTo>
                      <a:pt x="121596" y="196033"/>
                    </a:lnTo>
                    <a:lnTo>
                      <a:pt x="120989" y="193854"/>
                    </a:lnTo>
                    <a:lnTo>
                      <a:pt x="118864" y="187632"/>
                    </a:lnTo>
                    <a:lnTo>
                      <a:pt x="118515" y="182609"/>
                    </a:lnTo>
                    <a:lnTo>
                      <a:pt x="116025" y="178731"/>
                    </a:lnTo>
                    <a:lnTo>
                      <a:pt x="108024" y="178233"/>
                    </a:lnTo>
                    <a:lnTo>
                      <a:pt x="98496" y="178867"/>
                    </a:lnTo>
                    <a:lnTo>
                      <a:pt x="89907" y="181709"/>
                    </a:lnTo>
                    <a:lnTo>
                      <a:pt x="76699" y="183467"/>
                    </a:lnTo>
                    <a:lnTo>
                      <a:pt x="69940" y="185163"/>
                    </a:lnTo>
                    <a:lnTo>
                      <a:pt x="67502" y="190191"/>
                    </a:lnTo>
                    <a:lnTo>
                      <a:pt x="66709" y="195033"/>
                    </a:lnTo>
                    <a:lnTo>
                      <a:pt x="65673" y="194109"/>
                    </a:lnTo>
                    <a:lnTo>
                      <a:pt x="59831" y="193584"/>
                    </a:lnTo>
                    <a:lnTo>
                      <a:pt x="52418" y="189152"/>
                    </a:lnTo>
                    <a:lnTo>
                      <a:pt x="47459" y="179142"/>
                    </a:lnTo>
                    <a:lnTo>
                      <a:pt x="47749" y="173573"/>
                    </a:lnTo>
                    <a:lnTo>
                      <a:pt x="53222" y="159058"/>
                    </a:lnTo>
                    <a:lnTo>
                      <a:pt x="59636" y="150679"/>
                    </a:lnTo>
                    <a:lnTo>
                      <a:pt x="65445" y="147868"/>
                    </a:lnTo>
                    <a:lnTo>
                      <a:pt x="65428" y="144511"/>
                    </a:lnTo>
                    <a:lnTo>
                      <a:pt x="61128" y="141747"/>
                    </a:lnTo>
                    <a:lnTo>
                      <a:pt x="55909" y="141218"/>
                    </a:lnTo>
                    <a:lnTo>
                      <a:pt x="52208" y="136771"/>
                    </a:lnTo>
                    <a:lnTo>
                      <a:pt x="51885" y="132319"/>
                    </a:lnTo>
                    <a:lnTo>
                      <a:pt x="50341" y="128978"/>
                    </a:lnTo>
                    <a:lnTo>
                      <a:pt x="44812" y="125100"/>
                    </a:lnTo>
                    <a:lnTo>
                      <a:pt x="40515" y="123998"/>
                    </a:lnTo>
                    <a:lnTo>
                      <a:pt x="34085" y="122350"/>
                    </a:lnTo>
                    <a:lnTo>
                      <a:pt x="27955" y="120696"/>
                    </a:lnTo>
                    <a:lnTo>
                      <a:pt x="24580" y="117920"/>
                    </a:lnTo>
                    <a:lnTo>
                      <a:pt x="19054" y="109579"/>
                    </a:lnTo>
                    <a:lnTo>
                      <a:pt x="12617" y="100111"/>
                    </a:lnTo>
                    <a:lnTo>
                      <a:pt x="10780" y="95098"/>
                    </a:lnTo>
                    <a:lnTo>
                      <a:pt x="8318" y="86176"/>
                    </a:lnTo>
                    <a:lnTo>
                      <a:pt x="8311" y="79504"/>
                    </a:lnTo>
                    <a:lnTo>
                      <a:pt x="8304" y="72257"/>
                    </a:lnTo>
                    <a:lnTo>
                      <a:pt x="5252" y="63336"/>
                    </a:lnTo>
                    <a:lnTo>
                      <a:pt x="3110" y="60553"/>
                    </a:lnTo>
                    <a:lnTo>
                      <a:pt x="669" y="51077"/>
                    </a:lnTo>
                    <a:lnTo>
                      <a:pt x="0" y="39863"/>
                    </a:lnTo>
                    <a:lnTo>
                      <a:pt x="4943" y="40136"/>
                    </a:lnTo>
                    <a:lnTo>
                      <a:pt x="10451" y="35136"/>
                    </a:lnTo>
                    <a:lnTo>
                      <a:pt x="21227" y="32573"/>
                    </a:lnTo>
                    <a:lnTo>
                      <a:pt x="22549" y="30240"/>
                    </a:lnTo>
                    <a:lnTo>
                      <a:pt x="23234" y="22382"/>
                    </a:lnTo>
                    <a:lnTo>
                      <a:pt x="25091" y="21212"/>
                    </a:lnTo>
                    <a:lnTo>
                      <a:pt x="41104" y="29234"/>
                    </a:lnTo>
                    <a:lnTo>
                      <a:pt x="49103" y="30163"/>
                    </a:lnTo>
                    <a:lnTo>
                      <a:pt x="57239" y="36291"/>
                    </a:lnTo>
                    <a:lnTo>
                      <a:pt x="59956" y="33613"/>
                    </a:lnTo>
                    <a:lnTo>
                      <a:pt x="64034" y="15241"/>
                    </a:lnTo>
                    <a:lnTo>
                      <a:pt x="65938" y="11412"/>
                    </a:lnTo>
                    <a:lnTo>
                      <a:pt x="69910" y="8094"/>
                    </a:lnTo>
                    <a:lnTo>
                      <a:pt x="76779" y="5193"/>
                    </a:lnTo>
                    <a:lnTo>
                      <a:pt x="97268" y="5704"/>
                    </a:lnTo>
                    <a:lnTo>
                      <a:pt x="104459" y="763"/>
                    </a:lnTo>
                    <a:lnTo>
                      <a:pt x="108789" y="0"/>
                    </a:lnTo>
                    <a:lnTo>
                      <a:pt x="117509" y="416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0" name="Freeform 21">
                <a:extLst>
                  <a:ext uri="{FF2B5EF4-FFF2-40B4-BE49-F238E27FC236}">
                    <a16:creationId xmlns:a16="http://schemas.microsoft.com/office/drawing/2014/main" id="{DBD2F160-4474-C45C-E24C-932279F61FF6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>
              <a:xfrm>
                <a:off x="4604787" y="3249290"/>
                <a:ext cx="53459" cy="24809"/>
              </a:xfrm>
              <a:custGeom>
                <a:avLst/>
                <a:gdLst/>
                <a:ahLst/>
                <a:cxnLst/>
                <a:rect l="0" t="0" r="0" b="0"/>
                <a:pathLst>
                  <a:path w="54888" h="25472">
                    <a:moveTo>
                      <a:pt x="54887" y="17800"/>
                    </a:moveTo>
                    <a:lnTo>
                      <a:pt x="5056" y="25471"/>
                    </a:lnTo>
                    <a:lnTo>
                      <a:pt x="4849" y="24129"/>
                    </a:lnTo>
                    <a:lnTo>
                      <a:pt x="2679" y="19195"/>
                    </a:lnTo>
                    <a:lnTo>
                      <a:pt x="0" y="16800"/>
                    </a:lnTo>
                    <a:lnTo>
                      <a:pt x="793" y="11958"/>
                    </a:lnTo>
                    <a:lnTo>
                      <a:pt x="3231" y="6930"/>
                    </a:lnTo>
                    <a:lnTo>
                      <a:pt x="9990" y="5234"/>
                    </a:lnTo>
                    <a:lnTo>
                      <a:pt x="23198" y="3476"/>
                    </a:lnTo>
                    <a:lnTo>
                      <a:pt x="31787" y="634"/>
                    </a:lnTo>
                    <a:lnTo>
                      <a:pt x="41315" y="0"/>
                    </a:lnTo>
                    <a:lnTo>
                      <a:pt x="49316" y="498"/>
                    </a:lnTo>
                    <a:lnTo>
                      <a:pt x="51806" y="4376"/>
                    </a:lnTo>
                    <a:lnTo>
                      <a:pt x="52155" y="9399"/>
                    </a:lnTo>
                    <a:lnTo>
                      <a:pt x="54280" y="1562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1" name="Freeform 22">
                <a:extLst>
                  <a:ext uri="{FF2B5EF4-FFF2-40B4-BE49-F238E27FC236}">
                    <a16:creationId xmlns:a16="http://schemas.microsoft.com/office/drawing/2014/main" id="{17483B9D-4E8C-9214-0C79-80D000827546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>
              <a:xfrm>
                <a:off x="4466951" y="3271689"/>
                <a:ext cx="242036" cy="162168"/>
              </a:xfrm>
              <a:custGeom>
                <a:avLst/>
                <a:gdLst/>
                <a:ahLst/>
                <a:cxnLst/>
                <a:rect l="0" t="0" r="0" b="0"/>
                <a:pathLst>
                  <a:path w="248506" h="166503">
                    <a:moveTo>
                      <a:pt x="0" y="147475"/>
                    </a:moveTo>
                    <a:lnTo>
                      <a:pt x="845" y="146755"/>
                    </a:lnTo>
                    <a:lnTo>
                      <a:pt x="4530" y="143158"/>
                    </a:lnTo>
                    <a:lnTo>
                      <a:pt x="6628" y="138073"/>
                    </a:lnTo>
                    <a:lnTo>
                      <a:pt x="11540" y="138409"/>
                    </a:lnTo>
                    <a:lnTo>
                      <a:pt x="24576" y="134741"/>
                    </a:lnTo>
                    <a:lnTo>
                      <a:pt x="24462" y="132509"/>
                    </a:lnTo>
                    <a:lnTo>
                      <a:pt x="21806" y="131336"/>
                    </a:lnTo>
                    <a:lnTo>
                      <a:pt x="20988" y="128905"/>
                    </a:lnTo>
                    <a:lnTo>
                      <a:pt x="24777" y="126389"/>
                    </a:lnTo>
                    <a:lnTo>
                      <a:pt x="34551" y="123946"/>
                    </a:lnTo>
                    <a:lnTo>
                      <a:pt x="36561" y="122686"/>
                    </a:lnTo>
                    <a:lnTo>
                      <a:pt x="37930" y="118325"/>
                    </a:lnTo>
                    <a:lnTo>
                      <a:pt x="41776" y="117168"/>
                    </a:lnTo>
                    <a:lnTo>
                      <a:pt x="46378" y="121323"/>
                    </a:lnTo>
                    <a:lnTo>
                      <a:pt x="58448" y="120486"/>
                    </a:lnTo>
                    <a:lnTo>
                      <a:pt x="76663" y="123035"/>
                    </a:lnTo>
                    <a:lnTo>
                      <a:pt x="81040" y="120267"/>
                    </a:lnTo>
                    <a:lnTo>
                      <a:pt x="82392" y="113573"/>
                    </a:lnTo>
                    <a:lnTo>
                      <a:pt x="84640" y="112406"/>
                    </a:lnTo>
                    <a:lnTo>
                      <a:pt x="90070" y="111451"/>
                    </a:lnTo>
                    <a:lnTo>
                      <a:pt x="96874" y="113552"/>
                    </a:lnTo>
                    <a:lnTo>
                      <a:pt x="100539" y="112064"/>
                    </a:lnTo>
                    <a:lnTo>
                      <a:pt x="101366" y="110897"/>
                    </a:lnTo>
                    <a:lnTo>
                      <a:pt x="96746" y="109742"/>
                    </a:lnTo>
                    <a:lnTo>
                      <a:pt x="94432" y="106764"/>
                    </a:lnTo>
                    <a:lnTo>
                      <a:pt x="95676" y="104650"/>
                    </a:lnTo>
                    <a:lnTo>
                      <a:pt x="103403" y="100378"/>
                    </a:lnTo>
                    <a:lnTo>
                      <a:pt x="102734" y="91682"/>
                    </a:lnTo>
                    <a:lnTo>
                      <a:pt x="97470" y="86381"/>
                    </a:lnTo>
                    <a:lnTo>
                      <a:pt x="84840" y="85019"/>
                    </a:lnTo>
                    <a:lnTo>
                      <a:pt x="85009" y="78226"/>
                    </a:lnTo>
                    <a:lnTo>
                      <a:pt x="81770" y="75899"/>
                    </a:lnTo>
                    <a:lnTo>
                      <a:pt x="81769" y="74300"/>
                    </a:lnTo>
                    <a:lnTo>
                      <a:pt x="87770" y="67718"/>
                    </a:lnTo>
                    <a:lnTo>
                      <a:pt x="95137" y="67815"/>
                    </a:lnTo>
                    <a:lnTo>
                      <a:pt x="96892" y="65907"/>
                    </a:lnTo>
                    <a:lnTo>
                      <a:pt x="96066" y="60696"/>
                    </a:lnTo>
                    <a:lnTo>
                      <a:pt x="97055" y="59637"/>
                    </a:lnTo>
                    <a:lnTo>
                      <a:pt x="103839" y="60146"/>
                    </a:lnTo>
                    <a:lnTo>
                      <a:pt x="107072" y="58440"/>
                    </a:lnTo>
                    <a:lnTo>
                      <a:pt x="107360" y="55576"/>
                    </a:lnTo>
                    <a:lnTo>
                      <a:pt x="102291" y="51777"/>
                    </a:lnTo>
                    <a:lnTo>
                      <a:pt x="102287" y="50178"/>
                    </a:lnTo>
                    <a:lnTo>
                      <a:pt x="105040" y="47526"/>
                    </a:lnTo>
                    <a:lnTo>
                      <a:pt x="103545" y="42830"/>
                    </a:lnTo>
                    <a:lnTo>
                      <a:pt x="102995" y="41310"/>
                    </a:lnTo>
                    <a:lnTo>
                      <a:pt x="102993" y="40600"/>
                    </a:lnTo>
                    <a:lnTo>
                      <a:pt x="102993" y="40584"/>
                    </a:lnTo>
                    <a:lnTo>
                      <a:pt x="105294" y="40570"/>
                    </a:lnTo>
                    <a:lnTo>
                      <a:pt x="109719" y="39345"/>
                    </a:lnTo>
                    <a:lnTo>
                      <a:pt x="118643" y="33907"/>
                    </a:lnTo>
                    <a:lnTo>
                      <a:pt x="126851" y="31825"/>
                    </a:lnTo>
                    <a:lnTo>
                      <a:pt x="168876" y="10082"/>
                    </a:lnTo>
                    <a:lnTo>
                      <a:pt x="171042" y="7516"/>
                    </a:lnTo>
                    <a:lnTo>
                      <a:pt x="172976" y="3864"/>
                    </a:lnTo>
                    <a:lnTo>
                      <a:pt x="177509" y="909"/>
                    </a:lnTo>
                    <a:lnTo>
                      <a:pt x="182589" y="0"/>
                    </a:lnTo>
                    <a:lnTo>
                      <a:pt x="186216" y="2319"/>
                    </a:lnTo>
                    <a:lnTo>
                      <a:pt x="190011" y="6035"/>
                    </a:lnTo>
                    <a:lnTo>
                      <a:pt x="197477" y="6594"/>
                    </a:lnTo>
                    <a:lnTo>
                      <a:pt x="200047" y="11329"/>
                    </a:lnTo>
                    <a:lnTo>
                      <a:pt x="200517" y="18601"/>
                    </a:lnTo>
                    <a:lnTo>
                      <a:pt x="199021" y="25439"/>
                    </a:lnTo>
                    <a:lnTo>
                      <a:pt x="196247" y="31154"/>
                    </a:lnTo>
                    <a:lnTo>
                      <a:pt x="192905" y="35101"/>
                    </a:lnTo>
                    <a:lnTo>
                      <a:pt x="198107" y="35056"/>
                    </a:lnTo>
                    <a:lnTo>
                      <a:pt x="198919" y="36215"/>
                    </a:lnTo>
                    <a:lnTo>
                      <a:pt x="199905" y="41462"/>
                    </a:lnTo>
                    <a:lnTo>
                      <a:pt x="200331" y="42872"/>
                    </a:lnTo>
                    <a:lnTo>
                      <a:pt x="202737" y="43970"/>
                    </a:lnTo>
                    <a:lnTo>
                      <a:pt x="204619" y="44280"/>
                    </a:lnTo>
                    <a:lnTo>
                      <a:pt x="206186" y="45104"/>
                    </a:lnTo>
                    <a:lnTo>
                      <a:pt x="207617" y="47796"/>
                    </a:lnTo>
                    <a:lnTo>
                      <a:pt x="227010" y="49094"/>
                    </a:lnTo>
                    <a:lnTo>
                      <a:pt x="231674" y="51438"/>
                    </a:lnTo>
                    <a:lnTo>
                      <a:pt x="238970" y="58135"/>
                    </a:lnTo>
                    <a:lnTo>
                      <a:pt x="240680" y="59079"/>
                    </a:lnTo>
                    <a:lnTo>
                      <a:pt x="248477" y="65859"/>
                    </a:lnTo>
                    <a:lnTo>
                      <a:pt x="248505" y="68205"/>
                    </a:lnTo>
                    <a:lnTo>
                      <a:pt x="237326" y="79518"/>
                    </a:lnTo>
                    <a:lnTo>
                      <a:pt x="233541" y="87132"/>
                    </a:lnTo>
                    <a:lnTo>
                      <a:pt x="228537" y="89597"/>
                    </a:lnTo>
                    <a:lnTo>
                      <a:pt x="218326" y="92037"/>
                    </a:lnTo>
                    <a:lnTo>
                      <a:pt x="204942" y="101463"/>
                    </a:lnTo>
                    <a:lnTo>
                      <a:pt x="200162" y="102875"/>
                    </a:lnTo>
                    <a:lnTo>
                      <a:pt x="194928" y="102018"/>
                    </a:lnTo>
                    <a:lnTo>
                      <a:pt x="181827" y="95190"/>
                    </a:lnTo>
                    <a:lnTo>
                      <a:pt x="171630" y="95062"/>
                    </a:lnTo>
                    <a:lnTo>
                      <a:pt x="166478" y="96543"/>
                    </a:lnTo>
                    <a:lnTo>
                      <a:pt x="164299" y="99356"/>
                    </a:lnTo>
                    <a:lnTo>
                      <a:pt x="162678" y="102880"/>
                    </a:lnTo>
                    <a:lnTo>
                      <a:pt x="151423" y="111048"/>
                    </a:lnTo>
                    <a:lnTo>
                      <a:pt x="139681" y="124728"/>
                    </a:lnTo>
                    <a:lnTo>
                      <a:pt x="136181" y="126797"/>
                    </a:lnTo>
                    <a:lnTo>
                      <a:pt x="131924" y="128355"/>
                    </a:lnTo>
                    <a:lnTo>
                      <a:pt x="129653" y="132438"/>
                    </a:lnTo>
                    <a:lnTo>
                      <a:pt x="126730" y="145324"/>
                    </a:lnTo>
                    <a:lnTo>
                      <a:pt x="124338" y="150930"/>
                    </a:lnTo>
                    <a:lnTo>
                      <a:pt x="121187" y="153150"/>
                    </a:lnTo>
                    <a:lnTo>
                      <a:pt x="106239" y="154003"/>
                    </a:lnTo>
                    <a:lnTo>
                      <a:pt x="101988" y="155942"/>
                    </a:lnTo>
                    <a:lnTo>
                      <a:pt x="94599" y="161071"/>
                    </a:lnTo>
                    <a:lnTo>
                      <a:pt x="86143" y="165048"/>
                    </a:lnTo>
                    <a:lnTo>
                      <a:pt x="77786" y="166502"/>
                    </a:lnTo>
                    <a:lnTo>
                      <a:pt x="69426" y="165930"/>
                    </a:lnTo>
                    <a:lnTo>
                      <a:pt x="34936" y="155630"/>
                    </a:lnTo>
                    <a:lnTo>
                      <a:pt x="15962" y="155917"/>
                    </a:lnTo>
                    <a:lnTo>
                      <a:pt x="7750" y="153119"/>
                    </a:lnTo>
                    <a:lnTo>
                      <a:pt x="221" y="1476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2" name="Freeform 23">
                <a:extLst>
                  <a:ext uri="{FF2B5EF4-FFF2-40B4-BE49-F238E27FC236}">
                    <a16:creationId xmlns:a16="http://schemas.microsoft.com/office/drawing/2014/main" id="{0856799C-0F83-D1AD-D91F-23F4A9A78392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>
              <a:xfrm>
                <a:off x="4609549" y="3417852"/>
                <a:ext cx="146014" cy="90535"/>
              </a:xfrm>
              <a:custGeom>
                <a:avLst/>
                <a:gdLst/>
                <a:ahLst/>
                <a:cxnLst/>
                <a:rect l="0" t="0" r="0" b="0"/>
                <a:pathLst>
                  <a:path w="149917" h="92955">
                    <a:moveTo>
                      <a:pt x="149916" y="41714"/>
                    </a:moveTo>
                    <a:lnTo>
                      <a:pt x="149909" y="41731"/>
                    </a:lnTo>
                    <a:lnTo>
                      <a:pt x="148947" y="44205"/>
                    </a:lnTo>
                    <a:lnTo>
                      <a:pt x="148824" y="44523"/>
                    </a:lnTo>
                    <a:lnTo>
                      <a:pt x="146243" y="49390"/>
                    </a:lnTo>
                    <a:lnTo>
                      <a:pt x="134082" y="63905"/>
                    </a:lnTo>
                    <a:lnTo>
                      <a:pt x="141694" y="67192"/>
                    </a:lnTo>
                    <a:lnTo>
                      <a:pt x="143054" y="70775"/>
                    </a:lnTo>
                    <a:lnTo>
                      <a:pt x="142660" y="72589"/>
                    </a:lnTo>
                    <a:lnTo>
                      <a:pt x="139560" y="71991"/>
                    </a:lnTo>
                    <a:lnTo>
                      <a:pt x="136286" y="75870"/>
                    </a:lnTo>
                    <a:lnTo>
                      <a:pt x="125988" y="76863"/>
                    </a:lnTo>
                    <a:lnTo>
                      <a:pt x="122762" y="80935"/>
                    </a:lnTo>
                    <a:lnTo>
                      <a:pt x="120408" y="78103"/>
                    </a:lnTo>
                    <a:lnTo>
                      <a:pt x="113448" y="79044"/>
                    </a:lnTo>
                    <a:lnTo>
                      <a:pt x="110411" y="84709"/>
                    </a:lnTo>
                    <a:lnTo>
                      <a:pt x="106475" y="83910"/>
                    </a:lnTo>
                    <a:lnTo>
                      <a:pt x="103611" y="88605"/>
                    </a:lnTo>
                    <a:lnTo>
                      <a:pt x="100291" y="90145"/>
                    </a:lnTo>
                    <a:lnTo>
                      <a:pt x="90556" y="88028"/>
                    </a:lnTo>
                    <a:lnTo>
                      <a:pt x="90390" y="84633"/>
                    </a:lnTo>
                    <a:lnTo>
                      <a:pt x="87449" y="82434"/>
                    </a:lnTo>
                    <a:lnTo>
                      <a:pt x="70068" y="90356"/>
                    </a:lnTo>
                    <a:lnTo>
                      <a:pt x="60426" y="86518"/>
                    </a:lnTo>
                    <a:lnTo>
                      <a:pt x="51838" y="92954"/>
                    </a:lnTo>
                    <a:lnTo>
                      <a:pt x="46605" y="88594"/>
                    </a:lnTo>
                    <a:lnTo>
                      <a:pt x="31465" y="77122"/>
                    </a:lnTo>
                    <a:lnTo>
                      <a:pt x="7077" y="59015"/>
                    </a:lnTo>
                    <a:lnTo>
                      <a:pt x="1239" y="52945"/>
                    </a:lnTo>
                    <a:lnTo>
                      <a:pt x="182" y="46396"/>
                    </a:lnTo>
                    <a:lnTo>
                      <a:pt x="20" y="45191"/>
                    </a:lnTo>
                    <a:lnTo>
                      <a:pt x="3" y="45113"/>
                    </a:lnTo>
                    <a:lnTo>
                      <a:pt x="0" y="45096"/>
                    </a:lnTo>
                    <a:lnTo>
                      <a:pt x="9729" y="44024"/>
                    </a:lnTo>
                    <a:lnTo>
                      <a:pt x="25889" y="36737"/>
                    </a:lnTo>
                    <a:lnTo>
                      <a:pt x="30834" y="32380"/>
                    </a:lnTo>
                    <a:lnTo>
                      <a:pt x="34339" y="26414"/>
                    </a:lnTo>
                    <a:lnTo>
                      <a:pt x="37971" y="21675"/>
                    </a:lnTo>
                    <a:lnTo>
                      <a:pt x="43286" y="20980"/>
                    </a:lnTo>
                    <a:lnTo>
                      <a:pt x="42040" y="16372"/>
                    </a:lnTo>
                    <a:lnTo>
                      <a:pt x="41453" y="14667"/>
                    </a:lnTo>
                    <a:lnTo>
                      <a:pt x="40450" y="13166"/>
                    </a:lnTo>
                    <a:lnTo>
                      <a:pt x="44305" y="9668"/>
                    </a:lnTo>
                    <a:lnTo>
                      <a:pt x="50562" y="1980"/>
                    </a:lnTo>
                    <a:lnTo>
                      <a:pt x="54885" y="0"/>
                    </a:lnTo>
                    <a:lnTo>
                      <a:pt x="90684" y="2233"/>
                    </a:lnTo>
                    <a:lnTo>
                      <a:pt x="94795" y="4052"/>
                    </a:lnTo>
                    <a:lnTo>
                      <a:pt x="100958" y="12469"/>
                    </a:lnTo>
                    <a:lnTo>
                      <a:pt x="104863" y="14894"/>
                    </a:lnTo>
                    <a:lnTo>
                      <a:pt x="103028" y="21213"/>
                    </a:lnTo>
                    <a:lnTo>
                      <a:pt x="101923" y="23233"/>
                    </a:lnTo>
                    <a:lnTo>
                      <a:pt x="104944" y="24269"/>
                    </a:lnTo>
                    <a:lnTo>
                      <a:pt x="110382" y="23161"/>
                    </a:lnTo>
                    <a:lnTo>
                      <a:pt x="113637" y="25451"/>
                    </a:lnTo>
                    <a:lnTo>
                      <a:pt x="114504" y="23915"/>
                    </a:lnTo>
                    <a:lnTo>
                      <a:pt x="116669" y="21897"/>
                    </a:lnTo>
                    <a:lnTo>
                      <a:pt x="118064" y="20184"/>
                    </a:lnTo>
                    <a:lnTo>
                      <a:pt x="121237" y="23454"/>
                    </a:lnTo>
                    <a:lnTo>
                      <a:pt x="130035" y="29554"/>
                    </a:lnTo>
                    <a:lnTo>
                      <a:pt x="138223" y="3208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3" name="Freeform 24">
                <a:extLst>
                  <a:ext uri="{FF2B5EF4-FFF2-40B4-BE49-F238E27FC236}">
                    <a16:creationId xmlns:a16="http://schemas.microsoft.com/office/drawing/2014/main" id="{520F4E27-0548-5C66-0E48-D4DAB0D2B7F6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>
              <a:xfrm>
                <a:off x="4528286" y="3443761"/>
                <a:ext cx="77798" cy="68878"/>
              </a:xfrm>
              <a:custGeom>
                <a:avLst/>
                <a:gdLst/>
                <a:ahLst/>
                <a:cxnLst/>
                <a:rect l="0" t="0" r="0" b="0"/>
                <a:pathLst>
                  <a:path w="79878" h="70719">
                    <a:moveTo>
                      <a:pt x="79769" y="18891"/>
                    </a:moveTo>
                    <a:lnTo>
                      <a:pt x="79769" y="18904"/>
                    </a:lnTo>
                    <a:lnTo>
                      <a:pt x="79770" y="18924"/>
                    </a:lnTo>
                    <a:lnTo>
                      <a:pt x="79877" y="22715"/>
                    </a:lnTo>
                    <a:lnTo>
                      <a:pt x="78547" y="31252"/>
                    </a:lnTo>
                    <a:lnTo>
                      <a:pt x="77917" y="40397"/>
                    </a:lnTo>
                    <a:lnTo>
                      <a:pt x="67665" y="41045"/>
                    </a:lnTo>
                    <a:lnTo>
                      <a:pt x="56045" y="43527"/>
                    </a:lnTo>
                    <a:lnTo>
                      <a:pt x="42742" y="53933"/>
                    </a:lnTo>
                    <a:lnTo>
                      <a:pt x="23949" y="66765"/>
                    </a:lnTo>
                    <a:lnTo>
                      <a:pt x="19509" y="70718"/>
                    </a:lnTo>
                    <a:lnTo>
                      <a:pt x="17871" y="68527"/>
                    </a:lnTo>
                    <a:lnTo>
                      <a:pt x="13804" y="67365"/>
                    </a:lnTo>
                    <a:lnTo>
                      <a:pt x="11969" y="68570"/>
                    </a:lnTo>
                    <a:lnTo>
                      <a:pt x="11965" y="60673"/>
                    </a:lnTo>
                    <a:lnTo>
                      <a:pt x="12982" y="42999"/>
                    </a:lnTo>
                    <a:lnTo>
                      <a:pt x="12300" y="39958"/>
                    </a:lnTo>
                    <a:lnTo>
                      <a:pt x="8191" y="37531"/>
                    </a:lnTo>
                    <a:lnTo>
                      <a:pt x="3414" y="35695"/>
                    </a:lnTo>
                    <a:lnTo>
                      <a:pt x="344" y="30817"/>
                    </a:lnTo>
                    <a:lnTo>
                      <a:pt x="0" y="19246"/>
                    </a:lnTo>
                    <a:lnTo>
                      <a:pt x="3" y="10706"/>
                    </a:lnTo>
                    <a:lnTo>
                      <a:pt x="244" y="1653"/>
                    </a:lnTo>
                    <a:lnTo>
                      <a:pt x="255" y="1653"/>
                    </a:lnTo>
                    <a:lnTo>
                      <a:pt x="300" y="112"/>
                    </a:lnTo>
                    <a:lnTo>
                      <a:pt x="300" y="13"/>
                    </a:lnTo>
                    <a:lnTo>
                      <a:pt x="300" y="0"/>
                    </a:lnTo>
                    <a:lnTo>
                      <a:pt x="9774" y="2691"/>
                    </a:lnTo>
                    <a:lnTo>
                      <a:pt x="19854" y="2685"/>
                    </a:lnTo>
                    <a:lnTo>
                      <a:pt x="23566" y="876"/>
                    </a:lnTo>
                    <a:lnTo>
                      <a:pt x="25670" y="1013"/>
                    </a:lnTo>
                    <a:lnTo>
                      <a:pt x="27945" y="4089"/>
                    </a:lnTo>
                    <a:lnTo>
                      <a:pt x="31577" y="7301"/>
                    </a:lnTo>
                    <a:lnTo>
                      <a:pt x="70427" y="10355"/>
                    </a:lnTo>
                    <a:lnTo>
                      <a:pt x="71947" y="11561"/>
                    </a:lnTo>
                    <a:lnTo>
                      <a:pt x="75802" y="16954"/>
                    </a:lnTo>
                    <a:lnTo>
                      <a:pt x="77115" y="1839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4" name="Freeform 25">
                <a:extLst>
                  <a:ext uri="{FF2B5EF4-FFF2-40B4-BE49-F238E27FC236}">
                    <a16:creationId xmlns:a16="http://schemas.microsoft.com/office/drawing/2014/main" id="{F71700B5-F6C3-0AEF-91D0-A4EB0FB33770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>
              <a:xfrm>
                <a:off x="4547287" y="3461774"/>
                <a:ext cx="112751" cy="87870"/>
              </a:xfrm>
              <a:custGeom>
                <a:avLst/>
                <a:gdLst/>
                <a:ahLst/>
                <a:cxnLst/>
                <a:rect l="0" t="0" r="0" b="0"/>
                <a:pathLst>
                  <a:path w="115765" h="90219">
                    <a:moveTo>
                      <a:pt x="115764" y="47858"/>
                    </a:moveTo>
                    <a:lnTo>
                      <a:pt x="113455" y="49596"/>
                    </a:lnTo>
                    <a:lnTo>
                      <a:pt x="108342" y="51119"/>
                    </a:lnTo>
                    <a:lnTo>
                      <a:pt x="101854" y="60827"/>
                    </a:lnTo>
                    <a:lnTo>
                      <a:pt x="97391" y="63092"/>
                    </a:lnTo>
                    <a:lnTo>
                      <a:pt x="91895" y="61651"/>
                    </a:lnTo>
                    <a:lnTo>
                      <a:pt x="92919" y="54218"/>
                    </a:lnTo>
                    <a:lnTo>
                      <a:pt x="91401" y="50715"/>
                    </a:lnTo>
                    <a:lnTo>
                      <a:pt x="89608" y="50530"/>
                    </a:lnTo>
                    <a:lnTo>
                      <a:pt x="61633" y="75103"/>
                    </a:lnTo>
                    <a:lnTo>
                      <a:pt x="56955" y="80961"/>
                    </a:lnTo>
                    <a:lnTo>
                      <a:pt x="58102" y="84896"/>
                    </a:lnTo>
                    <a:lnTo>
                      <a:pt x="57465" y="87643"/>
                    </a:lnTo>
                    <a:lnTo>
                      <a:pt x="51547" y="90218"/>
                    </a:lnTo>
                    <a:lnTo>
                      <a:pt x="46337" y="86310"/>
                    </a:lnTo>
                    <a:lnTo>
                      <a:pt x="46667" y="79951"/>
                    </a:lnTo>
                    <a:lnTo>
                      <a:pt x="42148" y="69660"/>
                    </a:lnTo>
                    <a:lnTo>
                      <a:pt x="41710" y="63836"/>
                    </a:lnTo>
                    <a:lnTo>
                      <a:pt x="37801" y="55991"/>
                    </a:lnTo>
                    <a:lnTo>
                      <a:pt x="27984" y="65679"/>
                    </a:lnTo>
                    <a:lnTo>
                      <a:pt x="19451" y="66647"/>
                    </a:lnTo>
                    <a:lnTo>
                      <a:pt x="14781" y="64011"/>
                    </a:lnTo>
                    <a:lnTo>
                      <a:pt x="13467" y="59027"/>
                    </a:lnTo>
                    <a:lnTo>
                      <a:pt x="4991" y="58933"/>
                    </a:lnTo>
                    <a:lnTo>
                      <a:pt x="0" y="52224"/>
                    </a:lnTo>
                    <a:lnTo>
                      <a:pt x="4440" y="48271"/>
                    </a:lnTo>
                    <a:lnTo>
                      <a:pt x="23233" y="35439"/>
                    </a:lnTo>
                    <a:lnTo>
                      <a:pt x="36536" y="25033"/>
                    </a:lnTo>
                    <a:lnTo>
                      <a:pt x="48156" y="22551"/>
                    </a:lnTo>
                    <a:lnTo>
                      <a:pt x="58408" y="21903"/>
                    </a:lnTo>
                    <a:lnTo>
                      <a:pt x="59038" y="12758"/>
                    </a:lnTo>
                    <a:lnTo>
                      <a:pt x="60368" y="4221"/>
                    </a:lnTo>
                    <a:lnTo>
                      <a:pt x="60261" y="430"/>
                    </a:lnTo>
                    <a:lnTo>
                      <a:pt x="60260" y="410"/>
                    </a:lnTo>
                    <a:lnTo>
                      <a:pt x="60260" y="397"/>
                    </a:lnTo>
                    <a:lnTo>
                      <a:pt x="60281" y="400"/>
                    </a:lnTo>
                    <a:lnTo>
                      <a:pt x="63926" y="0"/>
                    </a:lnTo>
                    <a:lnTo>
                      <a:pt x="63929" y="17"/>
                    </a:lnTo>
                    <a:lnTo>
                      <a:pt x="63946" y="95"/>
                    </a:lnTo>
                    <a:lnTo>
                      <a:pt x="64108" y="1300"/>
                    </a:lnTo>
                    <a:lnTo>
                      <a:pt x="65165" y="7849"/>
                    </a:lnTo>
                    <a:lnTo>
                      <a:pt x="71003" y="13919"/>
                    </a:lnTo>
                    <a:lnTo>
                      <a:pt x="95391" y="32026"/>
                    </a:lnTo>
                    <a:lnTo>
                      <a:pt x="110531" y="4349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5" name="Freeform 26">
                <a:extLst>
                  <a:ext uri="{FF2B5EF4-FFF2-40B4-BE49-F238E27FC236}">
                    <a16:creationId xmlns:a16="http://schemas.microsoft.com/office/drawing/2014/main" id="{8DBEF5C8-3D2E-7C9A-BD81-C3D3E1329A4B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>
              <a:xfrm>
                <a:off x="4451160" y="3440470"/>
                <a:ext cx="89771" cy="87828"/>
              </a:xfrm>
              <a:custGeom>
                <a:avLst/>
                <a:gdLst/>
                <a:ahLst/>
                <a:cxnLst/>
                <a:rect l="0" t="0" r="0" b="0"/>
                <a:pathLst>
                  <a:path w="92171" h="90176">
                    <a:moveTo>
                      <a:pt x="79488" y="3379"/>
                    </a:moveTo>
                    <a:lnTo>
                      <a:pt x="79488" y="3392"/>
                    </a:lnTo>
                    <a:lnTo>
                      <a:pt x="79488" y="3491"/>
                    </a:lnTo>
                    <a:lnTo>
                      <a:pt x="79443" y="5032"/>
                    </a:lnTo>
                    <a:lnTo>
                      <a:pt x="79432" y="5032"/>
                    </a:lnTo>
                    <a:lnTo>
                      <a:pt x="79191" y="14085"/>
                    </a:lnTo>
                    <a:lnTo>
                      <a:pt x="79188" y="22625"/>
                    </a:lnTo>
                    <a:lnTo>
                      <a:pt x="79532" y="34196"/>
                    </a:lnTo>
                    <a:lnTo>
                      <a:pt x="82602" y="39074"/>
                    </a:lnTo>
                    <a:lnTo>
                      <a:pt x="87379" y="40910"/>
                    </a:lnTo>
                    <a:lnTo>
                      <a:pt x="91488" y="43337"/>
                    </a:lnTo>
                    <a:lnTo>
                      <a:pt x="92170" y="46378"/>
                    </a:lnTo>
                    <a:lnTo>
                      <a:pt x="91153" y="64052"/>
                    </a:lnTo>
                    <a:lnTo>
                      <a:pt x="91157" y="71949"/>
                    </a:lnTo>
                    <a:lnTo>
                      <a:pt x="85365" y="75723"/>
                    </a:lnTo>
                    <a:lnTo>
                      <a:pt x="82746" y="79652"/>
                    </a:lnTo>
                    <a:lnTo>
                      <a:pt x="81968" y="86228"/>
                    </a:lnTo>
                    <a:lnTo>
                      <a:pt x="77712" y="90175"/>
                    </a:lnTo>
                    <a:lnTo>
                      <a:pt x="63764" y="84100"/>
                    </a:lnTo>
                    <a:lnTo>
                      <a:pt x="54694" y="83236"/>
                    </a:lnTo>
                    <a:lnTo>
                      <a:pt x="49338" y="77911"/>
                    </a:lnTo>
                    <a:lnTo>
                      <a:pt x="44795" y="77051"/>
                    </a:lnTo>
                    <a:lnTo>
                      <a:pt x="28263" y="80295"/>
                    </a:lnTo>
                    <a:lnTo>
                      <a:pt x="23841" y="82708"/>
                    </a:lnTo>
                    <a:lnTo>
                      <a:pt x="20542" y="86840"/>
                    </a:lnTo>
                    <a:lnTo>
                      <a:pt x="18983" y="86616"/>
                    </a:lnTo>
                    <a:lnTo>
                      <a:pt x="18508" y="84719"/>
                    </a:lnTo>
                    <a:lnTo>
                      <a:pt x="17989" y="82683"/>
                    </a:lnTo>
                    <a:lnTo>
                      <a:pt x="21239" y="76970"/>
                    </a:lnTo>
                    <a:lnTo>
                      <a:pt x="21780" y="73684"/>
                    </a:lnTo>
                    <a:lnTo>
                      <a:pt x="16141" y="56253"/>
                    </a:lnTo>
                    <a:lnTo>
                      <a:pt x="18542" y="53283"/>
                    </a:lnTo>
                    <a:lnTo>
                      <a:pt x="23602" y="51607"/>
                    </a:lnTo>
                    <a:lnTo>
                      <a:pt x="24454" y="49062"/>
                    </a:lnTo>
                    <a:lnTo>
                      <a:pt x="19763" y="46604"/>
                    </a:lnTo>
                    <a:lnTo>
                      <a:pt x="5806" y="50891"/>
                    </a:lnTo>
                    <a:lnTo>
                      <a:pt x="0" y="44283"/>
                    </a:lnTo>
                    <a:lnTo>
                      <a:pt x="2527" y="41958"/>
                    </a:lnTo>
                    <a:lnTo>
                      <a:pt x="10031" y="39243"/>
                    </a:lnTo>
                    <a:lnTo>
                      <a:pt x="21797" y="28041"/>
                    </a:lnTo>
                    <a:lnTo>
                      <a:pt x="32933" y="24155"/>
                    </a:lnTo>
                    <a:lnTo>
                      <a:pt x="33601" y="19488"/>
                    </a:lnTo>
                    <a:lnTo>
                      <a:pt x="39855" y="15371"/>
                    </a:lnTo>
                    <a:lnTo>
                      <a:pt x="47666" y="5519"/>
                    </a:lnTo>
                    <a:lnTo>
                      <a:pt x="51766" y="4571"/>
                    </a:lnTo>
                    <a:lnTo>
                      <a:pt x="54488" y="7232"/>
                    </a:lnTo>
                    <a:lnTo>
                      <a:pt x="60310" y="7243"/>
                    </a:lnTo>
                    <a:lnTo>
                      <a:pt x="66071" y="2206"/>
                    </a:lnTo>
                    <a:lnTo>
                      <a:pt x="67614" y="7"/>
                    </a:lnTo>
                    <a:lnTo>
                      <a:pt x="6761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6" name="Freeform 27">
                <a:extLst>
                  <a:ext uri="{FF2B5EF4-FFF2-40B4-BE49-F238E27FC236}">
                    <a16:creationId xmlns:a16="http://schemas.microsoft.com/office/drawing/2014/main" id="{5A03E4E6-0440-572A-1592-86CFCA600491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>
              <a:xfrm>
                <a:off x="4510555" y="3458480"/>
                <a:ext cx="316435" cy="314325"/>
              </a:xfrm>
              <a:custGeom>
                <a:avLst/>
                <a:gdLst/>
                <a:ahLst/>
                <a:cxnLst/>
                <a:rect l="0" t="0" r="0" b="0"/>
                <a:pathLst>
                  <a:path w="324894" h="322727">
                    <a:moveTo>
                      <a:pt x="324893" y="54956"/>
                    </a:moveTo>
                    <a:lnTo>
                      <a:pt x="315281" y="58820"/>
                    </a:lnTo>
                    <a:lnTo>
                      <a:pt x="314076" y="59644"/>
                    </a:lnTo>
                    <a:lnTo>
                      <a:pt x="313058" y="60967"/>
                    </a:lnTo>
                    <a:lnTo>
                      <a:pt x="312416" y="63971"/>
                    </a:lnTo>
                    <a:lnTo>
                      <a:pt x="311907" y="69788"/>
                    </a:lnTo>
                    <a:lnTo>
                      <a:pt x="311388" y="71674"/>
                    </a:lnTo>
                    <a:lnTo>
                      <a:pt x="310393" y="73706"/>
                    </a:lnTo>
                    <a:lnTo>
                      <a:pt x="305215" y="79611"/>
                    </a:lnTo>
                    <a:lnTo>
                      <a:pt x="304183" y="80342"/>
                    </a:lnTo>
                    <a:lnTo>
                      <a:pt x="300702" y="82056"/>
                    </a:lnTo>
                    <a:lnTo>
                      <a:pt x="299585" y="82995"/>
                    </a:lnTo>
                    <a:lnTo>
                      <a:pt x="297396" y="85503"/>
                    </a:lnTo>
                    <a:lnTo>
                      <a:pt x="295401" y="87120"/>
                    </a:lnTo>
                    <a:lnTo>
                      <a:pt x="294420" y="88244"/>
                    </a:lnTo>
                    <a:lnTo>
                      <a:pt x="293602" y="89798"/>
                    </a:lnTo>
                    <a:lnTo>
                      <a:pt x="292711" y="92836"/>
                    </a:lnTo>
                    <a:lnTo>
                      <a:pt x="291610" y="95305"/>
                    </a:lnTo>
                    <a:lnTo>
                      <a:pt x="280189" y="113377"/>
                    </a:lnTo>
                    <a:lnTo>
                      <a:pt x="278672" y="115260"/>
                    </a:lnTo>
                    <a:lnTo>
                      <a:pt x="276529" y="116362"/>
                    </a:lnTo>
                    <a:lnTo>
                      <a:pt x="273422" y="117144"/>
                    </a:lnTo>
                    <a:lnTo>
                      <a:pt x="264944" y="117342"/>
                    </a:lnTo>
                    <a:lnTo>
                      <a:pt x="262316" y="118213"/>
                    </a:lnTo>
                    <a:lnTo>
                      <a:pt x="261238" y="119080"/>
                    </a:lnTo>
                    <a:lnTo>
                      <a:pt x="260372" y="120041"/>
                    </a:lnTo>
                    <a:lnTo>
                      <a:pt x="260203" y="121979"/>
                    </a:lnTo>
                    <a:lnTo>
                      <a:pt x="260283" y="123558"/>
                    </a:lnTo>
                    <a:lnTo>
                      <a:pt x="260607" y="125034"/>
                    </a:lnTo>
                    <a:lnTo>
                      <a:pt x="261172" y="126150"/>
                    </a:lnTo>
                    <a:lnTo>
                      <a:pt x="261945" y="127087"/>
                    </a:lnTo>
                    <a:lnTo>
                      <a:pt x="265433" y="129045"/>
                    </a:lnTo>
                    <a:lnTo>
                      <a:pt x="266316" y="129821"/>
                    </a:lnTo>
                    <a:lnTo>
                      <a:pt x="266684" y="131178"/>
                    </a:lnTo>
                    <a:lnTo>
                      <a:pt x="266841" y="132636"/>
                    </a:lnTo>
                    <a:lnTo>
                      <a:pt x="267385" y="133873"/>
                    </a:lnTo>
                    <a:lnTo>
                      <a:pt x="268104" y="134868"/>
                    </a:lnTo>
                    <a:lnTo>
                      <a:pt x="270725" y="137511"/>
                    </a:lnTo>
                    <a:lnTo>
                      <a:pt x="271313" y="138647"/>
                    </a:lnTo>
                    <a:lnTo>
                      <a:pt x="271636" y="139945"/>
                    </a:lnTo>
                    <a:lnTo>
                      <a:pt x="271849" y="141363"/>
                    </a:lnTo>
                    <a:lnTo>
                      <a:pt x="272551" y="143958"/>
                    </a:lnTo>
                    <a:lnTo>
                      <a:pt x="276320" y="153691"/>
                    </a:lnTo>
                    <a:lnTo>
                      <a:pt x="279997" y="160305"/>
                    </a:lnTo>
                    <a:lnTo>
                      <a:pt x="282886" y="164542"/>
                    </a:lnTo>
                    <a:lnTo>
                      <a:pt x="285179" y="169064"/>
                    </a:lnTo>
                    <a:lnTo>
                      <a:pt x="285491" y="170304"/>
                    </a:lnTo>
                    <a:lnTo>
                      <a:pt x="285578" y="171467"/>
                    </a:lnTo>
                    <a:lnTo>
                      <a:pt x="285545" y="172138"/>
                    </a:lnTo>
                    <a:lnTo>
                      <a:pt x="285498" y="172633"/>
                    </a:lnTo>
                    <a:lnTo>
                      <a:pt x="285518" y="173818"/>
                    </a:lnTo>
                    <a:lnTo>
                      <a:pt x="285773" y="174960"/>
                    </a:lnTo>
                    <a:lnTo>
                      <a:pt x="286241" y="176156"/>
                    </a:lnTo>
                    <a:lnTo>
                      <a:pt x="291157" y="183337"/>
                    </a:lnTo>
                    <a:lnTo>
                      <a:pt x="291968" y="184252"/>
                    </a:lnTo>
                    <a:lnTo>
                      <a:pt x="292504" y="185388"/>
                    </a:lnTo>
                    <a:lnTo>
                      <a:pt x="292874" y="186685"/>
                    </a:lnTo>
                    <a:lnTo>
                      <a:pt x="292923" y="188165"/>
                    </a:lnTo>
                    <a:lnTo>
                      <a:pt x="292584" y="189870"/>
                    </a:lnTo>
                    <a:lnTo>
                      <a:pt x="291711" y="191820"/>
                    </a:lnTo>
                    <a:lnTo>
                      <a:pt x="289614" y="194840"/>
                    </a:lnTo>
                    <a:lnTo>
                      <a:pt x="286901" y="197928"/>
                    </a:lnTo>
                    <a:lnTo>
                      <a:pt x="282449" y="201027"/>
                    </a:lnTo>
                    <a:lnTo>
                      <a:pt x="279915" y="202254"/>
                    </a:lnTo>
                    <a:lnTo>
                      <a:pt x="273795" y="203620"/>
                    </a:lnTo>
                    <a:lnTo>
                      <a:pt x="271011" y="206076"/>
                    </a:lnTo>
                    <a:lnTo>
                      <a:pt x="268801" y="208758"/>
                    </a:lnTo>
                    <a:lnTo>
                      <a:pt x="262446" y="211763"/>
                    </a:lnTo>
                    <a:lnTo>
                      <a:pt x="261099" y="213087"/>
                    </a:lnTo>
                    <a:lnTo>
                      <a:pt x="259619" y="216013"/>
                    </a:lnTo>
                    <a:lnTo>
                      <a:pt x="258842" y="218020"/>
                    </a:lnTo>
                    <a:lnTo>
                      <a:pt x="258021" y="221469"/>
                    </a:lnTo>
                    <a:lnTo>
                      <a:pt x="256941" y="223521"/>
                    </a:lnTo>
                    <a:lnTo>
                      <a:pt x="255209" y="225481"/>
                    </a:lnTo>
                    <a:lnTo>
                      <a:pt x="250940" y="228233"/>
                    </a:lnTo>
                    <a:lnTo>
                      <a:pt x="249068" y="228438"/>
                    </a:lnTo>
                    <a:lnTo>
                      <a:pt x="247692" y="228004"/>
                    </a:lnTo>
                    <a:lnTo>
                      <a:pt x="246892" y="227029"/>
                    </a:lnTo>
                    <a:lnTo>
                      <a:pt x="244837" y="225458"/>
                    </a:lnTo>
                    <a:lnTo>
                      <a:pt x="243628" y="224884"/>
                    </a:lnTo>
                    <a:lnTo>
                      <a:pt x="240579" y="224375"/>
                    </a:lnTo>
                    <a:lnTo>
                      <a:pt x="235128" y="225460"/>
                    </a:lnTo>
                    <a:lnTo>
                      <a:pt x="232787" y="226617"/>
                    </a:lnTo>
                    <a:lnTo>
                      <a:pt x="213726" y="244463"/>
                    </a:lnTo>
                    <a:lnTo>
                      <a:pt x="202179" y="259276"/>
                    </a:lnTo>
                    <a:lnTo>
                      <a:pt x="199260" y="261719"/>
                    </a:lnTo>
                    <a:lnTo>
                      <a:pt x="198385" y="262973"/>
                    </a:lnTo>
                    <a:lnTo>
                      <a:pt x="197817" y="264461"/>
                    </a:lnTo>
                    <a:lnTo>
                      <a:pt x="197860" y="267205"/>
                    </a:lnTo>
                    <a:lnTo>
                      <a:pt x="198419" y="268819"/>
                    </a:lnTo>
                    <a:lnTo>
                      <a:pt x="199018" y="269997"/>
                    </a:lnTo>
                    <a:lnTo>
                      <a:pt x="199366" y="270961"/>
                    </a:lnTo>
                    <a:lnTo>
                      <a:pt x="199479" y="271907"/>
                    </a:lnTo>
                    <a:lnTo>
                      <a:pt x="199359" y="273251"/>
                    </a:lnTo>
                    <a:lnTo>
                      <a:pt x="198788" y="276417"/>
                    </a:lnTo>
                    <a:lnTo>
                      <a:pt x="198029" y="278026"/>
                    </a:lnTo>
                    <a:lnTo>
                      <a:pt x="196784" y="279422"/>
                    </a:lnTo>
                    <a:lnTo>
                      <a:pt x="194049" y="280696"/>
                    </a:lnTo>
                    <a:lnTo>
                      <a:pt x="190274" y="283642"/>
                    </a:lnTo>
                    <a:lnTo>
                      <a:pt x="185207" y="291997"/>
                    </a:lnTo>
                    <a:lnTo>
                      <a:pt x="185207" y="291997"/>
                    </a:lnTo>
                    <a:lnTo>
                      <a:pt x="182532" y="296403"/>
                    </a:lnTo>
                    <a:lnTo>
                      <a:pt x="177900" y="301090"/>
                    </a:lnTo>
                    <a:lnTo>
                      <a:pt x="171907" y="305356"/>
                    </a:lnTo>
                    <a:lnTo>
                      <a:pt x="162314" y="310008"/>
                    </a:lnTo>
                    <a:lnTo>
                      <a:pt x="158503" y="311107"/>
                    </a:lnTo>
                    <a:lnTo>
                      <a:pt x="155404" y="313544"/>
                    </a:lnTo>
                    <a:lnTo>
                      <a:pt x="149405" y="322726"/>
                    </a:lnTo>
                    <a:lnTo>
                      <a:pt x="149365" y="322520"/>
                    </a:lnTo>
                    <a:lnTo>
                      <a:pt x="149342" y="322403"/>
                    </a:lnTo>
                    <a:lnTo>
                      <a:pt x="147324" y="313177"/>
                    </a:lnTo>
                    <a:lnTo>
                      <a:pt x="142075" y="309497"/>
                    </a:lnTo>
                    <a:lnTo>
                      <a:pt x="140716" y="306012"/>
                    </a:lnTo>
                    <a:lnTo>
                      <a:pt x="141723" y="288164"/>
                    </a:lnTo>
                    <a:lnTo>
                      <a:pt x="146101" y="281770"/>
                    </a:lnTo>
                    <a:lnTo>
                      <a:pt x="146113" y="276990"/>
                    </a:lnTo>
                    <a:lnTo>
                      <a:pt x="144947" y="274768"/>
                    </a:lnTo>
                    <a:lnTo>
                      <a:pt x="138532" y="274403"/>
                    </a:lnTo>
                    <a:lnTo>
                      <a:pt x="136942" y="272500"/>
                    </a:lnTo>
                    <a:lnTo>
                      <a:pt x="138545" y="268657"/>
                    </a:lnTo>
                    <a:lnTo>
                      <a:pt x="144083" y="265218"/>
                    </a:lnTo>
                    <a:lnTo>
                      <a:pt x="142724" y="261298"/>
                    </a:lnTo>
                    <a:lnTo>
                      <a:pt x="139986" y="259098"/>
                    </a:lnTo>
                    <a:lnTo>
                      <a:pt x="132853" y="258193"/>
                    </a:lnTo>
                    <a:lnTo>
                      <a:pt x="128234" y="255363"/>
                    </a:lnTo>
                    <a:lnTo>
                      <a:pt x="122318" y="257732"/>
                    </a:lnTo>
                    <a:lnTo>
                      <a:pt x="116856" y="262960"/>
                    </a:lnTo>
                    <a:lnTo>
                      <a:pt x="113752" y="259483"/>
                    </a:lnTo>
                    <a:lnTo>
                      <a:pt x="108802" y="261210"/>
                    </a:lnTo>
                    <a:lnTo>
                      <a:pt x="106311" y="258261"/>
                    </a:lnTo>
                    <a:lnTo>
                      <a:pt x="106645" y="253580"/>
                    </a:lnTo>
                    <a:lnTo>
                      <a:pt x="103840" y="248185"/>
                    </a:lnTo>
                    <a:lnTo>
                      <a:pt x="94791" y="239639"/>
                    </a:lnTo>
                    <a:lnTo>
                      <a:pt x="94762" y="233262"/>
                    </a:lnTo>
                    <a:lnTo>
                      <a:pt x="93426" y="231037"/>
                    </a:lnTo>
                    <a:lnTo>
                      <a:pt x="87812" y="229363"/>
                    </a:lnTo>
                    <a:lnTo>
                      <a:pt x="80458" y="232048"/>
                    </a:lnTo>
                    <a:lnTo>
                      <a:pt x="76578" y="227075"/>
                    </a:lnTo>
                    <a:lnTo>
                      <a:pt x="71017" y="223480"/>
                    </a:lnTo>
                    <a:lnTo>
                      <a:pt x="59750" y="230206"/>
                    </a:lnTo>
                    <a:lnTo>
                      <a:pt x="54215" y="235411"/>
                    </a:lnTo>
                    <a:lnTo>
                      <a:pt x="50110" y="234787"/>
                    </a:lnTo>
                    <a:lnTo>
                      <a:pt x="48893" y="232361"/>
                    </a:lnTo>
                    <a:lnTo>
                      <a:pt x="50153" y="227777"/>
                    </a:lnTo>
                    <a:lnTo>
                      <a:pt x="50194" y="218653"/>
                    </a:lnTo>
                    <a:lnTo>
                      <a:pt x="54589" y="212386"/>
                    </a:lnTo>
                    <a:lnTo>
                      <a:pt x="63615" y="205671"/>
                    </a:lnTo>
                    <a:lnTo>
                      <a:pt x="63916" y="203023"/>
                    </a:lnTo>
                    <a:lnTo>
                      <a:pt x="61196" y="201866"/>
                    </a:lnTo>
                    <a:lnTo>
                      <a:pt x="52999" y="201568"/>
                    </a:lnTo>
                    <a:lnTo>
                      <a:pt x="47330" y="198280"/>
                    </a:lnTo>
                    <a:lnTo>
                      <a:pt x="43129" y="206777"/>
                    </a:lnTo>
                    <a:lnTo>
                      <a:pt x="41147" y="208370"/>
                    </a:lnTo>
                    <a:lnTo>
                      <a:pt x="26916" y="208379"/>
                    </a:lnTo>
                    <a:lnTo>
                      <a:pt x="19746" y="211242"/>
                    </a:lnTo>
                    <a:lnTo>
                      <a:pt x="7461" y="209219"/>
                    </a:lnTo>
                    <a:lnTo>
                      <a:pt x="0" y="198379"/>
                    </a:lnTo>
                    <a:lnTo>
                      <a:pt x="4719" y="182786"/>
                    </a:lnTo>
                    <a:lnTo>
                      <a:pt x="4910" y="177691"/>
                    </a:lnTo>
                    <a:lnTo>
                      <a:pt x="10808" y="168990"/>
                    </a:lnTo>
                    <a:lnTo>
                      <a:pt x="9968" y="158483"/>
                    </a:lnTo>
                    <a:lnTo>
                      <a:pt x="11111" y="154457"/>
                    </a:lnTo>
                    <a:lnTo>
                      <a:pt x="10343" y="151691"/>
                    </a:lnTo>
                    <a:lnTo>
                      <a:pt x="7274" y="149456"/>
                    </a:lnTo>
                    <a:lnTo>
                      <a:pt x="6872" y="145003"/>
                    </a:lnTo>
                    <a:lnTo>
                      <a:pt x="1777" y="136398"/>
                    </a:lnTo>
                    <a:lnTo>
                      <a:pt x="4057" y="133222"/>
                    </a:lnTo>
                    <a:lnTo>
                      <a:pt x="12340" y="131849"/>
                    </a:lnTo>
                    <a:lnTo>
                      <a:pt x="14318" y="126646"/>
                    </a:lnTo>
                    <a:lnTo>
                      <a:pt x="13723" y="123891"/>
                    </a:lnTo>
                    <a:lnTo>
                      <a:pt x="11746" y="122290"/>
                    </a:lnTo>
                    <a:lnTo>
                      <a:pt x="12050" y="117947"/>
                    </a:lnTo>
                    <a:lnTo>
                      <a:pt x="30369" y="95340"/>
                    </a:lnTo>
                    <a:lnTo>
                      <a:pt x="29106" y="93208"/>
                    </a:lnTo>
                    <a:lnTo>
                      <a:pt x="24322" y="93427"/>
                    </a:lnTo>
                    <a:lnTo>
                      <a:pt x="21458" y="91313"/>
                    </a:lnTo>
                    <a:lnTo>
                      <a:pt x="21576" y="85250"/>
                    </a:lnTo>
                    <a:lnTo>
                      <a:pt x="16561" y="74962"/>
                    </a:lnTo>
                    <a:lnTo>
                      <a:pt x="16729" y="71684"/>
                    </a:lnTo>
                    <a:lnTo>
                      <a:pt x="20985" y="67737"/>
                    </a:lnTo>
                    <a:lnTo>
                      <a:pt x="21763" y="61161"/>
                    </a:lnTo>
                    <a:lnTo>
                      <a:pt x="24382" y="57232"/>
                    </a:lnTo>
                    <a:lnTo>
                      <a:pt x="30174" y="53458"/>
                    </a:lnTo>
                    <a:lnTo>
                      <a:pt x="32009" y="52253"/>
                    </a:lnTo>
                    <a:lnTo>
                      <a:pt x="36076" y="53415"/>
                    </a:lnTo>
                    <a:lnTo>
                      <a:pt x="37714" y="55606"/>
                    </a:lnTo>
                    <a:lnTo>
                      <a:pt x="42705" y="62315"/>
                    </a:lnTo>
                    <a:lnTo>
                      <a:pt x="51181" y="62409"/>
                    </a:lnTo>
                    <a:lnTo>
                      <a:pt x="52495" y="67393"/>
                    </a:lnTo>
                    <a:lnTo>
                      <a:pt x="57165" y="70029"/>
                    </a:lnTo>
                    <a:lnTo>
                      <a:pt x="65698" y="69061"/>
                    </a:lnTo>
                    <a:lnTo>
                      <a:pt x="75515" y="59373"/>
                    </a:lnTo>
                    <a:lnTo>
                      <a:pt x="79424" y="67218"/>
                    </a:lnTo>
                    <a:lnTo>
                      <a:pt x="79862" y="73042"/>
                    </a:lnTo>
                    <a:lnTo>
                      <a:pt x="84381" y="83333"/>
                    </a:lnTo>
                    <a:lnTo>
                      <a:pt x="84051" y="89692"/>
                    </a:lnTo>
                    <a:lnTo>
                      <a:pt x="89261" y="93600"/>
                    </a:lnTo>
                    <a:lnTo>
                      <a:pt x="95179" y="91025"/>
                    </a:lnTo>
                    <a:lnTo>
                      <a:pt x="95816" y="88278"/>
                    </a:lnTo>
                    <a:lnTo>
                      <a:pt x="94669" y="84343"/>
                    </a:lnTo>
                    <a:lnTo>
                      <a:pt x="99347" y="78485"/>
                    </a:lnTo>
                    <a:lnTo>
                      <a:pt x="127322" y="53912"/>
                    </a:lnTo>
                    <a:lnTo>
                      <a:pt x="129115" y="54097"/>
                    </a:lnTo>
                    <a:lnTo>
                      <a:pt x="130633" y="57600"/>
                    </a:lnTo>
                    <a:lnTo>
                      <a:pt x="129609" y="65033"/>
                    </a:lnTo>
                    <a:lnTo>
                      <a:pt x="135105" y="66474"/>
                    </a:lnTo>
                    <a:lnTo>
                      <a:pt x="139568" y="64209"/>
                    </a:lnTo>
                    <a:lnTo>
                      <a:pt x="146056" y="54501"/>
                    </a:lnTo>
                    <a:lnTo>
                      <a:pt x="151169" y="52978"/>
                    </a:lnTo>
                    <a:lnTo>
                      <a:pt x="153478" y="51240"/>
                    </a:lnTo>
                    <a:lnTo>
                      <a:pt x="162066" y="44804"/>
                    </a:lnTo>
                    <a:lnTo>
                      <a:pt x="171708" y="48642"/>
                    </a:lnTo>
                    <a:lnTo>
                      <a:pt x="189089" y="40720"/>
                    </a:lnTo>
                    <a:lnTo>
                      <a:pt x="192030" y="42919"/>
                    </a:lnTo>
                    <a:lnTo>
                      <a:pt x="192196" y="46314"/>
                    </a:lnTo>
                    <a:lnTo>
                      <a:pt x="201931" y="48431"/>
                    </a:lnTo>
                    <a:lnTo>
                      <a:pt x="205251" y="46891"/>
                    </a:lnTo>
                    <a:lnTo>
                      <a:pt x="208115" y="42196"/>
                    </a:lnTo>
                    <a:lnTo>
                      <a:pt x="212051" y="42995"/>
                    </a:lnTo>
                    <a:lnTo>
                      <a:pt x="215088" y="37330"/>
                    </a:lnTo>
                    <a:lnTo>
                      <a:pt x="222048" y="36389"/>
                    </a:lnTo>
                    <a:lnTo>
                      <a:pt x="224402" y="39221"/>
                    </a:lnTo>
                    <a:lnTo>
                      <a:pt x="227628" y="35149"/>
                    </a:lnTo>
                    <a:lnTo>
                      <a:pt x="237926" y="34156"/>
                    </a:lnTo>
                    <a:lnTo>
                      <a:pt x="241200" y="30277"/>
                    </a:lnTo>
                    <a:lnTo>
                      <a:pt x="244300" y="30875"/>
                    </a:lnTo>
                    <a:lnTo>
                      <a:pt x="244694" y="29061"/>
                    </a:lnTo>
                    <a:lnTo>
                      <a:pt x="243334" y="25478"/>
                    </a:lnTo>
                    <a:lnTo>
                      <a:pt x="235722" y="22191"/>
                    </a:lnTo>
                    <a:lnTo>
                      <a:pt x="247883" y="7676"/>
                    </a:lnTo>
                    <a:lnTo>
                      <a:pt x="250464" y="2809"/>
                    </a:lnTo>
                    <a:lnTo>
                      <a:pt x="250587" y="2491"/>
                    </a:lnTo>
                    <a:lnTo>
                      <a:pt x="251549" y="17"/>
                    </a:lnTo>
                    <a:lnTo>
                      <a:pt x="251556" y="0"/>
                    </a:lnTo>
                    <a:lnTo>
                      <a:pt x="253603" y="1683"/>
                    </a:lnTo>
                    <a:lnTo>
                      <a:pt x="262920" y="6575"/>
                    </a:lnTo>
                    <a:lnTo>
                      <a:pt x="297485" y="12746"/>
                    </a:lnTo>
                    <a:lnTo>
                      <a:pt x="299395" y="13737"/>
                    </a:lnTo>
                    <a:lnTo>
                      <a:pt x="300620" y="16841"/>
                    </a:lnTo>
                    <a:lnTo>
                      <a:pt x="301000" y="20364"/>
                    </a:lnTo>
                    <a:lnTo>
                      <a:pt x="301550" y="23184"/>
                    </a:lnTo>
                    <a:lnTo>
                      <a:pt x="303246" y="24335"/>
                    </a:lnTo>
                    <a:lnTo>
                      <a:pt x="307885" y="26128"/>
                    </a:lnTo>
                    <a:lnTo>
                      <a:pt x="312110" y="30791"/>
                    </a:lnTo>
                    <a:lnTo>
                      <a:pt x="324893" y="5495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7" name="Freeform 28">
                <a:extLst>
                  <a:ext uri="{FF2B5EF4-FFF2-40B4-BE49-F238E27FC236}">
                    <a16:creationId xmlns:a16="http://schemas.microsoft.com/office/drawing/2014/main" id="{B6000954-E56D-D2F6-AB40-9F662069486A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>
              <a:xfrm>
                <a:off x="4909887" y="3957369"/>
                <a:ext cx="61164" cy="59221"/>
              </a:xfrm>
              <a:custGeom>
                <a:avLst/>
                <a:gdLst/>
                <a:ahLst/>
                <a:cxnLst/>
                <a:rect l="0" t="0" r="0" b="0"/>
                <a:pathLst>
                  <a:path w="62799" h="60804">
                    <a:moveTo>
                      <a:pt x="56177" y="45523"/>
                    </a:moveTo>
                    <a:lnTo>
                      <a:pt x="55153" y="41978"/>
                    </a:lnTo>
                    <a:lnTo>
                      <a:pt x="52668" y="39282"/>
                    </a:lnTo>
                    <a:lnTo>
                      <a:pt x="49891" y="39044"/>
                    </a:lnTo>
                    <a:lnTo>
                      <a:pt x="48271" y="40788"/>
                    </a:lnTo>
                    <a:lnTo>
                      <a:pt x="48460" y="45130"/>
                    </a:lnTo>
                    <a:lnTo>
                      <a:pt x="53359" y="57102"/>
                    </a:lnTo>
                    <a:lnTo>
                      <a:pt x="52748" y="59667"/>
                    </a:lnTo>
                    <a:lnTo>
                      <a:pt x="50310" y="60803"/>
                    </a:lnTo>
                    <a:lnTo>
                      <a:pt x="47590" y="58429"/>
                    </a:lnTo>
                    <a:lnTo>
                      <a:pt x="44639" y="49700"/>
                    </a:lnTo>
                    <a:lnTo>
                      <a:pt x="42206" y="46785"/>
                    </a:lnTo>
                    <a:lnTo>
                      <a:pt x="35408" y="46239"/>
                    </a:lnTo>
                    <a:lnTo>
                      <a:pt x="36725" y="51616"/>
                    </a:lnTo>
                    <a:lnTo>
                      <a:pt x="34026" y="52223"/>
                    </a:lnTo>
                    <a:lnTo>
                      <a:pt x="23731" y="43154"/>
                    </a:lnTo>
                    <a:lnTo>
                      <a:pt x="20647" y="36005"/>
                    </a:lnTo>
                    <a:lnTo>
                      <a:pt x="18506" y="34579"/>
                    </a:lnTo>
                    <a:lnTo>
                      <a:pt x="11963" y="36339"/>
                    </a:lnTo>
                    <a:lnTo>
                      <a:pt x="10781" y="35836"/>
                    </a:lnTo>
                    <a:lnTo>
                      <a:pt x="9101" y="30673"/>
                    </a:lnTo>
                    <a:lnTo>
                      <a:pt x="4602" y="27923"/>
                    </a:lnTo>
                    <a:lnTo>
                      <a:pt x="269" y="27913"/>
                    </a:lnTo>
                    <a:lnTo>
                      <a:pt x="162" y="23590"/>
                    </a:lnTo>
                    <a:lnTo>
                      <a:pt x="0" y="17076"/>
                    </a:lnTo>
                    <a:lnTo>
                      <a:pt x="42" y="9785"/>
                    </a:lnTo>
                    <a:lnTo>
                      <a:pt x="1691" y="4766"/>
                    </a:lnTo>
                    <a:lnTo>
                      <a:pt x="6090" y="3115"/>
                    </a:lnTo>
                    <a:lnTo>
                      <a:pt x="11413" y="2980"/>
                    </a:lnTo>
                    <a:lnTo>
                      <a:pt x="18601" y="5854"/>
                    </a:lnTo>
                    <a:lnTo>
                      <a:pt x="24077" y="11479"/>
                    </a:lnTo>
                    <a:lnTo>
                      <a:pt x="29425" y="11712"/>
                    </a:lnTo>
                    <a:lnTo>
                      <a:pt x="34974" y="11562"/>
                    </a:lnTo>
                    <a:lnTo>
                      <a:pt x="43843" y="10944"/>
                    </a:lnTo>
                    <a:lnTo>
                      <a:pt x="51101" y="8055"/>
                    </a:lnTo>
                    <a:lnTo>
                      <a:pt x="57546" y="581"/>
                    </a:lnTo>
                    <a:lnTo>
                      <a:pt x="59177" y="0"/>
                    </a:lnTo>
                    <a:lnTo>
                      <a:pt x="59273" y="749"/>
                    </a:lnTo>
                    <a:lnTo>
                      <a:pt x="62798" y="5744"/>
                    </a:lnTo>
                    <a:lnTo>
                      <a:pt x="62631" y="10639"/>
                    </a:lnTo>
                    <a:lnTo>
                      <a:pt x="62107" y="13518"/>
                    </a:lnTo>
                    <a:lnTo>
                      <a:pt x="56975" y="17291"/>
                    </a:lnTo>
                    <a:lnTo>
                      <a:pt x="55039" y="24971"/>
                    </a:lnTo>
                    <a:lnTo>
                      <a:pt x="60267" y="33435"/>
                    </a:lnTo>
                    <a:lnTo>
                      <a:pt x="59004" y="4101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8" name="Freeform 29">
                <a:extLst>
                  <a:ext uri="{FF2B5EF4-FFF2-40B4-BE49-F238E27FC236}">
                    <a16:creationId xmlns:a16="http://schemas.microsoft.com/office/drawing/2014/main" id="{15DE6CA0-570C-BF36-B255-91BA0B4E4237}"/>
                  </a:ext>
                </a:extLst>
              </p:cNvPr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>
              <a:xfrm>
                <a:off x="4764118" y="3846271"/>
                <a:ext cx="238000" cy="170725"/>
              </a:xfrm>
              <a:custGeom>
                <a:avLst/>
                <a:gdLst/>
                <a:ahLst/>
                <a:cxnLst/>
                <a:rect l="0" t="0" r="0" b="0"/>
                <a:pathLst>
                  <a:path w="244362" h="175289">
                    <a:moveTo>
                      <a:pt x="142223" y="3407"/>
                    </a:moveTo>
                    <a:lnTo>
                      <a:pt x="153675" y="2566"/>
                    </a:lnTo>
                    <a:lnTo>
                      <a:pt x="165493" y="3387"/>
                    </a:lnTo>
                    <a:lnTo>
                      <a:pt x="169516" y="5822"/>
                    </a:lnTo>
                    <a:lnTo>
                      <a:pt x="173379" y="8157"/>
                    </a:lnTo>
                    <a:lnTo>
                      <a:pt x="174798" y="10886"/>
                    </a:lnTo>
                    <a:lnTo>
                      <a:pt x="175287" y="16422"/>
                    </a:lnTo>
                    <a:lnTo>
                      <a:pt x="179170" y="22956"/>
                    </a:lnTo>
                    <a:lnTo>
                      <a:pt x="181961" y="26218"/>
                    </a:lnTo>
                    <a:lnTo>
                      <a:pt x="182788" y="31747"/>
                    </a:lnTo>
                    <a:lnTo>
                      <a:pt x="183936" y="36695"/>
                    </a:lnTo>
                    <a:lnTo>
                      <a:pt x="186006" y="38297"/>
                    </a:lnTo>
                    <a:lnTo>
                      <a:pt x="193125" y="39206"/>
                    </a:lnTo>
                    <a:lnTo>
                      <a:pt x="200549" y="38997"/>
                    </a:lnTo>
                    <a:lnTo>
                      <a:pt x="206925" y="37166"/>
                    </a:lnTo>
                    <a:lnTo>
                      <a:pt x="208844" y="33228"/>
                    </a:lnTo>
                    <a:lnTo>
                      <a:pt x="208252" y="24376"/>
                    </a:lnTo>
                    <a:lnTo>
                      <a:pt x="210050" y="17112"/>
                    </a:lnTo>
                    <a:lnTo>
                      <a:pt x="210981" y="14320"/>
                    </a:lnTo>
                    <a:lnTo>
                      <a:pt x="215646" y="12514"/>
                    </a:lnTo>
                    <a:lnTo>
                      <a:pt x="219213" y="10699"/>
                    </a:lnTo>
                    <a:lnTo>
                      <a:pt x="221620" y="9442"/>
                    </a:lnTo>
                    <a:lnTo>
                      <a:pt x="221625" y="9440"/>
                    </a:lnTo>
                    <a:lnTo>
                      <a:pt x="232379" y="44573"/>
                    </a:lnTo>
                    <a:lnTo>
                      <a:pt x="237444" y="56459"/>
                    </a:lnTo>
                    <a:lnTo>
                      <a:pt x="244361" y="65062"/>
                    </a:lnTo>
                    <a:lnTo>
                      <a:pt x="244351" y="65066"/>
                    </a:lnTo>
                    <a:lnTo>
                      <a:pt x="243453" y="65558"/>
                    </a:lnTo>
                    <a:lnTo>
                      <a:pt x="233749" y="70757"/>
                    </a:lnTo>
                    <a:lnTo>
                      <a:pt x="231563" y="77738"/>
                    </a:lnTo>
                    <a:lnTo>
                      <a:pt x="227093" y="82111"/>
                    </a:lnTo>
                    <a:lnTo>
                      <a:pt x="225766" y="95436"/>
                    </a:lnTo>
                    <a:lnTo>
                      <a:pt x="215738" y="99012"/>
                    </a:lnTo>
                    <a:lnTo>
                      <a:pt x="213879" y="103710"/>
                    </a:lnTo>
                    <a:lnTo>
                      <a:pt x="212126" y="108146"/>
                    </a:lnTo>
                    <a:lnTo>
                      <a:pt x="208541" y="111747"/>
                    </a:lnTo>
                    <a:lnTo>
                      <a:pt x="208842" y="114068"/>
                    </a:lnTo>
                    <a:lnTo>
                      <a:pt x="207211" y="114649"/>
                    </a:lnTo>
                    <a:lnTo>
                      <a:pt x="200766" y="122123"/>
                    </a:lnTo>
                    <a:lnTo>
                      <a:pt x="193508" y="125012"/>
                    </a:lnTo>
                    <a:lnTo>
                      <a:pt x="184639" y="125630"/>
                    </a:lnTo>
                    <a:lnTo>
                      <a:pt x="179090" y="125780"/>
                    </a:lnTo>
                    <a:lnTo>
                      <a:pt x="173742" y="125547"/>
                    </a:lnTo>
                    <a:lnTo>
                      <a:pt x="168266" y="119922"/>
                    </a:lnTo>
                    <a:lnTo>
                      <a:pt x="161078" y="117048"/>
                    </a:lnTo>
                    <a:lnTo>
                      <a:pt x="155755" y="117183"/>
                    </a:lnTo>
                    <a:lnTo>
                      <a:pt x="151356" y="118834"/>
                    </a:lnTo>
                    <a:lnTo>
                      <a:pt x="149707" y="123853"/>
                    </a:lnTo>
                    <a:lnTo>
                      <a:pt x="149665" y="131144"/>
                    </a:lnTo>
                    <a:lnTo>
                      <a:pt x="149827" y="137658"/>
                    </a:lnTo>
                    <a:lnTo>
                      <a:pt x="149934" y="141981"/>
                    </a:lnTo>
                    <a:lnTo>
                      <a:pt x="142879" y="141957"/>
                    </a:lnTo>
                    <a:lnTo>
                      <a:pt x="140461" y="144565"/>
                    </a:lnTo>
                    <a:lnTo>
                      <a:pt x="135055" y="142572"/>
                    </a:lnTo>
                    <a:lnTo>
                      <a:pt x="131074" y="143408"/>
                    </a:lnTo>
                    <a:lnTo>
                      <a:pt x="131144" y="149034"/>
                    </a:lnTo>
                    <a:lnTo>
                      <a:pt x="128548" y="153975"/>
                    </a:lnTo>
                    <a:lnTo>
                      <a:pt x="126996" y="161438"/>
                    </a:lnTo>
                    <a:lnTo>
                      <a:pt x="118555" y="153575"/>
                    </a:lnTo>
                    <a:lnTo>
                      <a:pt x="116007" y="153000"/>
                    </a:lnTo>
                    <a:lnTo>
                      <a:pt x="113025" y="157315"/>
                    </a:lnTo>
                    <a:lnTo>
                      <a:pt x="112882" y="162196"/>
                    </a:lnTo>
                    <a:lnTo>
                      <a:pt x="95400" y="172455"/>
                    </a:lnTo>
                    <a:lnTo>
                      <a:pt x="89727" y="172674"/>
                    </a:lnTo>
                    <a:lnTo>
                      <a:pt x="78306" y="166016"/>
                    </a:lnTo>
                    <a:lnTo>
                      <a:pt x="69676" y="163424"/>
                    </a:lnTo>
                    <a:lnTo>
                      <a:pt x="57734" y="168117"/>
                    </a:lnTo>
                    <a:lnTo>
                      <a:pt x="49165" y="175288"/>
                    </a:lnTo>
                    <a:lnTo>
                      <a:pt x="45513" y="173064"/>
                    </a:lnTo>
                    <a:lnTo>
                      <a:pt x="46472" y="166411"/>
                    </a:lnTo>
                    <a:lnTo>
                      <a:pt x="44665" y="161664"/>
                    </a:lnTo>
                    <a:lnTo>
                      <a:pt x="43261" y="145456"/>
                    </a:lnTo>
                    <a:lnTo>
                      <a:pt x="36897" y="144284"/>
                    </a:lnTo>
                    <a:lnTo>
                      <a:pt x="32818" y="136397"/>
                    </a:lnTo>
                    <a:lnTo>
                      <a:pt x="15804" y="122997"/>
                    </a:lnTo>
                    <a:lnTo>
                      <a:pt x="13241" y="117310"/>
                    </a:lnTo>
                    <a:lnTo>
                      <a:pt x="11060" y="107887"/>
                    </a:lnTo>
                    <a:lnTo>
                      <a:pt x="15280" y="103038"/>
                    </a:lnTo>
                    <a:lnTo>
                      <a:pt x="16761" y="99203"/>
                    </a:lnTo>
                    <a:lnTo>
                      <a:pt x="16405" y="96345"/>
                    </a:lnTo>
                    <a:lnTo>
                      <a:pt x="14083" y="93301"/>
                    </a:lnTo>
                    <a:lnTo>
                      <a:pt x="2071" y="87221"/>
                    </a:lnTo>
                    <a:lnTo>
                      <a:pt x="0" y="83966"/>
                    </a:lnTo>
                    <a:lnTo>
                      <a:pt x="5681" y="69865"/>
                    </a:lnTo>
                    <a:lnTo>
                      <a:pt x="10237" y="48474"/>
                    </a:lnTo>
                    <a:lnTo>
                      <a:pt x="17343" y="44941"/>
                    </a:lnTo>
                    <a:lnTo>
                      <a:pt x="30893" y="49907"/>
                    </a:lnTo>
                    <a:lnTo>
                      <a:pt x="32636" y="48286"/>
                    </a:lnTo>
                    <a:lnTo>
                      <a:pt x="35154" y="41557"/>
                    </a:lnTo>
                    <a:lnTo>
                      <a:pt x="38482" y="39582"/>
                    </a:lnTo>
                    <a:lnTo>
                      <a:pt x="41976" y="40171"/>
                    </a:lnTo>
                    <a:lnTo>
                      <a:pt x="43803" y="36089"/>
                    </a:lnTo>
                    <a:lnTo>
                      <a:pt x="47839" y="33053"/>
                    </a:lnTo>
                    <a:lnTo>
                      <a:pt x="48838" y="30486"/>
                    </a:lnTo>
                    <a:lnTo>
                      <a:pt x="48477" y="27303"/>
                    </a:lnTo>
                    <a:lnTo>
                      <a:pt x="58973" y="29544"/>
                    </a:lnTo>
                    <a:lnTo>
                      <a:pt x="78328" y="16105"/>
                    </a:lnTo>
                    <a:lnTo>
                      <a:pt x="94492" y="23312"/>
                    </a:lnTo>
                    <a:lnTo>
                      <a:pt x="95965" y="26993"/>
                    </a:lnTo>
                    <a:lnTo>
                      <a:pt x="98123" y="27361"/>
                    </a:lnTo>
                    <a:lnTo>
                      <a:pt x="106251" y="21769"/>
                    </a:lnTo>
                    <a:lnTo>
                      <a:pt x="110482" y="11700"/>
                    </a:lnTo>
                    <a:lnTo>
                      <a:pt x="115746" y="4144"/>
                    </a:lnTo>
                    <a:lnTo>
                      <a:pt x="116015" y="0"/>
                    </a:lnTo>
                    <a:lnTo>
                      <a:pt x="128039" y="20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599" name="Freeform 30">
                <a:extLst>
                  <a:ext uri="{FF2B5EF4-FFF2-40B4-BE49-F238E27FC236}">
                    <a16:creationId xmlns:a16="http://schemas.microsoft.com/office/drawing/2014/main" id="{68604E09-55BA-0609-92A6-F0258626C0F5}"/>
                  </a:ext>
                </a:extLst>
              </p:cNvPr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>
              <a:xfrm>
                <a:off x="4972429" y="3909639"/>
                <a:ext cx="47878" cy="43945"/>
              </a:xfrm>
              <a:custGeom>
                <a:avLst/>
                <a:gdLst/>
                <a:ahLst/>
                <a:cxnLst/>
                <a:rect l="0" t="0" r="0" b="0"/>
                <a:pathLst>
                  <a:path w="49158" h="45120">
                    <a:moveTo>
                      <a:pt x="43393" y="39890"/>
                    </a:moveTo>
                    <a:lnTo>
                      <a:pt x="43379" y="39912"/>
                    </a:lnTo>
                    <a:lnTo>
                      <a:pt x="42779" y="40840"/>
                    </a:lnTo>
                    <a:lnTo>
                      <a:pt x="41970" y="42368"/>
                    </a:lnTo>
                    <a:lnTo>
                      <a:pt x="39848" y="45112"/>
                    </a:lnTo>
                    <a:lnTo>
                      <a:pt x="39328" y="45119"/>
                    </a:lnTo>
                    <a:lnTo>
                      <a:pt x="28063" y="45095"/>
                    </a:lnTo>
                    <a:lnTo>
                      <a:pt x="15598" y="43944"/>
                    </a:lnTo>
                    <a:lnTo>
                      <a:pt x="3752" y="41225"/>
                    </a:lnTo>
                    <a:lnTo>
                      <a:pt x="0" y="38648"/>
                    </a:lnTo>
                    <a:lnTo>
                      <a:pt x="1859" y="33950"/>
                    </a:lnTo>
                    <a:lnTo>
                      <a:pt x="11887" y="30374"/>
                    </a:lnTo>
                    <a:lnTo>
                      <a:pt x="13214" y="17049"/>
                    </a:lnTo>
                    <a:lnTo>
                      <a:pt x="17684" y="12676"/>
                    </a:lnTo>
                    <a:lnTo>
                      <a:pt x="19870" y="5695"/>
                    </a:lnTo>
                    <a:lnTo>
                      <a:pt x="29574" y="496"/>
                    </a:lnTo>
                    <a:lnTo>
                      <a:pt x="30472" y="4"/>
                    </a:lnTo>
                    <a:lnTo>
                      <a:pt x="30482" y="0"/>
                    </a:lnTo>
                    <a:lnTo>
                      <a:pt x="31597" y="1385"/>
                    </a:lnTo>
                    <a:lnTo>
                      <a:pt x="35069" y="3811"/>
                    </a:lnTo>
                    <a:lnTo>
                      <a:pt x="46899" y="8709"/>
                    </a:lnTo>
                    <a:lnTo>
                      <a:pt x="46990" y="11553"/>
                    </a:lnTo>
                    <a:lnTo>
                      <a:pt x="42491" y="11697"/>
                    </a:lnTo>
                    <a:lnTo>
                      <a:pt x="42582" y="13421"/>
                    </a:lnTo>
                    <a:lnTo>
                      <a:pt x="42987" y="14591"/>
                    </a:lnTo>
                    <a:lnTo>
                      <a:pt x="44302" y="16882"/>
                    </a:lnTo>
                    <a:lnTo>
                      <a:pt x="44938" y="19926"/>
                    </a:lnTo>
                    <a:lnTo>
                      <a:pt x="45891" y="22696"/>
                    </a:lnTo>
                    <a:lnTo>
                      <a:pt x="47272" y="25095"/>
                    </a:lnTo>
                    <a:lnTo>
                      <a:pt x="49157" y="27165"/>
                    </a:lnTo>
                    <a:lnTo>
                      <a:pt x="47446" y="30503"/>
                    </a:lnTo>
                    <a:lnTo>
                      <a:pt x="45394" y="32467"/>
                    </a:lnTo>
                    <a:lnTo>
                      <a:pt x="40208" y="35028"/>
                    </a:lnTo>
                    <a:lnTo>
                      <a:pt x="40862" y="37777"/>
                    </a:lnTo>
                    <a:lnTo>
                      <a:pt x="41992" y="3932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0" name="Freeform 31">
                <a:extLst>
                  <a:ext uri="{FF2B5EF4-FFF2-40B4-BE49-F238E27FC236}">
                    <a16:creationId xmlns:a16="http://schemas.microsoft.com/office/drawing/2014/main" id="{7F1657EE-F096-F90A-ED45-5DF27AADCEC3}"/>
                  </a:ext>
                </a:extLst>
              </p:cNvPr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>
              <a:xfrm>
                <a:off x="4992764" y="3964564"/>
                <a:ext cx="26124" cy="33923"/>
              </a:xfrm>
              <a:custGeom>
                <a:avLst/>
                <a:gdLst/>
                <a:ahLst/>
                <a:cxnLst/>
                <a:rect l="0" t="0" r="0" b="0"/>
                <a:pathLst>
                  <a:path w="26822" h="34830">
                    <a:moveTo>
                      <a:pt x="17282" y="716"/>
                    </a:moveTo>
                    <a:lnTo>
                      <a:pt x="17153" y="4109"/>
                    </a:lnTo>
                    <a:lnTo>
                      <a:pt x="17773" y="9078"/>
                    </a:lnTo>
                    <a:lnTo>
                      <a:pt x="19604" y="14256"/>
                    </a:lnTo>
                    <a:lnTo>
                      <a:pt x="22211" y="19666"/>
                    </a:lnTo>
                    <a:lnTo>
                      <a:pt x="25109" y="24828"/>
                    </a:lnTo>
                    <a:lnTo>
                      <a:pt x="26821" y="27776"/>
                    </a:lnTo>
                    <a:lnTo>
                      <a:pt x="21881" y="27184"/>
                    </a:lnTo>
                    <a:lnTo>
                      <a:pt x="14568" y="29745"/>
                    </a:lnTo>
                    <a:lnTo>
                      <a:pt x="11756" y="34516"/>
                    </a:lnTo>
                    <a:lnTo>
                      <a:pt x="11210" y="34829"/>
                    </a:lnTo>
                    <a:lnTo>
                      <a:pt x="6170" y="31961"/>
                    </a:lnTo>
                    <a:lnTo>
                      <a:pt x="1824" y="29211"/>
                    </a:lnTo>
                    <a:lnTo>
                      <a:pt x="0" y="24287"/>
                    </a:lnTo>
                    <a:lnTo>
                      <a:pt x="271" y="18253"/>
                    </a:lnTo>
                    <a:lnTo>
                      <a:pt x="1177" y="12990"/>
                    </a:lnTo>
                    <a:lnTo>
                      <a:pt x="2723" y="9011"/>
                    </a:lnTo>
                    <a:lnTo>
                      <a:pt x="4730" y="4761"/>
                    </a:lnTo>
                    <a:lnTo>
                      <a:pt x="6168" y="2366"/>
                    </a:lnTo>
                    <a:lnTo>
                      <a:pt x="8231" y="189"/>
                    </a:lnTo>
                    <a:lnTo>
                      <a:pt x="10650" y="114"/>
                    </a:lnTo>
                    <a:lnTo>
                      <a:pt x="1429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1" name="Freeform 32">
                <a:extLst>
                  <a:ext uri="{FF2B5EF4-FFF2-40B4-BE49-F238E27FC236}">
                    <a16:creationId xmlns:a16="http://schemas.microsoft.com/office/drawing/2014/main" id="{13B9B419-5515-F06E-C127-8779F9E81049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>
              <a:xfrm>
                <a:off x="5009471" y="3938226"/>
                <a:ext cx="95200" cy="57989"/>
              </a:xfrm>
              <a:custGeom>
                <a:avLst/>
                <a:gdLst/>
                <a:ahLst/>
                <a:cxnLst/>
                <a:rect l="0" t="0" r="0" b="0"/>
                <a:pathLst>
                  <a:path w="97745" h="59539">
                    <a:moveTo>
                      <a:pt x="97742" y="31244"/>
                    </a:moveTo>
                    <a:lnTo>
                      <a:pt x="97743" y="31271"/>
                    </a:lnTo>
                    <a:lnTo>
                      <a:pt x="97744" y="31281"/>
                    </a:lnTo>
                    <a:lnTo>
                      <a:pt x="97611" y="31553"/>
                    </a:lnTo>
                    <a:lnTo>
                      <a:pt x="95778" y="35238"/>
                    </a:lnTo>
                    <a:lnTo>
                      <a:pt x="90042" y="38002"/>
                    </a:lnTo>
                    <a:lnTo>
                      <a:pt x="86923" y="42150"/>
                    </a:lnTo>
                    <a:lnTo>
                      <a:pt x="85273" y="47626"/>
                    </a:lnTo>
                    <a:lnTo>
                      <a:pt x="85555" y="58564"/>
                    </a:lnTo>
                    <a:lnTo>
                      <a:pt x="76008" y="55612"/>
                    </a:lnTo>
                    <a:lnTo>
                      <a:pt x="64673" y="59538"/>
                    </a:lnTo>
                    <a:lnTo>
                      <a:pt x="59478" y="55573"/>
                    </a:lnTo>
                    <a:lnTo>
                      <a:pt x="54821" y="54787"/>
                    </a:lnTo>
                    <a:lnTo>
                      <a:pt x="43155" y="58056"/>
                    </a:lnTo>
                    <a:lnTo>
                      <a:pt x="32949" y="53620"/>
                    </a:lnTo>
                    <a:lnTo>
                      <a:pt x="24231" y="56559"/>
                    </a:lnTo>
                    <a:lnTo>
                      <a:pt x="9668" y="54818"/>
                    </a:lnTo>
                    <a:lnTo>
                      <a:pt x="7956" y="51870"/>
                    </a:lnTo>
                    <a:lnTo>
                      <a:pt x="5058" y="46708"/>
                    </a:lnTo>
                    <a:lnTo>
                      <a:pt x="2451" y="41298"/>
                    </a:lnTo>
                    <a:lnTo>
                      <a:pt x="620" y="36120"/>
                    </a:lnTo>
                    <a:lnTo>
                      <a:pt x="0" y="31151"/>
                    </a:lnTo>
                    <a:lnTo>
                      <a:pt x="129" y="27758"/>
                    </a:lnTo>
                    <a:lnTo>
                      <a:pt x="410" y="19609"/>
                    </a:lnTo>
                    <a:lnTo>
                      <a:pt x="1296" y="15768"/>
                    </a:lnTo>
                    <a:lnTo>
                      <a:pt x="1816" y="15761"/>
                    </a:lnTo>
                    <a:lnTo>
                      <a:pt x="3938" y="13017"/>
                    </a:lnTo>
                    <a:lnTo>
                      <a:pt x="4747" y="11489"/>
                    </a:lnTo>
                    <a:lnTo>
                      <a:pt x="5347" y="10561"/>
                    </a:lnTo>
                    <a:lnTo>
                      <a:pt x="5361" y="10539"/>
                    </a:lnTo>
                    <a:lnTo>
                      <a:pt x="5539" y="10611"/>
                    </a:lnTo>
                    <a:lnTo>
                      <a:pt x="7686" y="10729"/>
                    </a:lnTo>
                    <a:lnTo>
                      <a:pt x="8278" y="10087"/>
                    </a:lnTo>
                    <a:lnTo>
                      <a:pt x="8435" y="8822"/>
                    </a:lnTo>
                    <a:lnTo>
                      <a:pt x="8728" y="7832"/>
                    </a:lnTo>
                    <a:lnTo>
                      <a:pt x="9788" y="8048"/>
                    </a:lnTo>
                    <a:lnTo>
                      <a:pt x="10404" y="8992"/>
                    </a:lnTo>
                    <a:lnTo>
                      <a:pt x="11382" y="10827"/>
                    </a:lnTo>
                    <a:lnTo>
                      <a:pt x="11989" y="12628"/>
                    </a:lnTo>
                    <a:lnTo>
                      <a:pt x="11629" y="13465"/>
                    </a:lnTo>
                    <a:lnTo>
                      <a:pt x="14275" y="12850"/>
                    </a:lnTo>
                    <a:lnTo>
                      <a:pt x="15524" y="10786"/>
                    </a:lnTo>
                    <a:lnTo>
                      <a:pt x="17091" y="0"/>
                    </a:lnTo>
                    <a:lnTo>
                      <a:pt x="21118" y="5049"/>
                    </a:lnTo>
                    <a:lnTo>
                      <a:pt x="24974" y="8112"/>
                    </a:lnTo>
                    <a:lnTo>
                      <a:pt x="29319" y="9584"/>
                    </a:lnTo>
                    <a:lnTo>
                      <a:pt x="38683" y="10545"/>
                    </a:lnTo>
                    <a:lnTo>
                      <a:pt x="49676" y="17417"/>
                    </a:lnTo>
                    <a:lnTo>
                      <a:pt x="95684" y="3003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2" name="Freeform 33">
                <a:extLst>
                  <a:ext uri="{FF2B5EF4-FFF2-40B4-BE49-F238E27FC236}">
                    <a16:creationId xmlns:a16="http://schemas.microsoft.com/office/drawing/2014/main" id="{AE3CA557-233E-117B-74C0-1F2D9006D42C}"/>
                  </a:ext>
                </a:extLst>
              </p:cNvPr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>
              <a:xfrm>
                <a:off x="4963493" y="3947281"/>
                <a:ext cx="47241" cy="60818"/>
              </a:xfrm>
              <a:custGeom>
                <a:avLst/>
                <a:gdLst/>
                <a:ahLst/>
                <a:cxnLst/>
                <a:rect l="0" t="0" r="0" b="0"/>
                <a:pathLst>
                  <a:path w="48504" h="62444">
                    <a:moveTo>
                      <a:pt x="48503" y="6471"/>
                    </a:moveTo>
                    <a:lnTo>
                      <a:pt x="47617" y="10312"/>
                    </a:lnTo>
                    <a:lnTo>
                      <a:pt x="47336" y="18461"/>
                    </a:lnTo>
                    <a:lnTo>
                      <a:pt x="44353" y="17745"/>
                    </a:lnTo>
                    <a:lnTo>
                      <a:pt x="40704" y="17859"/>
                    </a:lnTo>
                    <a:lnTo>
                      <a:pt x="38285" y="17934"/>
                    </a:lnTo>
                    <a:lnTo>
                      <a:pt x="36222" y="20111"/>
                    </a:lnTo>
                    <a:lnTo>
                      <a:pt x="34784" y="22506"/>
                    </a:lnTo>
                    <a:lnTo>
                      <a:pt x="32777" y="26756"/>
                    </a:lnTo>
                    <a:lnTo>
                      <a:pt x="31231" y="30735"/>
                    </a:lnTo>
                    <a:lnTo>
                      <a:pt x="30325" y="35998"/>
                    </a:lnTo>
                    <a:lnTo>
                      <a:pt x="30054" y="42032"/>
                    </a:lnTo>
                    <a:lnTo>
                      <a:pt x="31878" y="46956"/>
                    </a:lnTo>
                    <a:lnTo>
                      <a:pt x="36224" y="49706"/>
                    </a:lnTo>
                    <a:lnTo>
                      <a:pt x="41264" y="52574"/>
                    </a:lnTo>
                    <a:lnTo>
                      <a:pt x="24718" y="62443"/>
                    </a:lnTo>
                    <a:lnTo>
                      <a:pt x="23179" y="60465"/>
                    </a:lnTo>
                    <a:lnTo>
                      <a:pt x="16824" y="60654"/>
                    </a:lnTo>
                    <a:lnTo>
                      <a:pt x="14864" y="52541"/>
                    </a:lnTo>
                    <a:lnTo>
                      <a:pt x="12066" y="50825"/>
                    </a:lnTo>
                    <a:lnTo>
                      <a:pt x="10794" y="52660"/>
                    </a:lnTo>
                    <a:lnTo>
                      <a:pt x="6255" y="51409"/>
                    </a:lnTo>
                    <a:lnTo>
                      <a:pt x="4564" y="57089"/>
                    </a:lnTo>
                    <a:lnTo>
                      <a:pt x="1138" y="55881"/>
                    </a:lnTo>
                    <a:lnTo>
                      <a:pt x="3965" y="51376"/>
                    </a:lnTo>
                    <a:lnTo>
                      <a:pt x="5228" y="43793"/>
                    </a:lnTo>
                    <a:lnTo>
                      <a:pt x="0" y="35329"/>
                    </a:lnTo>
                    <a:lnTo>
                      <a:pt x="1936" y="27649"/>
                    </a:lnTo>
                    <a:lnTo>
                      <a:pt x="7068" y="23876"/>
                    </a:lnTo>
                    <a:lnTo>
                      <a:pt x="7592" y="20997"/>
                    </a:lnTo>
                    <a:lnTo>
                      <a:pt x="7759" y="16102"/>
                    </a:lnTo>
                    <a:lnTo>
                      <a:pt x="4234" y="11107"/>
                    </a:lnTo>
                    <a:lnTo>
                      <a:pt x="4138" y="10358"/>
                    </a:lnTo>
                    <a:lnTo>
                      <a:pt x="3837" y="8037"/>
                    </a:lnTo>
                    <a:lnTo>
                      <a:pt x="7422" y="4436"/>
                    </a:lnTo>
                    <a:lnTo>
                      <a:pt x="9175" y="0"/>
                    </a:lnTo>
                    <a:lnTo>
                      <a:pt x="12927" y="2577"/>
                    </a:lnTo>
                    <a:lnTo>
                      <a:pt x="24773" y="5296"/>
                    </a:lnTo>
                    <a:lnTo>
                      <a:pt x="37238" y="644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3" name="Freeform 34">
                <a:extLst>
                  <a:ext uri="{FF2B5EF4-FFF2-40B4-BE49-F238E27FC236}">
                    <a16:creationId xmlns:a16="http://schemas.microsoft.com/office/drawing/2014/main" id="{54EF59B1-78B9-859B-DA91-61DC1341C0A0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>
              <a:xfrm>
                <a:off x="4690940" y="3512005"/>
                <a:ext cx="262405" cy="382874"/>
              </a:xfrm>
              <a:custGeom>
                <a:avLst/>
                <a:gdLst/>
                <a:ahLst/>
                <a:cxnLst/>
                <a:rect l="0" t="0" r="0" b="0"/>
                <a:pathLst>
                  <a:path w="269420" h="393109">
                    <a:moveTo>
                      <a:pt x="269419" y="278111"/>
                    </a:moveTo>
                    <a:lnTo>
                      <a:pt x="269406" y="278118"/>
                    </a:lnTo>
                    <a:lnTo>
                      <a:pt x="266778" y="279367"/>
                    </a:lnTo>
                    <a:lnTo>
                      <a:pt x="261306" y="286216"/>
                    </a:lnTo>
                    <a:lnTo>
                      <a:pt x="256828" y="286754"/>
                    </a:lnTo>
                    <a:lnTo>
                      <a:pt x="246767" y="285859"/>
                    </a:lnTo>
                    <a:lnTo>
                      <a:pt x="240950" y="282398"/>
                    </a:lnTo>
                    <a:lnTo>
                      <a:pt x="227063" y="280025"/>
                    </a:lnTo>
                    <a:lnTo>
                      <a:pt x="218366" y="278531"/>
                    </a:lnTo>
                    <a:lnTo>
                      <a:pt x="216720" y="280795"/>
                    </a:lnTo>
                    <a:lnTo>
                      <a:pt x="216085" y="284633"/>
                    </a:lnTo>
                    <a:lnTo>
                      <a:pt x="220532" y="287387"/>
                    </a:lnTo>
                    <a:lnTo>
                      <a:pt x="220541" y="290251"/>
                    </a:lnTo>
                    <a:lnTo>
                      <a:pt x="216904" y="293531"/>
                    </a:lnTo>
                    <a:lnTo>
                      <a:pt x="210146" y="295603"/>
                    </a:lnTo>
                    <a:lnTo>
                      <a:pt x="205755" y="305367"/>
                    </a:lnTo>
                    <a:lnTo>
                      <a:pt x="202517" y="307578"/>
                    </a:lnTo>
                    <a:lnTo>
                      <a:pt x="202146" y="312465"/>
                    </a:lnTo>
                    <a:lnTo>
                      <a:pt x="196420" y="315050"/>
                    </a:lnTo>
                    <a:lnTo>
                      <a:pt x="194943" y="317306"/>
                    </a:lnTo>
                    <a:lnTo>
                      <a:pt x="190570" y="333763"/>
                    </a:lnTo>
                    <a:lnTo>
                      <a:pt x="184318" y="337619"/>
                    </a:lnTo>
                    <a:lnTo>
                      <a:pt x="184743" y="340363"/>
                    </a:lnTo>
                    <a:lnTo>
                      <a:pt x="191149" y="343201"/>
                    </a:lnTo>
                    <a:lnTo>
                      <a:pt x="190880" y="347345"/>
                    </a:lnTo>
                    <a:lnTo>
                      <a:pt x="185616" y="354901"/>
                    </a:lnTo>
                    <a:lnTo>
                      <a:pt x="181385" y="364970"/>
                    </a:lnTo>
                    <a:lnTo>
                      <a:pt x="173257" y="370562"/>
                    </a:lnTo>
                    <a:lnTo>
                      <a:pt x="171099" y="370194"/>
                    </a:lnTo>
                    <a:lnTo>
                      <a:pt x="169626" y="366513"/>
                    </a:lnTo>
                    <a:lnTo>
                      <a:pt x="153462" y="359306"/>
                    </a:lnTo>
                    <a:lnTo>
                      <a:pt x="134107" y="372745"/>
                    </a:lnTo>
                    <a:lnTo>
                      <a:pt x="123611" y="370504"/>
                    </a:lnTo>
                    <a:lnTo>
                      <a:pt x="123972" y="373687"/>
                    </a:lnTo>
                    <a:lnTo>
                      <a:pt x="122973" y="376254"/>
                    </a:lnTo>
                    <a:lnTo>
                      <a:pt x="118937" y="379290"/>
                    </a:lnTo>
                    <a:lnTo>
                      <a:pt x="117110" y="383372"/>
                    </a:lnTo>
                    <a:lnTo>
                      <a:pt x="113616" y="382783"/>
                    </a:lnTo>
                    <a:lnTo>
                      <a:pt x="110288" y="384758"/>
                    </a:lnTo>
                    <a:lnTo>
                      <a:pt x="107770" y="391487"/>
                    </a:lnTo>
                    <a:lnTo>
                      <a:pt x="106027" y="393108"/>
                    </a:lnTo>
                    <a:lnTo>
                      <a:pt x="92477" y="388142"/>
                    </a:lnTo>
                    <a:lnTo>
                      <a:pt x="85371" y="391675"/>
                    </a:lnTo>
                    <a:lnTo>
                      <a:pt x="72659" y="381346"/>
                    </a:lnTo>
                    <a:lnTo>
                      <a:pt x="64092" y="367551"/>
                    </a:lnTo>
                    <a:lnTo>
                      <a:pt x="61402" y="368242"/>
                    </a:lnTo>
                    <a:lnTo>
                      <a:pt x="57377" y="373079"/>
                    </a:lnTo>
                    <a:lnTo>
                      <a:pt x="42290" y="383891"/>
                    </a:lnTo>
                    <a:lnTo>
                      <a:pt x="34879" y="382941"/>
                    </a:lnTo>
                    <a:lnTo>
                      <a:pt x="28201" y="377069"/>
                    </a:lnTo>
                    <a:lnTo>
                      <a:pt x="26674" y="372201"/>
                    </a:lnTo>
                    <a:lnTo>
                      <a:pt x="28148" y="368154"/>
                    </a:lnTo>
                    <a:lnTo>
                      <a:pt x="27430" y="363819"/>
                    </a:lnTo>
                    <a:lnTo>
                      <a:pt x="22714" y="358248"/>
                    </a:lnTo>
                    <a:lnTo>
                      <a:pt x="21329" y="354542"/>
                    </a:lnTo>
                    <a:lnTo>
                      <a:pt x="26409" y="350561"/>
                    </a:lnTo>
                    <a:lnTo>
                      <a:pt x="28675" y="341823"/>
                    </a:lnTo>
                    <a:lnTo>
                      <a:pt x="32550" y="339010"/>
                    </a:lnTo>
                    <a:lnTo>
                      <a:pt x="29060" y="333544"/>
                    </a:lnTo>
                    <a:lnTo>
                      <a:pt x="27264" y="325806"/>
                    </a:lnTo>
                    <a:lnTo>
                      <a:pt x="21311" y="322482"/>
                    </a:lnTo>
                    <a:lnTo>
                      <a:pt x="26519" y="314992"/>
                    </a:lnTo>
                    <a:lnTo>
                      <a:pt x="26608" y="307448"/>
                    </a:lnTo>
                    <a:lnTo>
                      <a:pt x="28102" y="305099"/>
                    </a:lnTo>
                    <a:lnTo>
                      <a:pt x="45069" y="294473"/>
                    </a:lnTo>
                    <a:lnTo>
                      <a:pt x="42173" y="287303"/>
                    </a:lnTo>
                    <a:lnTo>
                      <a:pt x="42865" y="284528"/>
                    </a:lnTo>
                    <a:lnTo>
                      <a:pt x="41859" y="281995"/>
                    </a:lnTo>
                    <a:lnTo>
                      <a:pt x="44127" y="279101"/>
                    </a:lnTo>
                    <a:lnTo>
                      <a:pt x="39715" y="276295"/>
                    </a:lnTo>
                    <a:lnTo>
                      <a:pt x="30578" y="279060"/>
                    </a:lnTo>
                    <a:lnTo>
                      <a:pt x="28826" y="275468"/>
                    </a:lnTo>
                    <a:lnTo>
                      <a:pt x="21662" y="270361"/>
                    </a:lnTo>
                    <a:lnTo>
                      <a:pt x="19321" y="262529"/>
                    </a:lnTo>
                    <a:lnTo>
                      <a:pt x="9879" y="259361"/>
                    </a:lnTo>
                    <a:lnTo>
                      <a:pt x="6914" y="255137"/>
                    </a:lnTo>
                    <a:lnTo>
                      <a:pt x="1651" y="238952"/>
                    </a:lnTo>
                    <a:lnTo>
                      <a:pt x="0" y="237041"/>
                    </a:lnTo>
                    <a:lnTo>
                      <a:pt x="5067" y="228686"/>
                    </a:lnTo>
                    <a:lnTo>
                      <a:pt x="8842" y="225740"/>
                    </a:lnTo>
                    <a:lnTo>
                      <a:pt x="11577" y="224466"/>
                    </a:lnTo>
                    <a:lnTo>
                      <a:pt x="12822" y="223070"/>
                    </a:lnTo>
                    <a:lnTo>
                      <a:pt x="13581" y="221461"/>
                    </a:lnTo>
                    <a:lnTo>
                      <a:pt x="14152" y="218295"/>
                    </a:lnTo>
                    <a:lnTo>
                      <a:pt x="14272" y="216951"/>
                    </a:lnTo>
                    <a:lnTo>
                      <a:pt x="14159" y="216005"/>
                    </a:lnTo>
                    <a:lnTo>
                      <a:pt x="13811" y="215041"/>
                    </a:lnTo>
                    <a:lnTo>
                      <a:pt x="13212" y="213863"/>
                    </a:lnTo>
                    <a:lnTo>
                      <a:pt x="12653" y="212249"/>
                    </a:lnTo>
                    <a:lnTo>
                      <a:pt x="12610" y="209505"/>
                    </a:lnTo>
                    <a:lnTo>
                      <a:pt x="13178" y="208017"/>
                    </a:lnTo>
                    <a:lnTo>
                      <a:pt x="14053" y="206763"/>
                    </a:lnTo>
                    <a:lnTo>
                      <a:pt x="16972" y="204320"/>
                    </a:lnTo>
                    <a:lnTo>
                      <a:pt x="28519" y="189507"/>
                    </a:lnTo>
                    <a:lnTo>
                      <a:pt x="47580" y="171661"/>
                    </a:lnTo>
                    <a:lnTo>
                      <a:pt x="49921" y="170504"/>
                    </a:lnTo>
                    <a:lnTo>
                      <a:pt x="55372" y="169419"/>
                    </a:lnTo>
                    <a:lnTo>
                      <a:pt x="58421" y="169928"/>
                    </a:lnTo>
                    <a:lnTo>
                      <a:pt x="59630" y="170502"/>
                    </a:lnTo>
                    <a:lnTo>
                      <a:pt x="61685" y="172073"/>
                    </a:lnTo>
                    <a:lnTo>
                      <a:pt x="62485" y="173048"/>
                    </a:lnTo>
                    <a:lnTo>
                      <a:pt x="63861" y="173482"/>
                    </a:lnTo>
                    <a:lnTo>
                      <a:pt x="65733" y="173277"/>
                    </a:lnTo>
                    <a:lnTo>
                      <a:pt x="70002" y="170525"/>
                    </a:lnTo>
                    <a:lnTo>
                      <a:pt x="71734" y="168565"/>
                    </a:lnTo>
                    <a:lnTo>
                      <a:pt x="72814" y="166513"/>
                    </a:lnTo>
                    <a:lnTo>
                      <a:pt x="73635" y="163064"/>
                    </a:lnTo>
                    <a:lnTo>
                      <a:pt x="74412" y="161057"/>
                    </a:lnTo>
                    <a:lnTo>
                      <a:pt x="75892" y="158131"/>
                    </a:lnTo>
                    <a:lnTo>
                      <a:pt x="77239" y="156807"/>
                    </a:lnTo>
                    <a:lnTo>
                      <a:pt x="83594" y="153802"/>
                    </a:lnTo>
                    <a:lnTo>
                      <a:pt x="85804" y="151120"/>
                    </a:lnTo>
                    <a:lnTo>
                      <a:pt x="88588" y="148664"/>
                    </a:lnTo>
                    <a:lnTo>
                      <a:pt x="94708" y="147298"/>
                    </a:lnTo>
                    <a:lnTo>
                      <a:pt x="97242" y="146071"/>
                    </a:lnTo>
                    <a:lnTo>
                      <a:pt x="101694" y="142972"/>
                    </a:lnTo>
                    <a:lnTo>
                      <a:pt x="104407" y="139884"/>
                    </a:lnTo>
                    <a:lnTo>
                      <a:pt x="106504" y="136864"/>
                    </a:lnTo>
                    <a:lnTo>
                      <a:pt x="107377" y="134914"/>
                    </a:lnTo>
                    <a:lnTo>
                      <a:pt x="107716" y="133209"/>
                    </a:lnTo>
                    <a:lnTo>
                      <a:pt x="107667" y="131729"/>
                    </a:lnTo>
                    <a:lnTo>
                      <a:pt x="107297" y="130432"/>
                    </a:lnTo>
                    <a:lnTo>
                      <a:pt x="106761" y="129296"/>
                    </a:lnTo>
                    <a:lnTo>
                      <a:pt x="105950" y="128381"/>
                    </a:lnTo>
                    <a:lnTo>
                      <a:pt x="101034" y="121200"/>
                    </a:lnTo>
                    <a:lnTo>
                      <a:pt x="100566" y="120004"/>
                    </a:lnTo>
                    <a:lnTo>
                      <a:pt x="100311" y="118862"/>
                    </a:lnTo>
                    <a:lnTo>
                      <a:pt x="100291" y="117677"/>
                    </a:lnTo>
                    <a:lnTo>
                      <a:pt x="100338" y="117182"/>
                    </a:lnTo>
                    <a:lnTo>
                      <a:pt x="100371" y="116511"/>
                    </a:lnTo>
                    <a:lnTo>
                      <a:pt x="100284" y="115348"/>
                    </a:lnTo>
                    <a:lnTo>
                      <a:pt x="99972" y="114108"/>
                    </a:lnTo>
                    <a:lnTo>
                      <a:pt x="97679" y="109586"/>
                    </a:lnTo>
                    <a:lnTo>
                      <a:pt x="94790" y="105349"/>
                    </a:lnTo>
                    <a:lnTo>
                      <a:pt x="91113" y="98735"/>
                    </a:lnTo>
                    <a:lnTo>
                      <a:pt x="87344" y="89002"/>
                    </a:lnTo>
                    <a:lnTo>
                      <a:pt x="86642" y="86407"/>
                    </a:lnTo>
                    <a:lnTo>
                      <a:pt x="86429" y="84989"/>
                    </a:lnTo>
                    <a:lnTo>
                      <a:pt x="86106" y="83691"/>
                    </a:lnTo>
                    <a:lnTo>
                      <a:pt x="85518" y="82555"/>
                    </a:lnTo>
                    <a:lnTo>
                      <a:pt x="82897" y="79912"/>
                    </a:lnTo>
                    <a:lnTo>
                      <a:pt x="82178" y="78917"/>
                    </a:lnTo>
                    <a:lnTo>
                      <a:pt x="81634" y="77680"/>
                    </a:lnTo>
                    <a:lnTo>
                      <a:pt x="81477" y="76222"/>
                    </a:lnTo>
                    <a:lnTo>
                      <a:pt x="81109" y="74865"/>
                    </a:lnTo>
                    <a:lnTo>
                      <a:pt x="80226" y="74089"/>
                    </a:lnTo>
                    <a:lnTo>
                      <a:pt x="76738" y="72131"/>
                    </a:lnTo>
                    <a:lnTo>
                      <a:pt x="75965" y="71194"/>
                    </a:lnTo>
                    <a:lnTo>
                      <a:pt x="75400" y="70078"/>
                    </a:lnTo>
                    <a:lnTo>
                      <a:pt x="75076" y="68602"/>
                    </a:lnTo>
                    <a:lnTo>
                      <a:pt x="74996" y="67023"/>
                    </a:lnTo>
                    <a:lnTo>
                      <a:pt x="75165" y="65085"/>
                    </a:lnTo>
                    <a:lnTo>
                      <a:pt x="76031" y="64124"/>
                    </a:lnTo>
                    <a:lnTo>
                      <a:pt x="77109" y="63257"/>
                    </a:lnTo>
                    <a:lnTo>
                      <a:pt x="79737" y="62386"/>
                    </a:lnTo>
                    <a:lnTo>
                      <a:pt x="88215" y="62188"/>
                    </a:lnTo>
                    <a:lnTo>
                      <a:pt x="91322" y="61406"/>
                    </a:lnTo>
                    <a:lnTo>
                      <a:pt x="93465" y="60304"/>
                    </a:lnTo>
                    <a:lnTo>
                      <a:pt x="94982" y="58421"/>
                    </a:lnTo>
                    <a:lnTo>
                      <a:pt x="106403" y="40349"/>
                    </a:lnTo>
                    <a:lnTo>
                      <a:pt x="107504" y="37880"/>
                    </a:lnTo>
                    <a:lnTo>
                      <a:pt x="108395" y="34842"/>
                    </a:lnTo>
                    <a:lnTo>
                      <a:pt x="109213" y="33288"/>
                    </a:lnTo>
                    <a:lnTo>
                      <a:pt x="110194" y="32164"/>
                    </a:lnTo>
                    <a:lnTo>
                      <a:pt x="112189" y="30547"/>
                    </a:lnTo>
                    <a:lnTo>
                      <a:pt x="114378" y="28039"/>
                    </a:lnTo>
                    <a:lnTo>
                      <a:pt x="115495" y="27100"/>
                    </a:lnTo>
                    <a:lnTo>
                      <a:pt x="118976" y="25386"/>
                    </a:lnTo>
                    <a:lnTo>
                      <a:pt x="120008" y="24655"/>
                    </a:lnTo>
                    <a:lnTo>
                      <a:pt x="125186" y="18750"/>
                    </a:lnTo>
                    <a:lnTo>
                      <a:pt x="126181" y="16718"/>
                    </a:lnTo>
                    <a:lnTo>
                      <a:pt x="126700" y="14832"/>
                    </a:lnTo>
                    <a:lnTo>
                      <a:pt x="127209" y="9015"/>
                    </a:lnTo>
                    <a:lnTo>
                      <a:pt x="127851" y="6011"/>
                    </a:lnTo>
                    <a:lnTo>
                      <a:pt x="128869" y="4688"/>
                    </a:lnTo>
                    <a:lnTo>
                      <a:pt x="130074" y="3864"/>
                    </a:lnTo>
                    <a:lnTo>
                      <a:pt x="139686" y="0"/>
                    </a:lnTo>
                    <a:lnTo>
                      <a:pt x="142631" y="5537"/>
                    </a:lnTo>
                    <a:lnTo>
                      <a:pt x="171763" y="41591"/>
                    </a:lnTo>
                    <a:lnTo>
                      <a:pt x="175117" y="50413"/>
                    </a:lnTo>
                    <a:lnTo>
                      <a:pt x="177397" y="55058"/>
                    </a:lnTo>
                    <a:lnTo>
                      <a:pt x="182120" y="58248"/>
                    </a:lnTo>
                    <a:lnTo>
                      <a:pt x="183357" y="60926"/>
                    </a:lnTo>
                    <a:lnTo>
                      <a:pt x="184368" y="63655"/>
                    </a:lnTo>
                    <a:lnTo>
                      <a:pt x="185523" y="64982"/>
                    </a:lnTo>
                    <a:lnTo>
                      <a:pt x="187526" y="64314"/>
                    </a:lnTo>
                    <a:lnTo>
                      <a:pt x="188853" y="62478"/>
                    </a:lnTo>
                    <a:lnTo>
                      <a:pt x="189773" y="60544"/>
                    </a:lnTo>
                    <a:lnTo>
                      <a:pt x="190551" y="59639"/>
                    </a:lnTo>
                    <a:lnTo>
                      <a:pt x="192971" y="59925"/>
                    </a:lnTo>
                    <a:lnTo>
                      <a:pt x="195759" y="61290"/>
                    </a:lnTo>
                    <a:lnTo>
                      <a:pt x="198449" y="64398"/>
                    </a:lnTo>
                    <a:lnTo>
                      <a:pt x="200486" y="69855"/>
                    </a:lnTo>
                    <a:lnTo>
                      <a:pt x="196106" y="69960"/>
                    </a:lnTo>
                    <a:lnTo>
                      <a:pt x="196163" y="72338"/>
                    </a:lnTo>
                    <a:lnTo>
                      <a:pt x="198790" y="73847"/>
                    </a:lnTo>
                    <a:lnTo>
                      <a:pt x="206314" y="71487"/>
                    </a:lnTo>
                    <a:lnTo>
                      <a:pt x="211016" y="71978"/>
                    </a:lnTo>
                    <a:lnTo>
                      <a:pt x="226021" y="82255"/>
                    </a:lnTo>
                    <a:lnTo>
                      <a:pt x="226088" y="84866"/>
                    </a:lnTo>
                    <a:lnTo>
                      <a:pt x="224967" y="87414"/>
                    </a:lnTo>
                    <a:lnTo>
                      <a:pt x="225399" y="90187"/>
                    </a:lnTo>
                    <a:lnTo>
                      <a:pt x="226982" y="92932"/>
                    </a:lnTo>
                    <a:lnTo>
                      <a:pt x="229318" y="95485"/>
                    </a:lnTo>
                    <a:lnTo>
                      <a:pt x="226425" y="97907"/>
                    </a:lnTo>
                    <a:lnTo>
                      <a:pt x="226492" y="100518"/>
                    </a:lnTo>
                    <a:lnTo>
                      <a:pt x="228389" y="101698"/>
                    </a:lnTo>
                    <a:lnTo>
                      <a:pt x="232662" y="105585"/>
                    </a:lnTo>
                    <a:lnTo>
                      <a:pt x="232731" y="108196"/>
                    </a:lnTo>
                    <a:lnTo>
                      <a:pt x="231005" y="111586"/>
                    </a:lnTo>
                    <a:lnTo>
                      <a:pt x="232127" y="113391"/>
                    </a:lnTo>
                    <a:lnTo>
                      <a:pt x="234326" y="114610"/>
                    </a:lnTo>
                    <a:lnTo>
                      <a:pt x="235882" y="116186"/>
                    </a:lnTo>
                    <a:lnTo>
                      <a:pt x="236954" y="120731"/>
                    </a:lnTo>
                    <a:lnTo>
                      <a:pt x="238407" y="146326"/>
                    </a:lnTo>
                    <a:lnTo>
                      <a:pt x="238126" y="150051"/>
                    </a:lnTo>
                    <a:lnTo>
                      <a:pt x="237170" y="156329"/>
                    </a:lnTo>
                    <a:lnTo>
                      <a:pt x="237048" y="158385"/>
                    </a:lnTo>
                    <a:lnTo>
                      <a:pt x="237082" y="161698"/>
                    </a:lnTo>
                    <a:lnTo>
                      <a:pt x="238609" y="169995"/>
                    </a:lnTo>
                    <a:lnTo>
                      <a:pt x="244245" y="179707"/>
                    </a:lnTo>
                    <a:lnTo>
                      <a:pt x="245026" y="186405"/>
                    </a:lnTo>
                    <a:lnTo>
                      <a:pt x="244809" y="188216"/>
                    </a:lnTo>
                    <a:lnTo>
                      <a:pt x="244431" y="189968"/>
                    </a:lnTo>
                    <a:lnTo>
                      <a:pt x="243838" y="191617"/>
                    </a:lnTo>
                    <a:lnTo>
                      <a:pt x="243048" y="193224"/>
                    </a:lnTo>
                    <a:lnTo>
                      <a:pt x="242186" y="196093"/>
                    </a:lnTo>
                    <a:lnTo>
                      <a:pt x="242651" y="198601"/>
                    </a:lnTo>
                    <a:lnTo>
                      <a:pt x="243574" y="201003"/>
                    </a:lnTo>
                    <a:lnTo>
                      <a:pt x="244120" y="203509"/>
                    </a:lnTo>
                    <a:lnTo>
                      <a:pt x="245461" y="207922"/>
                    </a:lnTo>
                    <a:lnTo>
                      <a:pt x="248304" y="212108"/>
                    </a:lnTo>
                    <a:lnTo>
                      <a:pt x="253452" y="217505"/>
                    </a:lnTo>
                    <a:lnTo>
                      <a:pt x="251807" y="222574"/>
                    </a:lnTo>
                    <a:lnTo>
                      <a:pt x="252979" y="224891"/>
                    </a:lnTo>
                    <a:lnTo>
                      <a:pt x="255172" y="226869"/>
                    </a:lnTo>
                    <a:lnTo>
                      <a:pt x="256653" y="230701"/>
                    </a:lnTo>
                    <a:lnTo>
                      <a:pt x="256136" y="234495"/>
                    </a:lnTo>
                    <a:lnTo>
                      <a:pt x="254752" y="237800"/>
                    </a:lnTo>
                    <a:lnTo>
                      <a:pt x="253849" y="241170"/>
                    </a:lnTo>
                    <a:lnTo>
                      <a:pt x="254871" y="245092"/>
                    </a:lnTo>
                    <a:lnTo>
                      <a:pt x="258789" y="250849"/>
                    </a:lnTo>
                    <a:lnTo>
                      <a:pt x="259904" y="253571"/>
                    </a:lnTo>
                    <a:lnTo>
                      <a:pt x="260878" y="261804"/>
                    </a:lnTo>
                    <a:lnTo>
                      <a:pt x="263024" y="269880"/>
                    </a:lnTo>
                    <a:lnTo>
                      <a:pt x="263892" y="272267"/>
                    </a:lnTo>
                    <a:lnTo>
                      <a:pt x="264756" y="272912"/>
                    </a:lnTo>
                    <a:lnTo>
                      <a:pt x="267620" y="274108"/>
                    </a:lnTo>
                    <a:lnTo>
                      <a:pt x="268448" y="274738"/>
                    </a:lnTo>
                    <a:lnTo>
                      <a:pt x="268808" y="27581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4" name="Freeform 35">
                <a:extLst>
                  <a:ext uri="{FF2B5EF4-FFF2-40B4-BE49-F238E27FC236}">
                    <a16:creationId xmlns:a16="http://schemas.microsoft.com/office/drawing/2014/main" id="{816CBB38-D3D2-5330-4BB6-EAFE49544FBD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>
              <a:xfrm>
                <a:off x="4879454" y="5154059"/>
                <a:ext cx="283067" cy="247782"/>
              </a:xfrm>
              <a:custGeom>
                <a:avLst/>
                <a:gdLst/>
                <a:ahLst/>
                <a:cxnLst/>
                <a:rect l="0" t="0" r="0" b="0"/>
                <a:pathLst>
                  <a:path w="290634" h="254406">
                    <a:moveTo>
                      <a:pt x="216255" y="7901"/>
                    </a:moveTo>
                    <a:lnTo>
                      <a:pt x="224642" y="4761"/>
                    </a:lnTo>
                    <a:lnTo>
                      <a:pt x="231789" y="6421"/>
                    </a:lnTo>
                    <a:lnTo>
                      <a:pt x="243091" y="4858"/>
                    </a:lnTo>
                    <a:lnTo>
                      <a:pt x="251026" y="7971"/>
                    </a:lnTo>
                    <a:lnTo>
                      <a:pt x="259042" y="8164"/>
                    </a:lnTo>
                    <a:lnTo>
                      <a:pt x="266972" y="8349"/>
                    </a:lnTo>
                    <a:lnTo>
                      <a:pt x="272012" y="11986"/>
                    </a:lnTo>
                    <a:lnTo>
                      <a:pt x="280207" y="14543"/>
                    </a:lnTo>
                    <a:lnTo>
                      <a:pt x="289258" y="29389"/>
                    </a:lnTo>
                    <a:lnTo>
                      <a:pt x="290633" y="37732"/>
                    </a:lnTo>
                    <a:lnTo>
                      <a:pt x="289603" y="47626"/>
                    </a:lnTo>
                    <a:lnTo>
                      <a:pt x="285649" y="52458"/>
                    </a:lnTo>
                    <a:lnTo>
                      <a:pt x="273324" y="50046"/>
                    </a:lnTo>
                    <a:lnTo>
                      <a:pt x="269301" y="51054"/>
                    </a:lnTo>
                    <a:lnTo>
                      <a:pt x="266397" y="55309"/>
                    </a:lnTo>
                    <a:lnTo>
                      <a:pt x="264109" y="63866"/>
                    </a:lnTo>
                    <a:lnTo>
                      <a:pt x="268122" y="71796"/>
                    </a:lnTo>
                    <a:lnTo>
                      <a:pt x="268746" y="83663"/>
                    </a:lnTo>
                    <a:lnTo>
                      <a:pt x="276668" y="85167"/>
                    </a:lnTo>
                    <a:lnTo>
                      <a:pt x="279588" y="93985"/>
                    </a:lnTo>
                    <a:lnTo>
                      <a:pt x="287679" y="98363"/>
                    </a:lnTo>
                    <a:lnTo>
                      <a:pt x="288456" y="101078"/>
                    </a:lnTo>
                    <a:lnTo>
                      <a:pt x="286392" y="107061"/>
                    </a:lnTo>
                    <a:lnTo>
                      <a:pt x="281445" y="110150"/>
                    </a:lnTo>
                    <a:lnTo>
                      <a:pt x="278524" y="118121"/>
                    </a:lnTo>
                    <a:lnTo>
                      <a:pt x="268754" y="117317"/>
                    </a:lnTo>
                    <a:lnTo>
                      <a:pt x="266662" y="118559"/>
                    </a:lnTo>
                    <a:lnTo>
                      <a:pt x="260878" y="125246"/>
                    </a:lnTo>
                    <a:lnTo>
                      <a:pt x="260218" y="131215"/>
                    </a:lnTo>
                    <a:lnTo>
                      <a:pt x="254524" y="138332"/>
                    </a:lnTo>
                    <a:lnTo>
                      <a:pt x="254208" y="144603"/>
                    </a:lnTo>
                    <a:lnTo>
                      <a:pt x="245781" y="163900"/>
                    </a:lnTo>
                    <a:lnTo>
                      <a:pt x="245989" y="168139"/>
                    </a:lnTo>
                    <a:lnTo>
                      <a:pt x="248290" y="172718"/>
                    </a:lnTo>
                    <a:lnTo>
                      <a:pt x="241237" y="183906"/>
                    </a:lnTo>
                    <a:lnTo>
                      <a:pt x="241801" y="186750"/>
                    </a:lnTo>
                    <a:lnTo>
                      <a:pt x="248618" y="193837"/>
                    </a:lnTo>
                    <a:lnTo>
                      <a:pt x="249019" y="199668"/>
                    </a:lnTo>
                    <a:lnTo>
                      <a:pt x="247395" y="203520"/>
                    </a:lnTo>
                    <a:lnTo>
                      <a:pt x="247393" y="203518"/>
                    </a:lnTo>
                    <a:lnTo>
                      <a:pt x="245083" y="202356"/>
                    </a:lnTo>
                    <a:lnTo>
                      <a:pt x="237416" y="201192"/>
                    </a:lnTo>
                    <a:lnTo>
                      <a:pt x="231608" y="201362"/>
                    </a:lnTo>
                    <a:lnTo>
                      <a:pt x="230669" y="199970"/>
                    </a:lnTo>
                    <a:lnTo>
                      <a:pt x="223454" y="198064"/>
                    </a:lnTo>
                    <a:lnTo>
                      <a:pt x="216637" y="197760"/>
                    </a:lnTo>
                    <a:lnTo>
                      <a:pt x="212212" y="197908"/>
                    </a:lnTo>
                    <a:lnTo>
                      <a:pt x="209076" y="201094"/>
                    </a:lnTo>
                    <a:lnTo>
                      <a:pt x="209068" y="201094"/>
                    </a:lnTo>
                    <a:lnTo>
                      <a:pt x="194222" y="202760"/>
                    </a:lnTo>
                    <a:lnTo>
                      <a:pt x="190665" y="204024"/>
                    </a:lnTo>
                    <a:lnTo>
                      <a:pt x="199332" y="210834"/>
                    </a:lnTo>
                    <a:lnTo>
                      <a:pt x="200843" y="213195"/>
                    </a:lnTo>
                    <a:lnTo>
                      <a:pt x="201696" y="220583"/>
                    </a:lnTo>
                    <a:lnTo>
                      <a:pt x="200931" y="224682"/>
                    </a:lnTo>
                    <a:lnTo>
                      <a:pt x="197849" y="227751"/>
                    </a:lnTo>
                    <a:lnTo>
                      <a:pt x="194687" y="227682"/>
                    </a:lnTo>
                    <a:lnTo>
                      <a:pt x="190230" y="226115"/>
                    </a:lnTo>
                    <a:lnTo>
                      <a:pt x="186220" y="223738"/>
                    </a:lnTo>
                    <a:lnTo>
                      <a:pt x="184456" y="221415"/>
                    </a:lnTo>
                    <a:lnTo>
                      <a:pt x="182736" y="217925"/>
                    </a:lnTo>
                    <a:lnTo>
                      <a:pt x="174827" y="213974"/>
                    </a:lnTo>
                    <a:lnTo>
                      <a:pt x="168961" y="209180"/>
                    </a:lnTo>
                    <a:lnTo>
                      <a:pt x="160924" y="206657"/>
                    </a:lnTo>
                    <a:lnTo>
                      <a:pt x="157672" y="205045"/>
                    </a:lnTo>
                    <a:lnTo>
                      <a:pt x="153386" y="200110"/>
                    </a:lnTo>
                    <a:lnTo>
                      <a:pt x="154259" y="194877"/>
                    </a:lnTo>
                    <a:lnTo>
                      <a:pt x="155731" y="186757"/>
                    </a:lnTo>
                    <a:lnTo>
                      <a:pt x="155873" y="180296"/>
                    </a:lnTo>
                    <a:lnTo>
                      <a:pt x="155059" y="175465"/>
                    </a:lnTo>
                    <a:lnTo>
                      <a:pt x="147755" y="169758"/>
                    </a:lnTo>
                    <a:lnTo>
                      <a:pt x="140197" y="166751"/>
                    </a:lnTo>
                    <a:lnTo>
                      <a:pt x="133066" y="166957"/>
                    </a:lnTo>
                    <a:lnTo>
                      <a:pt x="126659" y="168748"/>
                    </a:lnTo>
                    <a:lnTo>
                      <a:pt x="122993" y="171556"/>
                    </a:lnTo>
                    <a:lnTo>
                      <a:pt x="121724" y="174809"/>
                    </a:lnTo>
                    <a:lnTo>
                      <a:pt x="121275" y="179965"/>
                    </a:lnTo>
                    <a:lnTo>
                      <a:pt x="117086" y="177751"/>
                    </a:lnTo>
                    <a:lnTo>
                      <a:pt x="117151" y="180127"/>
                    </a:lnTo>
                    <a:lnTo>
                      <a:pt x="119586" y="181272"/>
                    </a:lnTo>
                    <a:lnTo>
                      <a:pt x="124115" y="183991"/>
                    </a:lnTo>
                    <a:lnTo>
                      <a:pt x="127110" y="184373"/>
                    </a:lnTo>
                    <a:lnTo>
                      <a:pt x="133216" y="191428"/>
                    </a:lnTo>
                    <a:lnTo>
                      <a:pt x="152646" y="212035"/>
                    </a:lnTo>
                    <a:lnTo>
                      <a:pt x="154919" y="217160"/>
                    </a:lnTo>
                    <a:lnTo>
                      <a:pt x="154323" y="221732"/>
                    </a:lnTo>
                    <a:lnTo>
                      <a:pt x="148934" y="223836"/>
                    </a:lnTo>
                    <a:lnTo>
                      <a:pt x="133479" y="225651"/>
                    </a:lnTo>
                    <a:lnTo>
                      <a:pt x="129954" y="226963"/>
                    </a:lnTo>
                    <a:lnTo>
                      <a:pt x="131761" y="228250"/>
                    </a:lnTo>
                    <a:lnTo>
                      <a:pt x="133356" y="229712"/>
                    </a:lnTo>
                    <a:lnTo>
                      <a:pt x="133422" y="232088"/>
                    </a:lnTo>
                    <a:lnTo>
                      <a:pt x="122463" y="234449"/>
                    </a:lnTo>
                    <a:lnTo>
                      <a:pt x="116307" y="236890"/>
                    </a:lnTo>
                    <a:lnTo>
                      <a:pt x="113630" y="239139"/>
                    </a:lnTo>
                    <a:lnTo>
                      <a:pt x="112572" y="239338"/>
                    </a:lnTo>
                    <a:lnTo>
                      <a:pt x="104604" y="238108"/>
                    </a:lnTo>
                    <a:lnTo>
                      <a:pt x="97124" y="252732"/>
                    </a:lnTo>
                    <a:lnTo>
                      <a:pt x="96631" y="254300"/>
                    </a:lnTo>
                    <a:lnTo>
                      <a:pt x="96201" y="254405"/>
                    </a:lnTo>
                    <a:lnTo>
                      <a:pt x="91439" y="253131"/>
                    </a:lnTo>
                    <a:lnTo>
                      <a:pt x="86172" y="249784"/>
                    </a:lnTo>
                    <a:lnTo>
                      <a:pt x="69517" y="247034"/>
                    </a:lnTo>
                    <a:lnTo>
                      <a:pt x="68976" y="247047"/>
                    </a:lnTo>
                    <a:lnTo>
                      <a:pt x="67924" y="241606"/>
                    </a:lnTo>
                    <a:lnTo>
                      <a:pt x="54015" y="241943"/>
                    </a:lnTo>
                    <a:lnTo>
                      <a:pt x="54564" y="233858"/>
                    </a:lnTo>
                    <a:lnTo>
                      <a:pt x="53605" y="232934"/>
                    </a:lnTo>
                    <a:lnTo>
                      <a:pt x="41244" y="236777"/>
                    </a:lnTo>
                    <a:lnTo>
                      <a:pt x="37928" y="231603"/>
                    </a:lnTo>
                    <a:lnTo>
                      <a:pt x="35407" y="224120"/>
                    </a:lnTo>
                    <a:lnTo>
                      <a:pt x="35925" y="217633"/>
                    </a:lnTo>
                    <a:lnTo>
                      <a:pt x="38376" y="212801"/>
                    </a:lnTo>
                    <a:lnTo>
                      <a:pt x="35755" y="199092"/>
                    </a:lnTo>
                    <a:lnTo>
                      <a:pt x="29232" y="199961"/>
                    </a:lnTo>
                    <a:lnTo>
                      <a:pt x="27479" y="190249"/>
                    </a:lnTo>
                    <a:lnTo>
                      <a:pt x="34063" y="184681"/>
                    </a:lnTo>
                    <a:lnTo>
                      <a:pt x="35398" y="175522"/>
                    </a:lnTo>
                    <a:lnTo>
                      <a:pt x="27663" y="174118"/>
                    </a:lnTo>
                    <a:lnTo>
                      <a:pt x="21602" y="178378"/>
                    </a:lnTo>
                    <a:lnTo>
                      <a:pt x="17433" y="177720"/>
                    </a:lnTo>
                    <a:lnTo>
                      <a:pt x="10656" y="170562"/>
                    </a:lnTo>
                    <a:lnTo>
                      <a:pt x="0" y="153812"/>
                    </a:lnTo>
                    <a:lnTo>
                      <a:pt x="5594" y="149412"/>
                    </a:lnTo>
                    <a:lnTo>
                      <a:pt x="19378" y="146706"/>
                    </a:lnTo>
                    <a:lnTo>
                      <a:pt x="20399" y="147314"/>
                    </a:lnTo>
                    <a:lnTo>
                      <a:pt x="19539" y="150414"/>
                    </a:lnTo>
                    <a:lnTo>
                      <a:pt x="22143" y="150888"/>
                    </a:lnTo>
                    <a:lnTo>
                      <a:pt x="24575" y="146057"/>
                    </a:lnTo>
                    <a:lnTo>
                      <a:pt x="26895" y="145266"/>
                    </a:lnTo>
                    <a:lnTo>
                      <a:pt x="33460" y="151385"/>
                    </a:lnTo>
                    <a:lnTo>
                      <a:pt x="44131" y="153468"/>
                    </a:lnTo>
                    <a:lnTo>
                      <a:pt x="50487" y="156604"/>
                    </a:lnTo>
                    <a:lnTo>
                      <a:pt x="60749" y="157521"/>
                    </a:lnTo>
                    <a:lnTo>
                      <a:pt x="67491" y="165105"/>
                    </a:lnTo>
                    <a:lnTo>
                      <a:pt x="71340" y="166707"/>
                    </a:lnTo>
                    <a:lnTo>
                      <a:pt x="81957" y="162825"/>
                    </a:lnTo>
                    <a:lnTo>
                      <a:pt x="84398" y="156187"/>
                    </a:lnTo>
                    <a:lnTo>
                      <a:pt x="79013" y="149534"/>
                    </a:lnTo>
                    <a:lnTo>
                      <a:pt x="80317" y="145475"/>
                    </a:lnTo>
                    <a:lnTo>
                      <a:pt x="84742" y="140681"/>
                    </a:lnTo>
                    <a:lnTo>
                      <a:pt x="83191" y="137326"/>
                    </a:lnTo>
                    <a:lnTo>
                      <a:pt x="78502" y="134484"/>
                    </a:lnTo>
                    <a:lnTo>
                      <a:pt x="78716" y="126840"/>
                    </a:lnTo>
                    <a:lnTo>
                      <a:pt x="75745" y="114705"/>
                    </a:lnTo>
                    <a:lnTo>
                      <a:pt x="77798" y="106173"/>
                    </a:lnTo>
                    <a:lnTo>
                      <a:pt x="76052" y="102812"/>
                    </a:lnTo>
                    <a:lnTo>
                      <a:pt x="70233" y="99455"/>
                    </a:lnTo>
                    <a:lnTo>
                      <a:pt x="71214" y="90408"/>
                    </a:lnTo>
                    <a:lnTo>
                      <a:pt x="69280" y="82283"/>
                    </a:lnTo>
                    <a:lnTo>
                      <a:pt x="61713" y="69520"/>
                    </a:lnTo>
                    <a:lnTo>
                      <a:pt x="58760" y="57609"/>
                    </a:lnTo>
                    <a:lnTo>
                      <a:pt x="62532" y="56232"/>
                    </a:lnTo>
                    <a:lnTo>
                      <a:pt x="75137" y="58158"/>
                    </a:lnTo>
                    <a:lnTo>
                      <a:pt x="78292" y="56380"/>
                    </a:lnTo>
                    <a:lnTo>
                      <a:pt x="81682" y="50992"/>
                    </a:lnTo>
                    <a:lnTo>
                      <a:pt x="86489" y="48853"/>
                    </a:lnTo>
                    <a:lnTo>
                      <a:pt x="96510" y="53465"/>
                    </a:lnTo>
                    <a:lnTo>
                      <a:pt x="98957" y="50538"/>
                    </a:lnTo>
                    <a:lnTo>
                      <a:pt x="96008" y="41800"/>
                    </a:lnTo>
                    <a:lnTo>
                      <a:pt x="100315" y="31388"/>
                    </a:lnTo>
                    <a:lnTo>
                      <a:pt x="98443" y="21033"/>
                    </a:lnTo>
                    <a:lnTo>
                      <a:pt x="107898" y="19721"/>
                    </a:lnTo>
                    <a:lnTo>
                      <a:pt x="120750" y="18514"/>
                    </a:lnTo>
                    <a:lnTo>
                      <a:pt x="122012" y="16356"/>
                    </a:lnTo>
                    <a:lnTo>
                      <a:pt x="119700" y="11762"/>
                    </a:lnTo>
                    <a:lnTo>
                      <a:pt x="128393" y="4605"/>
                    </a:lnTo>
                    <a:lnTo>
                      <a:pt x="165191" y="4141"/>
                    </a:lnTo>
                    <a:lnTo>
                      <a:pt x="195244" y="8600"/>
                    </a:lnTo>
                    <a:lnTo>
                      <a:pt x="197467" y="7480"/>
                    </a:lnTo>
                    <a:lnTo>
                      <a:pt x="197162" y="2178"/>
                    </a:lnTo>
                    <a:lnTo>
                      <a:pt x="205118" y="0"/>
                    </a:lnTo>
                    <a:lnTo>
                      <a:pt x="209266" y="1047"/>
                    </a:lnTo>
                    <a:lnTo>
                      <a:pt x="211788" y="530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5" name="Freeform 36">
                <a:extLst>
                  <a:ext uri="{FF2B5EF4-FFF2-40B4-BE49-F238E27FC236}">
                    <a16:creationId xmlns:a16="http://schemas.microsoft.com/office/drawing/2014/main" id="{24D2F117-6240-8593-E7B0-67FC3BC8BEAB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>
              <a:xfrm>
                <a:off x="4997572" y="5316469"/>
                <a:ext cx="33698" cy="32491"/>
              </a:xfrm>
              <a:custGeom>
                <a:avLst/>
                <a:gdLst/>
                <a:ahLst/>
                <a:cxnLst/>
                <a:rect l="0" t="0" r="0" b="0"/>
                <a:pathLst>
                  <a:path w="34599" h="33360">
                    <a:moveTo>
                      <a:pt x="32111" y="33359"/>
                    </a:moveTo>
                    <a:lnTo>
                      <a:pt x="32107" y="33355"/>
                    </a:lnTo>
                    <a:lnTo>
                      <a:pt x="27025" y="27473"/>
                    </a:lnTo>
                    <a:lnTo>
                      <a:pt x="3" y="13215"/>
                    </a:lnTo>
                    <a:lnTo>
                      <a:pt x="0" y="13214"/>
                    </a:lnTo>
                    <a:lnTo>
                      <a:pt x="449" y="8058"/>
                    </a:lnTo>
                    <a:lnTo>
                      <a:pt x="1718" y="4805"/>
                    </a:lnTo>
                    <a:lnTo>
                      <a:pt x="5384" y="1997"/>
                    </a:lnTo>
                    <a:lnTo>
                      <a:pt x="11791" y="206"/>
                    </a:lnTo>
                    <a:lnTo>
                      <a:pt x="18922" y="0"/>
                    </a:lnTo>
                    <a:lnTo>
                      <a:pt x="26480" y="3007"/>
                    </a:lnTo>
                    <a:lnTo>
                      <a:pt x="33784" y="8714"/>
                    </a:lnTo>
                    <a:lnTo>
                      <a:pt x="34598" y="13545"/>
                    </a:lnTo>
                    <a:lnTo>
                      <a:pt x="34456" y="20006"/>
                    </a:lnTo>
                    <a:lnTo>
                      <a:pt x="32984" y="2812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6" name="Freeform 37">
                <a:extLst>
                  <a:ext uri="{FF2B5EF4-FFF2-40B4-BE49-F238E27FC236}">
                    <a16:creationId xmlns:a16="http://schemas.microsoft.com/office/drawing/2014/main" id="{F8A57AD1-5D3A-F986-9191-9E1ED927553F}"/>
                  </a:ext>
                </a:extLst>
              </p:cNvPr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>
              <a:xfrm>
                <a:off x="5115772" y="4847082"/>
                <a:ext cx="69891" cy="91225"/>
              </a:xfrm>
              <a:custGeom>
                <a:avLst/>
                <a:gdLst/>
                <a:ahLst/>
                <a:cxnLst/>
                <a:rect l="0" t="0" r="0" b="0"/>
                <a:pathLst>
                  <a:path w="71759" h="93664">
                    <a:moveTo>
                      <a:pt x="71758" y="35838"/>
                    </a:moveTo>
                    <a:lnTo>
                      <a:pt x="61606" y="44841"/>
                    </a:lnTo>
                    <a:lnTo>
                      <a:pt x="60794" y="45841"/>
                    </a:lnTo>
                    <a:lnTo>
                      <a:pt x="62559" y="49169"/>
                    </a:lnTo>
                    <a:lnTo>
                      <a:pt x="56794" y="52045"/>
                    </a:lnTo>
                    <a:lnTo>
                      <a:pt x="52730" y="58685"/>
                    </a:lnTo>
                    <a:lnTo>
                      <a:pt x="57518" y="59248"/>
                    </a:lnTo>
                    <a:lnTo>
                      <a:pt x="59545" y="62447"/>
                    </a:lnTo>
                    <a:lnTo>
                      <a:pt x="58855" y="71622"/>
                    </a:lnTo>
                    <a:lnTo>
                      <a:pt x="54461" y="78058"/>
                    </a:lnTo>
                    <a:lnTo>
                      <a:pt x="57776" y="87904"/>
                    </a:lnTo>
                    <a:lnTo>
                      <a:pt x="54339" y="93395"/>
                    </a:lnTo>
                    <a:lnTo>
                      <a:pt x="47466" y="93663"/>
                    </a:lnTo>
                    <a:lnTo>
                      <a:pt x="38948" y="93299"/>
                    </a:lnTo>
                    <a:lnTo>
                      <a:pt x="25405" y="83461"/>
                    </a:lnTo>
                    <a:lnTo>
                      <a:pt x="10922" y="70901"/>
                    </a:lnTo>
                    <a:lnTo>
                      <a:pt x="3687" y="62454"/>
                    </a:lnTo>
                    <a:lnTo>
                      <a:pt x="6170" y="59815"/>
                    </a:lnTo>
                    <a:lnTo>
                      <a:pt x="6064" y="52923"/>
                    </a:lnTo>
                    <a:lnTo>
                      <a:pt x="10943" y="51560"/>
                    </a:lnTo>
                    <a:lnTo>
                      <a:pt x="12634" y="50441"/>
                    </a:lnTo>
                    <a:lnTo>
                      <a:pt x="12466" y="47474"/>
                    </a:lnTo>
                    <a:lnTo>
                      <a:pt x="6675" y="42491"/>
                    </a:lnTo>
                    <a:lnTo>
                      <a:pt x="2991" y="36245"/>
                    </a:lnTo>
                    <a:lnTo>
                      <a:pt x="262" y="34960"/>
                    </a:lnTo>
                    <a:lnTo>
                      <a:pt x="0" y="31157"/>
                    </a:lnTo>
                    <a:lnTo>
                      <a:pt x="12157" y="26367"/>
                    </a:lnTo>
                    <a:lnTo>
                      <a:pt x="15013" y="22321"/>
                    </a:lnTo>
                    <a:lnTo>
                      <a:pt x="14768" y="19257"/>
                    </a:lnTo>
                    <a:lnTo>
                      <a:pt x="16302" y="16752"/>
                    </a:lnTo>
                    <a:lnTo>
                      <a:pt x="23540" y="18495"/>
                    </a:lnTo>
                    <a:lnTo>
                      <a:pt x="26638" y="12433"/>
                    </a:lnTo>
                    <a:lnTo>
                      <a:pt x="34398" y="12455"/>
                    </a:lnTo>
                    <a:lnTo>
                      <a:pt x="51377" y="0"/>
                    </a:lnTo>
                    <a:lnTo>
                      <a:pt x="59431" y="6420"/>
                    </a:lnTo>
                    <a:lnTo>
                      <a:pt x="57420" y="17357"/>
                    </a:lnTo>
                    <a:lnTo>
                      <a:pt x="68052" y="2780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7" name="Freeform 38">
                <a:extLst>
                  <a:ext uri="{FF2B5EF4-FFF2-40B4-BE49-F238E27FC236}">
                    <a16:creationId xmlns:a16="http://schemas.microsoft.com/office/drawing/2014/main" id="{6A70FE17-C6BE-F07F-7074-8D3011110F0B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>
              <a:xfrm>
                <a:off x="4704553" y="4887256"/>
                <a:ext cx="245144" cy="198978"/>
              </a:xfrm>
              <a:custGeom>
                <a:avLst/>
                <a:gdLst/>
                <a:ahLst/>
                <a:cxnLst/>
                <a:rect l="0" t="0" r="0" b="0"/>
                <a:pathLst>
                  <a:path w="251697" h="204297">
                    <a:moveTo>
                      <a:pt x="240324" y="29540"/>
                    </a:moveTo>
                    <a:lnTo>
                      <a:pt x="248776" y="27953"/>
                    </a:lnTo>
                    <a:lnTo>
                      <a:pt x="250903" y="29390"/>
                    </a:lnTo>
                    <a:lnTo>
                      <a:pt x="245989" y="39270"/>
                    </a:lnTo>
                    <a:lnTo>
                      <a:pt x="241919" y="43934"/>
                    </a:lnTo>
                    <a:lnTo>
                      <a:pt x="241840" y="45921"/>
                    </a:lnTo>
                    <a:lnTo>
                      <a:pt x="241040" y="55429"/>
                    </a:lnTo>
                    <a:lnTo>
                      <a:pt x="250119" y="60610"/>
                    </a:lnTo>
                    <a:lnTo>
                      <a:pt x="251682" y="62703"/>
                    </a:lnTo>
                    <a:lnTo>
                      <a:pt x="251696" y="65664"/>
                    </a:lnTo>
                    <a:lnTo>
                      <a:pt x="244041" y="74133"/>
                    </a:lnTo>
                    <a:lnTo>
                      <a:pt x="246228" y="80238"/>
                    </a:lnTo>
                    <a:lnTo>
                      <a:pt x="241547" y="84502"/>
                    </a:lnTo>
                    <a:lnTo>
                      <a:pt x="237544" y="95206"/>
                    </a:lnTo>
                    <a:lnTo>
                      <a:pt x="237295" y="117406"/>
                    </a:lnTo>
                    <a:lnTo>
                      <a:pt x="230401" y="126065"/>
                    </a:lnTo>
                    <a:lnTo>
                      <a:pt x="234462" y="130735"/>
                    </a:lnTo>
                    <a:lnTo>
                      <a:pt x="237708" y="142552"/>
                    </a:lnTo>
                    <a:lnTo>
                      <a:pt x="238878" y="152701"/>
                    </a:lnTo>
                    <a:lnTo>
                      <a:pt x="245892" y="159525"/>
                    </a:lnTo>
                    <a:lnTo>
                      <a:pt x="246677" y="162054"/>
                    </a:lnTo>
                    <a:lnTo>
                      <a:pt x="245527" y="164353"/>
                    </a:lnTo>
                    <a:lnTo>
                      <a:pt x="237412" y="162698"/>
                    </a:lnTo>
                    <a:lnTo>
                      <a:pt x="233171" y="161876"/>
                    </a:lnTo>
                    <a:lnTo>
                      <a:pt x="227801" y="169005"/>
                    </a:lnTo>
                    <a:lnTo>
                      <a:pt x="221858" y="170646"/>
                    </a:lnTo>
                    <a:lnTo>
                      <a:pt x="219830" y="171209"/>
                    </a:lnTo>
                    <a:lnTo>
                      <a:pt x="215290" y="170199"/>
                    </a:lnTo>
                    <a:lnTo>
                      <a:pt x="210611" y="157317"/>
                    </a:lnTo>
                    <a:lnTo>
                      <a:pt x="208144" y="155991"/>
                    </a:lnTo>
                    <a:lnTo>
                      <a:pt x="206875" y="158133"/>
                    </a:lnTo>
                    <a:lnTo>
                      <a:pt x="205888" y="166863"/>
                    </a:lnTo>
                    <a:lnTo>
                      <a:pt x="202170" y="171941"/>
                    </a:lnTo>
                    <a:lnTo>
                      <a:pt x="194081" y="165745"/>
                    </a:lnTo>
                    <a:lnTo>
                      <a:pt x="188938" y="166173"/>
                    </a:lnTo>
                    <a:lnTo>
                      <a:pt x="189221" y="169997"/>
                    </a:lnTo>
                    <a:lnTo>
                      <a:pt x="193636" y="176050"/>
                    </a:lnTo>
                    <a:lnTo>
                      <a:pt x="192357" y="178201"/>
                    </a:lnTo>
                    <a:lnTo>
                      <a:pt x="187330" y="174165"/>
                    </a:lnTo>
                    <a:lnTo>
                      <a:pt x="176703" y="170048"/>
                    </a:lnTo>
                    <a:lnTo>
                      <a:pt x="174483" y="171161"/>
                    </a:lnTo>
                    <a:lnTo>
                      <a:pt x="174837" y="178892"/>
                    </a:lnTo>
                    <a:lnTo>
                      <a:pt x="170210" y="181120"/>
                    </a:lnTo>
                    <a:lnTo>
                      <a:pt x="165440" y="176855"/>
                    </a:lnTo>
                    <a:lnTo>
                      <a:pt x="148903" y="170184"/>
                    </a:lnTo>
                    <a:lnTo>
                      <a:pt x="138810" y="187148"/>
                    </a:lnTo>
                    <a:lnTo>
                      <a:pt x="127675" y="199138"/>
                    </a:lnTo>
                    <a:lnTo>
                      <a:pt x="117462" y="195905"/>
                    </a:lnTo>
                    <a:lnTo>
                      <a:pt x="106110" y="203423"/>
                    </a:lnTo>
                    <a:lnTo>
                      <a:pt x="98610" y="204296"/>
                    </a:lnTo>
                    <a:lnTo>
                      <a:pt x="94836" y="200114"/>
                    </a:lnTo>
                    <a:lnTo>
                      <a:pt x="95045" y="197031"/>
                    </a:lnTo>
                    <a:lnTo>
                      <a:pt x="98051" y="190823"/>
                    </a:lnTo>
                    <a:lnTo>
                      <a:pt x="94886" y="186956"/>
                    </a:lnTo>
                    <a:lnTo>
                      <a:pt x="89681" y="186712"/>
                    </a:lnTo>
                    <a:lnTo>
                      <a:pt x="91622" y="193157"/>
                    </a:lnTo>
                    <a:lnTo>
                      <a:pt x="81263" y="192579"/>
                    </a:lnTo>
                    <a:lnTo>
                      <a:pt x="76324" y="197954"/>
                    </a:lnTo>
                    <a:lnTo>
                      <a:pt x="73426" y="198313"/>
                    </a:lnTo>
                    <a:lnTo>
                      <a:pt x="71731" y="194844"/>
                    </a:lnTo>
                    <a:lnTo>
                      <a:pt x="73228" y="188881"/>
                    </a:lnTo>
                    <a:lnTo>
                      <a:pt x="73672" y="183149"/>
                    </a:lnTo>
                    <a:lnTo>
                      <a:pt x="72734" y="182313"/>
                    </a:lnTo>
                    <a:lnTo>
                      <a:pt x="57057" y="177761"/>
                    </a:lnTo>
                    <a:lnTo>
                      <a:pt x="49062" y="181364"/>
                    </a:lnTo>
                    <a:lnTo>
                      <a:pt x="46986" y="173535"/>
                    </a:lnTo>
                    <a:lnTo>
                      <a:pt x="36299" y="169035"/>
                    </a:lnTo>
                    <a:lnTo>
                      <a:pt x="35504" y="168630"/>
                    </a:lnTo>
                    <a:lnTo>
                      <a:pt x="35481" y="168619"/>
                    </a:lnTo>
                    <a:lnTo>
                      <a:pt x="43973" y="159414"/>
                    </a:lnTo>
                    <a:lnTo>
                      <a:pt x="51922" y="148177"/>
                    </a:lnTo>
                    <a:lnTo>
                      <a:pt x="55976" y="145837"/>
                    </a:lnTo>
                    <a:lnTo>
                      <a:pt x="66069" y="142150"/>
                    </a:lnTo>
                    <a:lnTo>
                      <a:pt x="69890" y="138551"/>
                    </a:lnTo>
                    <a:lnTo>
                      <a:pt x="71665" y="134141"/>
                    </a:lnTo>
                    <a:lnTo>
                      <a:pt x="70987" y="129814"/>
                    </a:lnTo>
                    <a:lnTo>
                      <a:pt x="67465" y="126478"/>
                    </a:lnTo>
                    <a:lnTo>
                      <a:pt x="66536" y="133579"/>
                    </a:lnTo>
                    <a:lnTo>
                      <a:pt x="62337" y="137634"/>
                    </a:lnTo>
                    <a:lnTo>
                      <a:pt x="56911" y="139498"/>
                    </a:lnTo>
                    <a:lnTo>
                      <a:pt x="52218" y="139998"/>
                    </a:lnTo>
                    <a:lnTo>
                      <a:pt x="47791" y="141751"/>
                    </a:lnTo>
                    <a:lnTo>
                      <a:pt x="44590" y="145944"/>
                    </a:lnTo>
                    <a:lnTo>
                      <a:pt x="41784" y="151110"/>
                    </a:lnTo>
                    <a:lnTo>
                      <a:pt x="38490" y="155816"/>
                    </a:lnTo>
                    <a:lnTo>
                      <a:pt x="24489" y="165408"/>
                    </a:lnTo>
                    <a:lnTo>
                      <a:pt x="22280" y="167859"/>
                    </a:lnTo>
                    <a:lnTo>
                      <a:pt x="20172" y="171614"/>
                    </a:lnTo>
                    <a:lnTo>
                      <a:pt x="4928" y="190241"/>
                    </a:lnTo>
                    <a:lnTo>
                      <a:pt x="3137" y="182350"/>
                    </a:lnTo>
                    <a:lnTo>
                      <a:pt x="2977" y="178789"/>
                    </a:lnTo>
                    <a:lnTo>
                      <a:pt x="1750" y="176276"/>
                    </a:lnTo>
                    <a:lnTo>
                      <a:pt x="455" y="174344"/>
                    </a:lnTo>
                    <a:lnTo>
                      <a:pt x="309" y="173161"/>
                    </a:lnTo>
                    <a:lnTo>
                      <a:pt x="875" y="172268"/>
                    </a:lnTo>
                    <a:lnTo>
                      <a:pt x="4608" y="170659"/>
                    </a:lnTo>
                    <a:lnTo>
                      <a:pt x="5585" y="169236"/>
                    </a:lnTo>
                    <a:lnTo>
                      <a:pt x="5548" y="167983"/>
                    </a:lnTo>
                    <a:lnTo>
                      <a:pt x="5088" y="166202"/>
                    </a:lnTo>
                    <a:lnTo>
                      <a:pt x="4306" y="164099"/>
                    </a:lnTo>
                    <a:lnTo>
                      <a:pt x="2473" y="157436"/>
                    </a:lnTo>
                    <a:lnTo>
                      <a:pt x="339" y="152298"/>
                    </a:lnTo>
                    <a:lnTo>
                      <a:pt x="0" y="150316"/>
                    </a:lnTo>
                    <a:lnTo>
                      <a:pt x="131" y="148727"/>
                    </a:lnTo>
                    <a:lnTo>
                      <a:pt x="1648" y="146362"/>
                    </a:lnTo>
                    <a:lnTo>
                      <a:pt x="2415" y="144754"/>
                    </a:lnTo>
                    <a:lnTo>
                      <a:pt x="3180" y="141873"/>
                    </a:lnTo>
                    <a:lnTo>
                      <a:pt x="3243" y="139751"/>
                    </a:lnTo>
                    <a:lnTo>
                      <a:pt x="1668" y="136451"/>
                    </a:lnTo>
                    <a:lnTo>
                      <a:pt x="724" y="133885"/>
                    </a:lnTo>
                    <a:lnTo>
                      <a:pt x="597" y="131084"/>
                    </a:lnTo>
                    <a:lnTo>
                      <a:pt x="964" y="128750"/>
                    </a:lnTo>
                    <a:lnTo>
                      <a:pt x="1775" y="125574"/>
                    </a:lnTo>
                    <a:lnTo>
                      <a:pt x="6796" y="117456"/>
                    </a:lnTo>
                    <a:lnTo>
                      <a:pt x="8423" y="112029"/>
                    </a:lnTo>
                    <a:lnTo>
                      <a:pt x="8079" y="112235"/>
                    </a:lnTo>
                    <a:lnTo>
                      <a:pt x="8252" y="112012"/>
                    </a:lnTo>
                    <a:lnTo>
                      <a:pt x="8307" y="111943"/>
                    </a:lnTo>
                    <a:lnTo>
                      <a:pt x="9521" y="102374"/>
                    </a:lnTo>
                    <a:lnTo>
                      <a:pt x="10868" y="99932"/>
                    </a:lnTo>
                    <a:lnTo>
                      <a:pt x="12441" y="99914"/>
                    </a:lnTo>
                    <a:lnTo>
                      <a:pt x="14736" y="105928"/>
                    </a:lnTo>
                    <a:lnTo>
                      <a:pt x="19884" y="102473"/>
                    </a:lnTo>
                    <a:lnTo>
                      <a:pt x="22864" y="103189"/>
                    </a:lnTo>
                    <a:lnTo>
                      <a:pt x="24437" y="99458"/>
                    </a:lnTo>
                    <a:lnTo>
                      <a:pt x="31022" y="96615"/>
                    </a:lnTo>
                    <a:lnTo>
                      <a:pt x="38324" y="97569"/>
                    </a:lnTo>
                    <a:lnTo>
                      <a:pt x="41508" y="89473"/>
                    </a:lnTo>
                    <a:lnTo>
                      <a:pt x="49865" y="88296"/>
                    </a:lnTo>
                    <a:lnTo>
                      <a:pt x="58253" y="82871"/>
                    </a:lnTo>
                    <a:lnTo>
                      <a:pt x="59070" y="80214"/>
                    </a:lnTo>
                    <a:lnTo>
                      <a:pt x="58288" y="75664"/>
                    </a:lnTo>
                    <a:lnTo>
                      <a:pt x="53298" y="70216"/>
                    </a:lnTo>
                    <a:lnTo>
                      <a:pt x="51891" y="63434"/>
                    </a:lnTo>
                    <a:lnTo>
                      <a:pt x="46867" y="59594"/>
                    </a:lnTo>
                    <a:lnTo>
                      <a:pt x="47378" y="53102"/>
                    </a:lnTo>
                    <a:lnTo>
                      <a:pt x="49995" y="48614"/>
                    </a:lnTo>
                    <a:lnTo>
                      <a:pt x="48835" y="44593"/>
                    </a:lnTo>
                    <a:lnTo>
                      <a:pt x="51395" y="35960"/>
                    </a:lnTo>
                    <a:lnTo>
                      <a:pt x="56011" y="38345"/>
                    </a:lnTo>
                    <a:lnTo>
                      <a:pt x="58919" y="45511"/>
                    </a:lnTo>
                    <a:lnTo>
                      <a:pt x="62801" y="47370"/>
                    </a:lnTo>
                    <a:lnTo>
                      <a:pt x="67424" y="45289"/>
                    </a:lnTo>
                    <a:lnTo>
                      <a:pt x="73060" y="38514"/>
                    </a:lnTo>
                    <a:lnTo>
                      <a:pt x="77135" y="37780"/>
                    </a:lnTo>
                    <a:lnTo>
                      <a:pt x="79457" y="37350"/>
                    </a:lnTo>
                    <a:lnTo>
                      <a:pt x="84883" y="45873"/>
                    </a:lnTo>
                    <a:lnTo>
                      <a:pt x="87670" y="53036"/>
                    </a:lnTo>
                    <a:lnTo>
                      <a:pt x="100945" y="56967"/>
                    </a:lnTo>
                    <a:lnTo>
                      <a:pt x="105062" y="56364"/>
                    </a:lnTo>
                    <a:lnTo>
                      <a:pt x="111041" y="46075"/>
                    </a:lnTo>
                    <a:lnTo>
                      <a:pt x="118906" y="47102"/>
                    </a:lnTo>
                    <a:lnTo>
                      <a:pt x="122336" y="44297"/>
                    </a:lnTo>
                    <a:lnTo>
                      <a:pt x="118399" y="39629"/>
                    </a:lnTo>
                    <a:lnTo>
                      <a:pt x="119571" y="29480"/>
                    </a:lnTo>
                    <a:lnTo>
                      <a:pt x="120900" y="26909"/>
                    </a:lnTo>
                    <a:lnTo>
                      <a:pt x="132605" y="26063"/>
                    </a:lnTo>
                    <a:lnTo>
                      <a:pt x="126174" y="39884"/>
                    </a:lnTo>
                    <a:lnTo>
                      <a:pt x="129381" y="44051"/>
                    </a:lnTo>
                    <a:lnTo>
                      <a:pt x="134978" y="39170"/>
                    </a:lnTo>
                    <a:lnTo>
                      <a:pt x="143014" y="39018"/>
                    </a:lnTo>
                    <a:lnTo>
                      <a:pt x="152681" y="41810"/>
                    </a:lnTo>
                    <a:lnTo>
                      <a:pt x="166590" y="31540"/>
                    </a:lnTo>
                    <a:lnTo>
                      <a:pt x="173289" y="29821"/>
                    </a:lnTo>
                    <a:lnTo>
                      <a:pt x="178862" y="30966"/>
                    </a:lnTo>
                    <a:lnTo>
                      <a:pt x="182228" y="29196"/>
                    </a:lnTo>
                    <a:lnTo>
                      <a:pt x="188203" y="30349"/>
                    </a:lnTo>
                    <a:lnTo>
                      <a:pt x="196659" y="37902"/>
                    </a:lnTo>
                    <a:lnTo>
                      <a:pt x="199405" y="37741"/>
                    </a:lnTo>
                    <a:lnTo>
                      <a:pt x="200870" y="33365"/>
                    </a:lnTo>
                    <a:lnTo>
                      <a:pt x="200159" y="27633"/>
                    </a:lnTo>
                    <a:lnTo>
                      <a:pt x="195099" y="20541"/>
                    </a:lnTo>
                    <a:lnTo>
                      <a:pt x="191421" y="18708"/>
                    </a:lnTo>
                    <a:lnTo>
                      <a:pt x="191572" y="17006"/>
                    </a:lnTo>
                    <a:lnTo>
                      <a:pt x="196245" y="12972"/>
                    </a:lnTo>
                    <a:lnTo>
                      <a:pt x="203132" y="14407"/>
                    </a:lnTo>
                    <a:lnTo>
                      <a:pt x="211221" y="2757"/>
                    </a:lnTo>
                    <a:lnTo>
                      <a:pt x="215981" y="0"/>
                    </a:lnTo>
                    <a:lnTo>
                      <a:pt x="221016" y="6139"/>
                    </a:lnTo>
                    <a:lnTo>
                      <a:pt x="226013" y="7717"/>
                    </a:lnTo>
                    <a:lnTo>
                      <a:pt x="228353" y="15183"/>
                    </a:lnTo>
                    <a:lnTo>
                      <a:pt x="236240" y="2805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8" name="Freeform 39">
                <a:extLst>
                  <a:ext uri="{FF2B5EF4-FFF2-40B4-BE49-F238E27FC236}">
                    <a16:creationId xmlns:a16="http://schemas.microsoft.com/office/drawing/2014/main" id="{531C62AA-5499-708B-87EB-7A3B089780A3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>
              <a:xfrm>
                <a:off x="5056758" y="4893710"/>
                <a:ext cx="160596" cy="218512"/>
              </a:xfrm>
              <a:custGeom>
                <a:avLst/>
                <a:gdLst/>
                <a:ahLst/>
                <a:cxnLst/>
                <a:rect l="0" t="0" r="0" b="0"/>
                <a:pathLst>
                  <a:path w="164889" h="224353">
                    <a:moveTo>
                      <a:pt x="56492" y="20687"/>
                    </a:moveTo>
                    <a:lnTo>
                      <a:pt x="59127" y="20039"/>
                    </a:lnTo>
                    <a:lnTo>
                      <a:pt x="64278" y="14580"/>
                    </a:lnTo>
                    <a:lnTo>
                      <a:pt x="71513" y="23027"/>
                    </a:lnTo>
                    <a:lnTo>
                      <a:pt x="85996" y="35587"/>
                    </a:lnTo>
                    <a:lnTo>
                      <a:pt x="99539" y="45425"/>
                    </a:lnTo>
                    <a:lnTo>
                      <a:pt x="108057" y="45789"/>
                    </a:lnTo>
                    <a:lnTo>
                      <a:pt x="114930" y="45521"/>
                    </a:lnTo>
                    <a:lnTo>
                      <a:pt x="112020" y="50158"/>
                    </a:lnTo>
                    <a:lnTo>
                      <a:pt x="108324" y="63044"/>
                    </a:lnTo>
                    <a:lnTo>
                      <a:pt x="114756" y="65243"/>
                    </a:lnTo>
                    <a:lnTo>
                      <a:pt x="123438" y="72548"/>
                    </a:lnTo>
                    <a:lnTo>
                      <a:pt x="128703" y="70954"/>
                    </a:lnTo>
                    <a:lnTo>
                      <a:pt x="138967" y="80203"/>
                    </a:lnTo>
                    <a:lnTo>
                      <a:pt x="141622" y="86160"/>
                    </a:lnTo>
                    <a:lnTo>
                      <a:pt x="145744" y="90545"/>
                    </a:lnTo>
                    <a:lnTo>
                      <a:pt x="145993" y="93410"/>
                    </a:lnTo>
                    <a:lnTo>
                      <a:pt x="141629" y="92739"/>
                    </a:lnTo>
                    <a:lnTo>
                      <a:pt x="135438" y="100734"/>
                    </a:lnTo>
                    <a:lnTo>
                      <a:pt x="127186" y="97884"/>
                    </a:lnTo>
                    <a:lnTo>
                      <a:pt x="117716" y="97617"/>
                    </a:lnTo>
                    <a:lnTo>
                      <a:pt x="112143" y="91039"/>
                    </a:lnTo>
                    <a:lnTo>
                      <a:pt x="113143" y="88134"/>
                    </a:lnTo>
                    <a:lnTo>
                      <a:pt x="112398" y="85724"/>
                    </a:lnTo>
                    <a:lnTo>
                      <a:pt x="105948" y="83426"/>
                    </a:lnTo>
                    <a:lnTo>
                      <a:pt x="103212" y="84055"/>
                    </a:lnTo>
                    <a:lnTo>
                      <a:pt x="99507" y="92059"/>
                    </a:lnTo>
                    <a:lnTo>
                      <a:pt x="104563" y="98977"/>
                    </a:lnTo>
                    <a:lnTo>
                      <a:pt x="107660" y="99282"/>
                    </a:lnTo>
                    <a:lnTo>
                      <a:pt x="112165" y="103790"/>
                    </a:lnTo>
                    <a:lnTo>
                      <a:pt x="113490" y="107452"/>
                    </a:lnTo>
                    <a:lnTo>
                      <a:pt x="113666" y="113807"/>
                    </a:lnTo>
                    <a:lnTo>
                      <a:pt x="116579" y="117842"/>
                    </a:lnTo>
                    <a:lnTo>
                      <a:pt x="123943" y="121265"/>
                    </a:lnTo>
                    <a:lnTo>
                      <a:pt x="134002" y="120766"/>
                    </a:lnTo>
                    <a:lnTo>
                      <a:pt x="139965" y="127005"/>
                    </a:lnTo>
                    <a:lnTo>
                      <a:pt x="145383" y="124117"/>
                    </a:lnTo>
                    <a:lnTo>
                      <a:pt x="148931" y="125572"/>
                    </a:lnTo>
                    <a:lnTo>
                      <a:pt x="149761" y="128087"/>
                    </a:lnTo>
                    <a:lnTo>
                      <a:pt x="144087" y="132883"/>
                    </a:lnTo>
                    <a:lnTo>
                      <a:pt x="143606" y="135866"/>
                    </a:lnTo>
                    <a:lnTo>
                      <a:pt x="146538" y="141495"/>
                    </a:lnTo>
                    <a:lnTo>
                      <a:pt x="147349" y="148575"/>
                    </a:lnTo>
                    <a:lnTo>
                      <a:pt x="154523" y="146680"/>
                    </a:lnTo>
                    <a:lnTo>
                      <a:pt x="156880" y="147965"/>
                    </a:lnTo>
                    <a:lnTo>
                      <a:pt x="156738" y="150955"/>
                    </a:lnTo>
                    <a:lnTo>
                      <a:pt x="151026" y="161375"/>
                    </a:lnTo>
                    <a:lnTo>
                      <a:pt x="150869" y="167546"/>
                    </a:lnTo>
                    <a:lnTo>
                      <a:pt x="152795" y="174054"/>
                    </a:lnTo>
                    <a:lnTo>
                      <a:pt x="159024" y="180208"/>
                    </a:lnTo>
                    <a:lnTo>
                      <a:pt x="164888" y="195632"/>
                    </a:lnTo>
                    <a:lnTo>
                      <a:pt x="162658" y="216972"/>
                    </a:lnTo>
                    <a:lnTo>
                      <a:pt x="159886" y="223430"/>
                    </a:lnTo>
                    <a:lnTo>
                      <a:pt x="156205" y="224352"/>
                    </a:lnTo>
                    <a:lnTo>
                      <a:pt x="154106" y="219776"/>
                    </a:lnTo>
                    <a:lnTo>
                      <a:pt x="154321" y="215183"/>
                    </a:lnTo>
                    <a:lnTo>
                      <a:pt x="153167" y="212801"/>
                    </a:lnTo>
                    <a:lnTo>
                      <a:pt x="145129" y="213969"/>
                    </a:lnTo>
                    <a:lnTo>
                      <a:pt x="143939" y="207231"/>
                    </a:lnTo>
                    <a:lnTo>
                      <a:pt x="142146" y="205289"/>
                    </a:lnTo>
                    <a:lnTo>
                      <a:pt x="139519" y="205710"/>
                    </a:lnTo>
                    <a:lnTo>
                      <a:pt x="138219" y="207995"/>
                    </a:lnTo>
                    <a:lnTo>
                      <a:pt x="130681" y="204582"/>
                    </a:lnTo>
                    <a:lnTo>
                      <a:pt x="124144" y="206322"/>
                    </a:lnTo>
                    <a:lnTo>
                      <a:pt x="122978" y="208799"/>
                    </a:lnTo>
                    <a:lnTo>
                      <a:pt x="124734" y="215110"/>
                    </a:lnTo>
                    <a:lnTo>
                      <a:pt x="126589" y="218691"/>
                    </a:lnTo>
                    <a:lnTo>
                      <a:pt x="120555" y="219739"/>
                    </a:lnTo>
                    <a:lnTo>
                      <a:pt x="116463" y="218949"/>
                    </a:lnTo>
                    <a:lnTo>
                      <a:pt x="110905" y="214167"/>
                    </a:lnTo>
                    <a:lnTo>
                      <a:pt x="111201" y="210264"/>
                    </a:lnTo>
                    <a:lnTo>
                      <a:pt x="113539" y="205433"/>
                    </a:lnTo>
                    <a:lnTo>
                      <a:pt x="114035" y="197927"/>
                    </a:lnTo>
                    <a:lnTo>
                      <a:pt x="111223" y="194264"/>
                    </a:lnTo>
                    <a:lnTo>
                      <a:pt x="105905" y="192877"/>
                    </a:lnTo>
                    <a:lnTo>
                      <a:pt x="100175" y="193600"/>
                    </a:lnTo>
                    <a:lnTo>
                      <a:pt x="96107" y="196242"/>
                    </a:lnTo>
                    <a:lnTo>
                      <a:pt x="92861" y="195890"/>
                    </a:lnTo>
                    <a:lnTo>
                      <a:pt x="75947" y="201968"/>
                    </a:lnTo>
                    <a:lnTo>
                      <a:pt x="70569" y="200781"/>
                    </a:lnTo>
                    <a:lnTo>
                      <a:pt x="67305" y="199012"/>
                    </a:lnTo>
                    <a:lnTo>
                      <a:pt x="66191" y="200178"/>
                    </a:lnTo>
                    <a:lnTo>
                      <a:pt x="55227" y="192007"/>
                    </a:lnTo>
                    <a:lnTo>
                      <a:pt x="55881" y="187846"/>
                    </a:lnTo>
                    <a:lnTo>
                      <a:pt x="59721" y="184520"/>
                    </a:lnTo>
                    <a:lnTo>
                      <a:pt x="59891" y="181650"/>
                    </a:lnTo>
                    <a:lnTo>
                      <a:pt x="58368" y="179689"/>
                    </a:lnTo>
                    <a:lnTo>
                      <a:pt x="54578" y="180673"/>
                    </a:lnTo>
                    <a:lnTo>
                      <a:pt x="51619" y="173548"/>
                    </a:lnTo>
                    <a:lnTo>
                      <a:pt x="54711" y="167493"/>
                    </a:lnTo>
                    <a:lnTo>
                      <a:pt x="51807" y="163665"/>
                    </a:lnTo>
                    <a:lnTo>
                      <a:pt x="55520" y="162162"/>
                    </a:lnTo>
                    <a:lnTo>
                      <a:pt x="56455" y="155008"/>
                    </a:lnTo>
                    <a:lnTo>
                      <a:pt x="58518" y="153869"/>
                    </a:lnTo>
                    <a:lnTo>
                      <a:pt x="67084" y="155695"/>
                    </a:lnTo>
                    <a:lnTo>
                      <a:pt x="67635" y="154291"/>
                    </a:lnTo>
                    <a:lnTo>
                      <a:pt x="65303" y="148114"/>
                    </a:lnTo>
                    <a:lnTo>
                      <a:pt x="66670" y="141903"/>
                    </a:lnTo>
                    <a:lnTo>
                      <a:pt x="64543" y="135934"/>
                    </a:lnTo>
                    <a:lnTo>
                      <a:pt x="57714" y="126934"/>
                    </a:lnTo>
                    <a:lnTo>
                      <a:pt x="44835" y="121443"/>
                    </a:lnTo>
                    <a:lnTo>
                      <a:pt x="38934" y="124195"/>
                    </a:lnTo>
                    <a:lnTo>
                      <a:pt x="32466" y="123252"/>
                    </a:lnTo>
                    <a:lnTo>
                      <a:pt x="27327" y="126941"/>
                    </a:lnTo>
                    <a:lnTo>
                      <a:pt x="21169" y="124057"/>
                    </a:lnTo>
                    <a:lnTo>
                      <a:pt x="17624" y="115900"/>
                    </a:lnTo>
                    <a:lnTo>
                      <a:pt x="10707" y="113571"/>
                    </a:lnTo>
                    <a:lnTo>
                      <a:pt x="9116" y="100568"/>
                    </a:lnTo>
                    <a:lnTo>
                      <a:pt x="5472" y="95493"/>
                    </a:lnTo>
                    <a:lnTo>
                      <a:pt x="6111" y="92923"/>
                    </a:lnTo>
                    <a:lnTo>
                      <a:pt x="8223" y="91373"/>
                    </a:lnTo>
                    <a:lnTo>
                      <a:pt x="19409" y="96416"/>
                    </a:lnTo>
                    <a:lnTo>
                      <a:pt x="24552" y="92728"/>
                    </a:lnTo>
                    <a:lnTo>
                      <a:pt x="24009" y="88302"/>
                    </a:lnTo>
                    <a:lnTo>
                      <a:pt x="20511" y="81615"/>
                    </a:lnTo>
                    <a:lnTo>
                      <a:pt x="20309" y="75469"/>
                    </a:lnTo>
                    <a:lnTo>
                      <a:pt x="16782" y="71873"/>
                    </a:lnTo>
                    <a:lnTo>
                      <a:pt x="15611" y="68297"/>
                    </a:lnTo>
                    <a:lnTo>
                      <a:pt x="16723" y="59976"/>
                    </a:lnTo>
                    <a:lnTo>
                      <a:pt x="23206" y="52006"/>
                    </a:lnTo>
                    <a:lnTo>
                      <a:pt x="22829" y="50537"/>
                    </a:lnTo>
                    <a:lnTo>
                      <a:pt x="16862" y="50421"/>
                    </a:lnTo>
                    <a:lnTo>
                      <a:pt x="14741" y="47411"/>
                    </a:lnTo>
                    <a:lnTo>
                      <a:pt x="16117" y="41419"/>
                    </a:lnTo>
                    <a:lnTo>
                      <a:pt x="21163" y="31799"/>
                    </a:lnTo>
                    <a:lnTo>
                      <a:pt x="19919" y="30428"/>
                    </a:lnTo>
                    <a:lnTo>
                      <a:pt x="7996" y="25945"/>
                    </a:lnTo>
                    <a:lnTo>
                      <a:pt x="0" y="22947"/>
                    </a:lnTo>
                    <a:lnTo>
                      <a:pt x="5159" y="16182"/>
                    </a:lnTo>
                    <a:lnTo>
                      <a:pt x="10266" y="12627"/>
                    </a:lnTo>
                    <a:lnTo>
                      <a:pt x="24251" y="8437"/>
                    </a:lnTo>
                    <a:lnTo>
                      <a:pt x="27241" y="4088"/>
                    </a:lnTo>
                    <a:lnTo>
                      <a:pt x="34884" y="4477"/>
                    </a:lnTo>
                    <a:lnTo>
                      <a:pt x="44341" y="0"/>
                    </a:lnTo>
                    <a:lnTo>
                      <a:pt x="46581" y="66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09" name="Freeform 40">
                <a:extLst>
                  <a:ext uri="{FF2B5EF4-FFF2-40B4-BE49-F238E27FC236}">
                    <a16:creationId xmlns:a16="http://schemas.microsoft.com/office/drawing/2014/main" id="{0C4BE649-E75C-C386-4196-81E1C217F7EC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>
              <a:xfrm>
                <a:off x="5153675" y="4887759"/>
                <a:ext cx="212856" cy="181468"/>
              </a:xfrm>
              <a:custGeom>
                <a:avLst/>
                <a:gdLst/>
                <a:ahLst/>
                <a:cxnLst/>
                <a:rect l="0" t="0" r="0" b="0"/>
                <a:pathLst>
                  <a:path w="218546" h="186319">
                    <a:moveTo>
                      <a:pt x="143154" y="18794"/>
                    </a:moveTo>
                    <a:lnTo>
                      <a:pt x="152761" y="12806"/>
                    </a:lnTo>
                    <a:lnTo>
                      <a:pt x="161510" y="10054"/>
                    </a:lnTo>
                    <a:lnTo>
                      <a:pt x="165533" y="5392"/>
                    </a:lnTo>
                    <a:lnTo>
                      <a:pt x="168262" y="6130"/>
                    </a:lnTo>
                    <a:lnTo>
                      <a:pt x="180433" y="7846"/>
                    </a:lnTo>
                    <a:lnTo>
                      <a:pt x="188042" y="23096"/>
                    </a:lnTo>
                    <a:lnTo>
                      <a:pt x="188848" y="30379"/>
                    </a:lnTo>
                    <a:lnTo>
                      <a:pt x="195694" y="33753"/>
                    </a:lnTo>
                    <a:lnTo>
                      <a:pt x="196901" y="42193"/>
                    </a:lnTo>
                    <a:lnTo>
                      <a:pt x="199987" y="49154"/>
                    </a:lnTo>
                    <a:lnTo>
                      <a:pt x="201526" y="59078"/>
                    </a:lnTo>
                    <a:lnTo>
                      <a:pt x="204646" y="67619"/>
                    </a:lnTo>
                    <a:lnTo>
                      <a:pt x="215902" y="64615"/>
                    </a:lnTo>
                    <a:lnTo>
                      <a:pt x="215062" y="68789"/>
                    </a:lnTo>
                    <a:lnTo>
                      <a:pt x="217954" y="71310"/>
                    </a:lnTo>
                    <a:lnTo>
                      <a:pt x="218545" y="73829"/>
                    </a:lnTo>
                    <a:lnTo>
                      <a:pt x="212850" y="80812"/>
                    </a:lnTo>
                    <a:lnTo>
                      <a:pt x="213155" y="89622"/>
                    </a:lnTo>
                    <a:lnTo>
                      <a:pt x="217392" y="92687"/>
                    </a:lnTo>
                    <a:lnTo>
                      <a:pt x="211233" y="97153"/>
                    </a:lnTo>
                    <a:lnTo>
                      <a:pt x="210279" y="103053"/>
                    </a:lnTo>
                    <a:lnTo>
                      <a:pt x="198785" y="108614"/>
                    </a:lnTo>
                    <a:lnTo>
                      <a:pt x="181768" y="112975"/>
                    </a:lnTo>
                    <a:lnTo>
                      <a:pt x="174007" y="126813"/>
                    </a:lnTo>
                    <a:lnTo>
                      <a:pt x="172353" y="148258"/>
                    </a:lnTo>
                    <a:lnTo>
                      <a:pt x="139750" y="145258"/>
                    </a:lnTo>
                    <a:lnTo>
                      <a:pt x="137546" y="150458"/>
                    </a:lnTo>
                    <a:lnTo>
                      <a:pt x="135959" y="152223"/>
                    </a:lnTo>
                    <a:lnTo>
                      <a:pt x="134161" y="154222"/>
                    </a:lnTo>
                    <a:lnTo>
                      <a:pt x="127788" y="156105"/>
                    </a:lnTo>
                    <a:lnTo>
                      <a:pt x="123910" y="159364"/>
                    </a:lnTo>
                    <a:lnTo>
                      <a:pt x="120960" y="153964"/>
                    </a:lnTo>
                    <a:lnTo>
                      <a:pt x="118665" y="152685"/>
                    </a:lnTo>
                    <a:lnTo>
                      <a:pt x="117099" y="154574"/>
                    </a:lnTo>
                    <a:lnTo>
                      <a:pt x="115392" y="163563"/>
                    </a:lnTo>
                    <a:lnTo>
                      <a:pt x="106144" y="166188"/>
                    </a:lnTo>
                    <a:lnTo>
                      <a:pt x="99755" y="167992"/>
                    </a:lnTo>
                    <a:lnTo>
                      <a:pt x="87499" y="176173"/>
                    </a:lnTo>
                    <a:lnTo>
                      <a:pt x="81359" y="176278"/>
                    </a:lnTo>
                    <a:lnTo>
                      <a:pt x="73724" y="176436"/>
                    </a:lnTo>
                    <a:lnTo>
                      <a:pt x="67396" y="178402"/>
                    </a:lnTo>
                    <a:lnTo>
                      <a:pt x="64657" y="175969"/>
                    </a:lnTo>
                    <a:lnTo>
                      <a:pt x="61983" y="176615"/>
                    </a:lnTo>
                    <a:lnTo>
                      <a:pt x="61159" y="183652"/>
                    </a:lnTo>
                    <a:lnTo>
                      <a:pt x="59517" y="186318"/>
                    </a:lnTo>
                    <a:lnTo>
                      <a:pt x="53288" y="180164"/>
                    </a:lnTo>
                    <a:lnTo>
                      <a:pt x="51362" y="173656"/>
                    </a:lnTo>
                    <a:lnTo>
                      <a:pt x="51519" y="167485"/>
                    </a:lnTo>
                    <a:lnTo>
                      <a:pt x="57231" y="157065"/>
                    </a:lnTo>
                    <a:lnTo>
                      <a:pt x="57373" y="154075"/>
                    </a:lnTo>
                    <a:lnTo>
                      <a:pt x="55016" y="152790"/>
                    </a:lnTo>
                    <a:lnTo>
                      <a:pt x="47842" y="154685"/>
                    </a:lnTo>
                    <a:lnTo>
                      <a:pt x="47031" y="147605"/>
                    </a:lnTo>
                    <a:lnTo>
                      <a:pt x="44099" y="141976"/>
                    </a:lnTo>
                    <a:lnTo>
                      <a:pt x="44580" y="138993"/>
                    </a:lnTo>
                    <a:lnTo>
                      <a:pt x="50254" y="134197"/>
                    </a:lnTo>
                    <a:lnTo>
                      <a:pt x="49424" y="131682"/>
                    </a:lnTo>
                    <a:lnTo>
                      <a:pt x="45876" y="130227"/>
                    </a:lnTo>
                    <a:lnTo>
                      <a:pt x="40458" y="133115"/>
                    </a:lnTo>
                    <a:lnTo>
                      <a:pt x="34495" y="126876"/>
                    </a:lnTo>
                    <a:lnTo>
                      <a:pt x="24436" y="127375"/>
                    </a:lnTo>
                    <a:lnTo>
                      <a:pt x="17072" y="123952"/>
                    </a:lnTo>
                    <a:lnTo>
                      <a:pt x="14159" y="119917"/>
                    </a:lnTo>
                    <a:lnTo>
                      <a:pt x="13983" y="113562"/>
                    </a:lnTo>
                    <a:lnTo>
                      <a:pt x="12658" y="109900"/>
                    </a:lnTo>
                    <a:lnTo>
                      <a:pt x="8153" y="105392"/>
                    </a:lnTo>
                    <a:lnTo>
                      <a:pt x="5056" y="105087"/>
                    </a:lnTo>
                    <a:lnTo>
                      <a:pt x="0" y="98169"/>
                    </a:lnTo>
                    <a:lnTo>
                      <a:pt x="3705" y="90165"/>
                    </a:lnTo>
                    <a:lnTo>
                      <a:pt x="6441" y="89536"/>
                    </a:lnTo>
                    <a:lnTo>
                      <a:pt x="12891" y="91834"/>
                    </a:lnTo>
                    <a:lnTo>
                      <a:pt x="13636" y="94244"/>
                    </a:lnTo>
                    <a:lnTo>
                      <a:pt x="12636" y="97149"/>
                    </a:lnTo>
                    <a:lnTo>
                      <a:pt x="18209" y="103727"/>
                    </a:lnTo>
                    <a:lnTo>
                      <a:pt x="27679" y="103994"/>
                    </a:lnTo>
                    <a:lnTo>
                      <a:pt x="35931" y="106844"/>
                    </a:lnTo>
                    <a:lnTo>
                      <a:pt x="42122" y="98849"/>
                    </a:lnTo>
                    <a:lnTo>
                      <a:pt x="46486" y="99520"/>
                    </a:lnTo>
                    <a:lnTo>
                      <a:pt x="51147" y="106006"/>
                    </a:lnTo>
                    <a:lnTo>
                      <a:pt x="52793" y="106046"/>
                    </a:lnTo>
                    <a:lnTo>
                      <a:pt x="56516" y="100805"/>
                    </a:lnTo>
                    <a:lnTo>
                      <a:pt x="58384" y="93289"/>
                    </a:lnTo>
                    <a:lnTo>
                      <a:pt x="62381" y="88448"/>
                    </a:lnTo>
                    <a:lnTo>
                      <a:pt x="65154" y="88015"/>
                    </a:lnTo>
                    <a:lnTo>
                      <a:pt x="65258" y="88011"/>
                    </a:lnTo>
                    <a:lnTo>
                      <a:pt x="73254" y="89253"/>
                    </a:lnTo>
                    <a:lnTo>
                      <a:pt x="82666" y="96081"/>
                    </a:lnTo>
                    <a:lnTo>
                      <a:pt x="86311" y="95292"/>
                    </a:lnTo>
                    <a:lnTo>
                      <a:pt x="87773" y="91187"/>
                    </a:lnTo>
                    <a:lnTo>
                      <a:pt x="91783" y="88257"/>
                    </a:lnTo>
                    <a:lnTo>
                      <a:pt x="92780" y="85446"/>
                    </a:lnTo>
                    <a:lnTo>
                      <a:pt x="89657" y="79950"/>
                    </a:lnTo>
                    <a:lnTo>
                      <a:pt x="89145" y="74134"/>
                    </a:lnTo>
                    <a:lnTo>
                      <a:pt x="84446" y="70080"/>
                    </a:lnTo>
                    <a:lnTo>
                      <a:pt x="83347" y="64299"/>
                    </a:lnTo>
                    <a:lnTo>
                      <a:pt x="79888" y="59231"/>
                    </a:lnTo>
                    <a:lnTo>
                      <a:pt x="76367" y="54077"/>
                    </a:lnTo>
                    <a:lnTo>
                      <a:pt x="76184" y="46547"/>
                    </a:lnTo>
                    <a:lnTo>
                      <a:pt x="78790" y="40161"/>
                    </a:lnTo>
                    <a:lnTo>
                      <a:pt x="81364" y="37392"/>
                    </a:lnTo>
                    <a:lnTo>
                      <a:pt x="82507" y="45958"/>
                    </a:lnTo>
                    <a:lnTo>
                      <a:pt x="83461" y="48346"/>
                    </a:lnTo>
                    <a:lnTo>
                      <a:pt x="85087" y="48178"/>
                    </a:lnTo>
                    <a:lnTo>
                      <a:pt x="88854" y="42807"/>
                    </a:lnTo>
                    <a:lnTo>
                      <a:pt x="86701" y="38336"/>
                    </a:lnTo>
                    <a:lnTo>
                      <a:pt x="87709" y="35852"/>
                    </a:lnTo>
                    <a:lnTo>
                      <a:pt x="96230" y="34509"/>
                    </a:lnTo>
                    <a:lnTo>
                      <a:pt x="101093" y="30578"/>
                    </a:lnTo>
                    <a:lnTo>
                      <a:pt x="106863" y="35420"/>
                    </a:lnTo>
                    <a:lnTo>
                      <a:pt x="109637" y="35928"/>
                    </a:lnTo>
                    <a:lnTo>
                      <a:pt x="113524" y="28974"/>
                    </a:lnTo>
                    <a:lnTo>
                      <a:pt x="121776" y="23382"/>
                    </a:lnTo>
                    <a:lnTo>
                      <a:pt x="120519" y="15693"/>
                    </a:lnTo>
                    <a:lnTo>
                      <a:pt x="124868" y="9227"/>
                    </a:lnTo>
                    <a:lnTo>
                      <a:pt x="131032" y="5327"/>
                    </a:lnTo>
                    <a:lnTo>
                      <a:pt x="133597" y="0"/>
                    </a:lnTo>
                    <a:lnTo>
                      <a:pt x="136594" y="1354"/>
                    </a:lnTo>
                    <a:lnTo>
                      <a:pt x="137375" y="4083"/>
                    </a:lnTo>
                    <a:lnTo>
                      <a:pt x="136534" y="9855"/>
                    </a:lnTo>
                    <a:lnTo>
                      <a:pt x="140652" y="12942"/>
                    </a:lnTo>
                    <a:lnTo>
                      <a:pt x="141175" y="1716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0" name="Freeform 41">
                <a:extLst>
                  <a:ext uri="{FF2B5EF4-FFF2-40B4-BE49-F238E27FC236}">
                    <a16:creationId xmlns:a16="http://schemas.microsoft.com/office/drawing/2014/main" id="{E0F63C09-75BF-B71D-99F4-C5242B7E3D24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>
              <a:xfrm>
                <a:off x="4698903" y="5144624"/>
                <a:ext cx="101514" cy="55396"/>
              </a:xfrm>
              <a:custGeom>
                <a:avLst/>
                <a:gdLst/>
                <a:ahLst/>
                <a:cxnLst/>
                <a:rect l="0" t="0" r="0" b="0"/>
                <a:pathLst>
                  <a:path w="104228" h="56877">
                    <a:moveTo>
                      <a:pt x="101529" y="36456"/>
                    </a:moveTo>
                    <a:lnTo>
                      <a:pt x="88363" y="46196"/>
                    </a:lnTo>
                    <a:lnTo>
                      <a:pt x="74224" y="46614"/>
                    </a:lnTo>
                    <a:lnTo>
                      <a:pt x="69998" y="53257"/>
                    </a:lnTo>
                    <a:lnTo>
                      <a:pt x="61667" y="56876"/>
                    </a:lnTo>
                    <a:lnTo>
                      <a:pt x="54417" y="55909"/>
                    </a:lnTo>
                    <a:lnTo>
                      <a:pt x="53226" y="50733"/>
                    </a:lnTo>
                    <a:lnTo>
                      <a:pt x="42082" y="46839"/>
                    </a:lnTo>
                    <a:lnTo>
                      <a:pt x="35523" y="48410"/>
                    </a:lnTo>
                    <a:lnTo>
                      <a:pt x="29743" y="53463"/>
                    </a:lnTo>
                    <a:lnTo>
                      <a:pt x="22700" y="53545"/>
                    </a:lnTo>
                    <a:lnTo>
                      <a:pt x="19557" y="51459"/>
                    </a:lnTo>
                    <a:lnTo>
                      <a:pt x="18243" y="47643"/>
                    </a:lnTo>
                    <a:lnTo>
                      <a:pt x="12593" y="46127"/>
                    </a:lnTo>
                    <a:lnTo>
                      <a:pt x="11223" y="42628"/>
                    </a:lnTo>
                    <a:lnTo>
                      <a:pt x="604" y="39719"/>
                    </a:lnTo>
                    <a:lnTo>
                      <a:pt x="702" y="37132"/>
                    </a:lnTo>
                    <a:lnTo>
                      <a:pt x="0" y="31011"/>
                    </a:lnTo>
                    <a:lnTo>
                      <a:pt x="1243" y="26903"/>
                    </a:lnTo>
                    <a:lnTo>
                      <a:pt x="3149" y="26883"/>
                    </a:lnTo>
                    <a:lnTo>
                      <a:pt x="5746" y="29935"/>
                    </a:lnTo>
                    <a:lnTo>
                      <a:pt x="8316" y="31438"/>
                    </a:lnTo>
                    <a:lnTo>
                      <a:pt x="11192" y="31407"/>
                    </a:lnTo>
                    <a:lnTo>
                      <a:pt x="14377" y="30347"/>
                    </a:lnTo>
                    <a:lnTo>
                      <a:pt x="16274" y="28284"/>
                    </a:lnTo>
                    <a:lnTo>
                      <a:pt x="18429" y="21104"/>
                    </a:lnTo>
                    <a:lnTo>
                      <a:pt x="19265" y="15717"/>
                    </a:lnTo>
                    <a:lnTo>
                      <a:pt x="25728" y="16413"/>
                    </a:lnTo>
                    <a:lnTo>
                      <a:pt x="36264" y="16288"/>
                    </a:lnTo>
                    <a:lnTo>
                      <a:pt x="41633" y="11129"/>
                    </a:lnTo>
                    <a:lnTo>
                      <a:pt x="44435" y="5458"/>
                    </a:lnTo>
                    <a:lnTo>
                      <a:pt x="45530" y="1387"/>
                    </a:lnTo>
                    <a:lnTo>
                      <a:pt x="50184" y="6401"/>
                    </a:lnTo>
                    <a:lnTo>
                      <a:pt x="57221" y="6820"/>
                    </a:lnTo>
                    <a:lnTo>
                      <a:pt x="64880" y="6716"/>
                    </a:lnTo>
                    <a:lnTo>
                      <a:pt x="75411" y="7079"/>
                    </a:lnTo>
                    <a:lnTo>
                      <a:pt x="92575" y="2222"/>
                    </a:lnTo>
                    <a:lnTo>
                      <a:pt x="103218" y="0"/>
                    </a:lnTo>
                    <a:lnTo>
                      <a:pt x="104227" y="8067"/>
                    </a:lnTo>
                    <a:lnTo>
                      <a:pt x="101914" y="13089"/>
                    </a:lnTo>
                    <a:lnTo>
                      <a:pt x="103661" y="18272"/>
                    </a:lnTo>
                    <a:lnTo>
                      <a:pt x="91002" y="28223"/>
                    </a:lnTo>
                    <a:lnTo>
                      <a:pt x="92570" y="29896"/>
                    </a:lnTo>
                    <a:lnTo>
                      <a:pt x="99870" y="3063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1" name="Freeform 42">
                <a:extLst>
                  <a:ext uri="{FF2B5EF4-FFF2-40B4-BE49-F238E27FC236}">
                    <a16:creationId xmlns:a16="http://schemas.microsoft.com/office/drawing/2014/main" id="{24C3214D-2187-CE57-6681-FC220B02DD09}"/>
                  </a:ext>
                </a:extLst>
              </p:cNvPr>
              <p:cNvSpPr>
                <a:spLocks noChangeAspect="1"/>
              </p:cNvSpPr>
              <p:nvPr>
                <p:custDataLst>
                  <p:tags r:id="rId42"/>
                </p:custDataLst>
              </p:nvPr>
            </p:nvSpPr>
            <p:spPr>
              <a:xfrm>
                <a:off x="4694976" y="5104559"/>
                <a:ext cx="49216" cy="56052"/>
              </a:xfrm>
              <a:custGeom>
                <a:avLst/>
                <a:gdLst/>
                <a:ahLst/>
                <a:cxnLst/>
                <a:rect l="0" t="0" r="0" b="0"/>
                <a:pathLst>
                  <a:path w="50532" h="57550">
                    <a:moveTo>
                      <a:pt x="49562" y="42523"/>
                    </a:moveTo>
                    <a:lnTo>
                      <a:pt x="48467" y="46594"/>
                    </a:lnTo>
                    <a:lnTo>
                      <a:pt x="45665" y="52265"/>
                    </a:lnTo>
                    <a:lnTo>
                      <a:pt x="40296" y="57424"/>
                    </a:lnTo>
                    <a:lnTo>
                      <a:pt x="29760" y="57549"/>
                    </a:lnTo>
                    <a:lnTo>
                      <a:pt x="23297" y="56853"/>
                    </a:lnTo>
                    <a:lnTo>
                      <a:pt x="23660" y="54559"/>
                    </a:lnTo>
                    <a:lnTo>
                      <a:pt x="23924" y="49957"/>
                    </a:lnTo>
                    <a:lnTo>
                      <a:pt x="23851" y="43307"/>
                    </a:lnTo>
                    <a:lnTo>
                      <a:pt x="23800" y="38707"/>
                    </a:lnTo>
                    <a:lnTo>
                      <a:pt x="23744" y="33596"/>
                    </a:lnTo>
                    <a:lnTo>
                      <a:pt x="20511" y="29033"/>
                    </a:lnTo>
                    <a:lnTo>
                      <a:pt x="14721" y="24497"/>
                    </a:lnTo>
                    <a:lnTo>
                      <a:pt x="10559" y="22507"/>
                    </a:lnTo>
                    <a:lnTo>
                      <a:pt x="5742" y="19478"/>
                    </a:lnTo>
                    <a:lnTo>
                      <a:pt x="1653" y="15266"/>
                    </a:lnTo>
                    <a:lnTo>
                      <a:pt x="12" y="13535"/>
                    </a:lnTo>
                    <a:lnTo>
                      <a:pt x="0" y="13522"/>
                    </a:lnTo>
                    <a:lnTo>
                      <a:pt x="3074" y="12208"/>
                    </a:lnTo>
                    <a:lnTo>
                      <a:pt x="7846" y="7171"/>
                    </a:lnTo>
                    <a:lnTo>
                      <a:pt x="11913" y="0"/>
                    </a:lnTo>
                    <a:lnTo>
                      <a:pt x="11921" y="12"/>
                    </a:lnTo>
                    <a:lnTo>
                      <a:pt x="12607" y="1070"/>
                    </a:lnTo>
                    <a:lnTo>
                      <a:pt x="14827" y="4046"/>
                    </a:lnTo>
                    <a:lnTo>
                      <a:pt x="22202" y="8565"/>
                    </a:lnTo>
                    <a:lnTo>
                      <a:pt x="31163" y="12559"/>
                    </a:lnTo>
                    <a:lnTo>
                      <a:pt x="37576" y="16568"/>
                    </a:lnTo>
                    <a:lnTo>
                      <a:pt x="43646" y="18537"/>
                    </a:lnTo>
                    <a:lnTo>
                      <a:pt x="47804" y="18997"/>
                    </a:lnTo>
                    <a:lnTo>
                      <a:pt x="50390" y="22043"/>
                    </a:lnTo>
                    <a:lnTo>
                      <a:pt x="50441" y="26120"/>
                    </a:lnTo>
                    <a:lnTo>
                      <a:pt x="50531" y="33274"/>
                    </a:lnTo>
                    <a:lnTo>
                      <a:pt x="49986" y="4095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2" name="Freeform 43">
                <a:extLst>
                  <a:ext uri="{FF2B5EF4-FFF2-40B4-BE49-F238E27FC236}">
                    <a16:creationId xmlns:a16="http://schemas.microsoft.com/office/drawing/2014/main" id="{552F0CA7-1F5F-BFA4-83DD-5FB590D574E4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>
              <a:xfrm>
                <a:off x="4634449" y="5117729"/>
                <a:ext cx="83829" cy="78399"/>
              </a:xfrm>
              <a:custGeom>
                <a:avLst/>
                <a:gdLst/>
                <a:ahLst/>
                <a:cxnLst/>
                <a:rect l="0" t="0" r="0" b="0"/>
                <a:pathLst>
                  <a:path w="86070" h="80495">
                    <a:moveTo>
                      <a:pt x="85442" y="43331"/>
                    </a:moveTo>
                    <a:lnTo>
                      <a:pt x="84606" y="48718"/>
                    </a:lnTo>
                    <a:lnTo>
                      <a:pt x="82451" y="55898"/>
                    </a:lnTo>
                    <a:lnTo>
                      <a:pt x="80554" y="57961"/>
                    </a:lnTo>
                    <a:lnTo>
                      <a:pt x="77369" y="59021"/>
                    </a:lnTo>
                    <a:lnTo>
                      <a:pt x="74493" y="59052"/>
                    </a:lnTo>
                    <a:lnTo>
                      <a:pt x="71923" y="57549"/>
                    </a:lnTo>
                    <a:lnTo>
                      <a:pt x="69326" y="54497"/>
                    </a:lnTo>
                    <a:lnTo>
                      <a:pt x="67420" y="54517"/>
                    </a:lnTo>
                    <a:lnTo>
                      <a:pt x="66177" y="58625"/>
                    </a:lnTo>
                    <a:lnTo>
                      <a:pt x="66879" y="64746"/>
                    </a:lnTo>
                    <a:lnTo>
                      <a:pt x="66781" y="67333"/>
                    </a:lnTo>
                    <a:lnTo>
                      <a:pt x="62559" y="66151"/>
                    </a:lnTo>
                    <a:lnTo>
                      <a:pt x="43038" y="64634"/>
                    </a:lnTo>
                    <a:lnTo>
                      <a:pt x="41597" y="66561"/>
                    </a:lnTo>
                    <a:lnTo>
                      <a:pt x="42200" y="67838"/>
                    </a:lnTo>
                    <a:lnTo>
                      <a:pt x="48555" y="73605"/>
                    </a:lnTo>
                    <a:lnTo>
                      <a:pt x="49362" y="74762"/>
                    </a:lnTo>
                    <a:lnTo>
                      <a:pt x="48645" y="76150"/>
                    </a:lnTo>
                    <a:lnTo>
                      <a:pt x="37104" y="77316"/>
                    </a:lnTo>
                    <a:lnTo>
                      <a:pt x="26990" y="74634"/>
                    </a:lnTo>
                    <a:lnTo>
                      <a:pt x="25894" y="80168"/>
                    </a:lnTo>
                    <a:lnTo>
                      <a:pt x="24643" y="80494"/>
                    </a:lnTo>
                    <a:lnTo>
                      <a:pt x="14978" y="75689"/>
                    </a:lnTo>
                    <a:lnTo>
                      <a:pt x="8428" y="79118"/>
                    </a:lnTo>
                    <a:lnTo>
                      <a:pt x="3967" y="77983"/>
                    </a:lnTo>
                    <a:lnTo>
                      <a:pt x="3390" y="70674"/>
                    </a:lnTo>
                    <a:lnTo>
                      <a:pt x="922" y="68875"/>
                    </a:lnTo>
                    <a:lnTo>
                      <a:pt x="785" y="68716"/>
                    </a:lnTo>
                    <a:lnTo>
                      <a:pt x="215" y="67339"/>
                    </a:lnTo>
                    <a:lnTo>
                      <a:pt x="0" y="67066"/>
                    </a:lnTo>
                    <a:lnTo>
                      <a:pt x="19" y="67019"/>
                    </a:lnTo>
                    <a:lnTo>
                      <a:pt x="883" y="63548"/>
                    </a:lnTo>
                    <a:lnTo>
                      <a:pt x="993" y="57612"/>
                    </a:lnTo>
                    <a:lnTo>
                      <a:pt x="2857" y="54087"/>
                    </a:lnTo>
                    <a:lnTo>
                      <a:pt x="6157" y="50600"/>
                    </a:lnTo>
                    <a:lnTo>
                      <a:pt x="7659" y="47032"/>
                    </a:lnTo>
                    <a:lnTo>
                      <a:pt x="4033" y="43247"/>
                    </a:lnTo>
                    <a:lnTo>
                      <a:pt x="9181" y="37759"/>
                    </a:lnTo>
                    <a:lnTo>
                      <a:pt x="16811" y="39261"/>
                    </a:lnTo>
                    <a:lnTo>
                      <a:pt x="25530" y="30587"/>
                    </a:lnTo>
                    <a:lnTo>
                      <a:pt x="41511" y="8824"/>
                    </a:lnTo>
                    <a:lnTo>
                      <a:pt x="45724" y="5351"/>
                    </a:lnTo>
                    <a:lnTo>
                      <a:pt x="49916" y="2842"/>
                    </a:lnTo>
                    <a:lnTo>
                      <a:pt x="54581" y="1354"/>
                    </a:lnTo>
                    <a:lnTo>
                      <a:pt x="60194" y="834"/>
                    </a:lnTo>
                    <a:lnTo>
                      <a:pt x="62145" y="0"/>
                    </a:lnTo>
                    <a:lnTo>
                      <a:pt x="62157" y="13"/>
                    </a:lnTo>
                    <a:lnTo>
                      <a:pt x="63798" y="1744"/>
                    </a:lnTo>
                    <a:lnTo>
                      <a:pt x="67887" y="5956"/>
                    </a:lnTo>
                    <a:lnTo>
                      <a:pt x="72704" y="8985"/>
                    </a:lnTo>
                    <a:lnTo>
                      <a:pt x="76866" y="10975"/>
                    </a:lnTo>
                    <a:lnTo>
                      <a:pt x="82656" y="15511"/>
                    </a:lnTo>
                    <a:lnTo>
                      <a:pt x="85889" y="20074"/>
                    </a:lnTo>
                    <a:lnTo>
                      <a:pt x="85945" y="25185"/>
                    </a:lnTo>
                    <a:lnTo>
                      <a:pt x="85996" y="29785"/>
                    </a:lnTo>
                    <a:lnTo>
                      <a:pt x="86069" y="36435"/>
                    </a:lnTo>
                    <a:lnTo>
                      <a:pt x="85805" y="4103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3" name="Freeform 44">
                <a:extLst>
                  <a:ext uri="{FF2B5EF4-FFF2-40B4-BE49-F238E27FC236}">
                    <a16:creationId xmlns:a16="http://schemas.microsoft.com/office/drawing/2014/main" id="{71019A86-76CC-31DC-AECD-53D506264129}"/>
                  </a:ext>
                </a:extLst>
              </p:cNvPr>
              <p:cNvSpPr>
                <a:spLocks noChangeAspect="1"/>
              </p:cNvSpPr>
              <p:nvPr>
                <p:custDataLst>
                  <p:tags r:id="rId44"/>
                </p:custDataLst>
              </p:nvPr>
            </p:nvSpPr>
            <p:spPr>
              <a:xfrm>
                <a:off x="4706578" y="5051485"/>
                <a:ext cx="100471" cy="100034"/>
              </a:xfrm>
              <a:custGeom>
                <a:avLst/>
                <a:gdLst/>
                <a:ahLst/>
                <a:cxnLst/>
                <a:rect l="0" t="0" r="0" b="0"/>
                <a:pathLst>
                  <a:path w="103157" h="102708">
                    <a:moveTo>
                      <a:pt x="46982" y="12745"/>
                    </a:moveTo>
                    <a:lnTo>
                      <a:pt x="54977" y="9142"/>
                    </a:lnTo>
                    <a:lnTo>
                      <a:pt x="70654" y="13694"/>
                    </a:lnTo>
                    <a:lnTo>
                      <a:pt x="71592" y="14530"/>
                    </a:lnTo>
                    <a:lnTo>
                      <a:pt x="71148" y="20262"/>
                    </a:lnTo>
                    <a:lnTo>
                      <a:pt x="69651" y="26225"/>
                    </a:lnTo>
                    <a:lnTo>
                      <a:pt x="71346" y="29694"/>
                    </a:lnTo>
                    <a:lnTo>
                      <a:pt x="74244" y="29335"/>
                    </a:lnTo>
                    <a:lnTo>
                      <a:pt x="79183" y="23960"/>
                    </a:lnTo>
                    <a:lnTo>
                      <a:pt x="89542" y="24538"/>
                    </a:lnTo>
                    <a:lnTo>
                      <a:pt x="87601" y="18093"/>
                    </a:lnTo>
                    <a:lnTo>
                      <a:pt x="92806" y="18337"/>
                    </a:lnTo>
                    <a:lnTo>
                      <a:pt x="95971" y="22204"/>
                    </a:lnTo>
                    <a:lnTo>
                      <a:pt x="92965" y="28412"/>
                    </a:lnTo>
                    <a:lnTo>
                      <a:pt x="92756" y="31495"/>
                    </a:lnTo>
                    <a:lnTo>
                      <a:pt x="96530" y="35677"/>
                    </a:lnTo>
                    <a:lnTo>
                      <a:pt x="99012" y="39249"/>
                    </a:lnTo>
                    <a:lnTo>
                      <a:pt x="99010" y="47096"/>
                    </a:lnTo>
                    <a:lnTo>
                      <a:pt x="103156" y="57954"/>
                    </a:lnTo>
                    <a:lnTo>
                      <a:pt x="94813" y="61389"/>
                    </a:lnTo>
                    <a:lnTo>
                      <a:pt x="87113" y="67659"/>
                    </a:lnTo>
                    <a:lnTo>
                      <a:pt x="85456" y="71506"/>
                    </a:lnTo>
                    <a:lnTo>
                      <a:pt x="87786" y="72950"/>
                    </a:lnTo>
                    <a:lnTo>
                      <a:pt x="93461" y="72345"/>
                    </a:lnTo>
                    <a:lnTo>
                      <a:pt x="94631" y="74755"/>
                    </a:lnTo>
                    <a:lnTo>
                      <a:pt x="93474" y="80617"/>
                    </a:lnTo>
                    <a:lnTo>
                      <a:pt x="95337" y="95628"/>
                    </a:lnTo>
                    <a:lnTo>
                      <a:pt x="84694" y="97850"/>
                    </a:lnTo>
                    <a:lnTo>
                      <a:pt x="67530" y="102707"/>
                    </a:lnTo>
                    <a:lnTo>
                      <a:pt x="56999" y="102344"/>
                    </a:lnTo>
                    <a:lnTo>
                      <a:pt x="49340" y="102448"/>
                    </a:lnTo>
                    <a:lnTo>
                      <a:pt x="42303" y="102029"/>
                    </a:lnTo>
                    <a:lnTo>
                      <a:pt x="37649" y="97015"/>
                    </a:lnTo>
                    <a:lnTo>
                      <a:pt x="38073" y="95451"/>
                    </a:lnTo>
                    <a:lnTo>
                      <a:pt x="38618" y="87766"/>
                    </a:lnTo>
                    <a:lnTo>
                      <a:pt x="38528" y="80612"/>
                    </a:lnTo>
                    <a:lnTo>
                      <a:pt x="38477" y="76535"/>
                    </a:lnTo>
                    <a:lnTo>
                      <a:pt x="35891" y="73489"/>
                    </a:lnTo>
                    <a:lnTo>
                      <a:pt x="31733" y="73029"/>
                    </a:lnTo>
                    <a:lnTo>
                      <a:pt x="25663" y="71060"/>
                    </a:lnTo>
                    <a:lnTo>
                      <a:pt x="19250" y="67051"/>
                    </a:lnTo>
                    <a:lnTo>
                      <a:pt x="10289" y="63057"/>
                    </a:lnTo>
                    <a:lnTo>
                      <a:pt x="2914" y="58538"/>
                    </a:lnTo>
                    <a:lnTo>
                      <a:pt x="694" y="55562"/>
                    </a:lnTo>
                    <a:lnTo>
                      <a:pt x="8" y="54504"/>
                    </a:lnTo>
                    <a:lnTo>
                      <a:pt x="0" y="54492"/>
                    </a:lnTo>
                    <a:lnTo>
                      <a:pt x="16539" y="25254"/>
                    </a:lnTo>
                    <a:lnTo>
                      <a:pt x="18473" y="23693"/>
                    </a:lnTo>
                    <a:lnTo>
                      <a:pt x="20923" y="22577"/>
                    </a:lnTo>
                    <a:lnTo>
                      <a:pt x="22990" y="20874"/>
                    </a:lnTo>
                    <a:lnTo>
                      <a:pt x="23810" y="17475"/>
                    </a:lnTo>
                    <a:lnTo>
                      <a:pt x="24333" y="14330"/>
                    </a:lnTo>
                    <a:lnTo>
                      <a:pt x="25594" y="10786"/>
                    </a:lnTo>
                    <a:lnTo>
                      <a:pt x="27148" y="7550"/>
                    </a:lnTo>
                    <a:lnTo>
                      <a:pt x="28511" y="5294"/>
                    </a:lnTo>
                    <a:lnTo>
                      <a:pt x="33401" y="0"/>
                    </a:lnTo>
                    <a:lnTo>
                      <a:pt x="33424" y="11"/>
                    </a:lnTo>
                    <a:lnTo>
                      <a:pt x="34219" y="416"/>
                    </a:lnTo>
                    <a:lnTo>
                      <a:pt x="44906" y="491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4" name="Freeform 45">
                <a:extLst>
                  <a:ext uri="{FF2B5EF4-FFF2-40B4-BE49-F238E27FC236}">
                    <a16:creationId xmlns:a16="http://schemas.microsoft.com/office/drawing/2014/main" id="{F6526292-9911-0790-4720-797B367FAD63}"/>
                  </a:ext>
                </a:extLst>
              </p:cNvPr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>
              <a:xfrm>
                <a:off x="4439806" y="5179459"/>
                <a:ext cx="370912" cy="189290"/>
              </a:xfrm>
              <a:custGeom>
                <a:avLst/>
                <a:gdLst/>
                <a:ahLst/>
                <a:cxnLst/>
                <a:rect l="0" t="0" r="0" b="0"/>
                <a:pathLst>
                  <a:path w="380827" h="194350">
                    <a:moveTo>
                      <a:pt x="266627" y="3952"/>
                    </a:moveTo>
                    <a:lnTo>
                      <a:pt x="277246" y="6861"/>
                    </a:lnTo>
                    <a:lnTo>
                      <a:pt x="278616" y="10360"/>
                    </a:lnTo>
                    <a:lnTo>
                      <a:pt x="284266" y="11876"/>
                    </a:lnTo>
                    <a:lnTo>
                      <a:pt x="285580" y="15692"/>
                    </a:lnTo>
                    <a:lnTo>
                      <a:pt x="288723" y="17778"/>
                    </a:lnTo>
                    <a:lnTo>
                      <a:pt x="295766" y="17696"/>
                    </a:lnTo>
                    <a:lnTo>
                      <a:pt x="301546" y="12643"/>
                    </a:lnTo>
                    <a:lnTo>
                      <a:pt x="308105" y="11072"/>
                    </a:lnTo>
                    <a:lnTo>
                      <a:pt x="319249" y="14966"/>
                    </a:lnTo>
                    <a:lnTo>
                      <a:pt x="320440" y="20142"/>
                    </a:lnTo>
                    <a:lnTo>
                      <a:pt x="327690" y="21109"/>
                    </a:lnTo>
                    <a:lnTo>
                      <a:pt x="336021" y="17490"/>
                    </a:lnTo>
                    <a:lnTo>
                      <a:pt x="340247" y="10847"/>
                    </a:lnTo>
                    <a:lnTo>
                      <a:pt x="354386" y="10429"/>
                    </a:lnTo>
                    <a:lnTo>
                      <a:pt x="367552" y="689"/>
                    </a:lnTo>
                    <a:lnTo>
                      <a:pt x="369887" y="0"/>
                    </a:lnTo>
                    <a:lnTo>
                      <a:pt x="373134" y="3886"/>
                    </a:lnTo>
                    <a:lnTo>
                      <a:pt x="371341" y="7626"/>
                    </a:lnTo>
                    <a:lnTo>
                      <a:pt x="372265" y="11736"/>
                    </a:lnTo>
                    <a:lnTo>
                      <a:pt x="379100" y="15660"/>
                    </a:lnTo>
                    <a:lnTo>
                      <a:pt x="380826" y="23694"/>
                    </a:lnTo>
                    <a:lnTo>
                      <a:pt x="377028" y="31180"/>
                    </a:lnTo>
                    <a:lnTo>
                      <a:pt x="373989" y="44929"/>
                    </a:lnTo>
                    <a:lnTo>
                      <a:pt x="354685" y="80032"/>
                    </a:lnTo>
                    <a:lnTo>
                      <a:pt x="354024" y="84818"/>
                    </a:lnTo>
                    <a:lnTo>
                      <a:pt x="355149" y="88729"/>
                    </a:lnTo>
                    <a:lnTo>
                      <a:pt x="361420" y="93073"/>
                    </a:lnTo>
                    <a:lnTo>
                      <a:pt x="358257" y="100228"/>
                    </a:lnTo>
                    <a:lnTo>
                      <a:pt x="361057" y="108790"/>
                    </a:lnTo>
                    <a:lnTo>
                      <a:pt x="351580" y="118794"/>
                    </a:lnTo>
                    <a:lnTo>
                      <a:pt x="349900" y="122539"/>
                    </a:lnTo>
                    <a:lnTo>
                      <a:pt x="350142" y="125496"/>
                    </a:lnTo>
                    <a:lnTo>
                      <a:pt x="357811" y="128991"/>
                    </a:lnTo>
                    <a:lnTo>
                      <a:pt x="358128" y="131434"/>
                    </a:lnTo>
                    <a:lnTo>
                      <a:pt x="343112" y="138447"/>
                    </a:lnTo>
                    <a:lnTo>
                      <a:pt x="335395" y="136544"/>
                    </a:lnTo>
                    <a:lnTo>
                      <a:pt x="334254" y="137290"/>
                    </a:lnTo>
                    <a:lnTo>
                      <a:pt x="333409" y="143361"/>
                    </a:lnTo>
                    <a:lnTo>
                      <a:pt x="330877" y="143929"/>
                    </a:lnTo>
                    <a:lnTo>
                      <a:pt x="326265" y="139630"/>
                    </a:lnTo>
                    <a:lnTo>
                      <a:pt x="320021" y="127299"/>
                    </a:lnTo>
                    <a:lnTo>
                      <a:pt x="308899" y="124896"/>
                    </a:lnTo>
                    <a:lnTo>
                      <a:pt x="308096" y="125873"/>
                    </a:lnTo>
                    <a:lnTo>
                      <a:pt x="308892" y="129988"/>
                    </a:lnTo>
                    <a:lnTo>
                      <a:pt x="307066" y="133839"/>
                    </a:lnTo>
                    <a:lnTo>
                      <a:pt x="304457" y="134601"/>
                    </a:lnTo>
                    <a:lnTo>
                      <a:pt x="301357" y="132311"/>
                    </a:lnTo>
                    <a:lnTo>
                      <a:pt x="295309" y="134828"/>
                    </a:lnTo>
                    <a:lnTo>
                      <a:pt x="296324" y="142020"/>
                    </a:lnTo>
                    <a:lnTo>
                      <a:pt x="294041" y="147040"/>
                    </a:lnTo>
                    <a:lnTo>
                      <a:pt x="293853" y="154680"/>
                    </a:lnTo>
                    <a:lnTo>
                      <a:pt x="291436" y="159701"/>
                    </a:lnTo>
                    <a:lnTo>
                      <a:pt x="293537" y="167631"/>
                    </a:lnTo>
                    <a:lnTo>
                      <a:pt x="291951" y="169563"/>
                    </a:lnTo>
                    <a:lnTo>
                      <a:pt x="282635" y="169233"/>
                    </a:lnTo>
                    <a:lnTo>
                      <a:pt x="267822" y="176492"/>
                    </a:lnTo>
                    <a:lnTo>
                      <a:pt x="257176" y="176911"/>
                    </a:lnTo>
                    <a:lnTo>
                      <a:pt x="249972" y="181753"/>
                    </a:lnTo>
                    <a:lnTo>
                      <a:pt x="245392" y="179248"/>
                    </a:lnTo>
                    <a:lnTo>
                      <a:pt x="241677" y="182575"/>
                    </a:lnTo>
                    <a:lnTo>
                      <a:pt x="218307" y="187219"/>
                    </a:lnTo>
                    <a:lnTo>
                      <a:pt x="211529" y="194349"/>
                    </a:lnTo>
                    <a:lnTo>
                      <a:pt x="208009" y="183677"/>
                    </a:lnTo>
                    <a:lnTo>
                      <a:pt x="204506" y="180089"/>
                    </a:lnTo>
                    <a:lnTo>
                      <a:pt x="200552" y="180961"/>
                    </a:lnTo>
                    <a:lnTo>
                      <a:pt x="198261" y="179594"/>
                    </a:lnTo>
                    <a:lnTo>
                      <a:pt x="191715" y="183342"/>
                    </a:lnTo>
                    <a:lnTo>
                      <a:pt x="192415" y="176864"/>
                    </a:lnTo>
                    <a:lnTo>
                      <a:pt x="187303" y="173400"/>
                    </a:lnTo>
                    <a:lnTo>
                      <a:pt x="188401" y="165224"/>
                    </a:lnTo>
                    <a:lnTo>
                      <a:pt x="187453" y="162684"/>
                    </a:lnTo>
                    <a:lnTo>
                      <a:pt x="177189" y="161886"/>
                    </a:lnTo>
                    <a:lnTo>
                      <a:pt x="163350" y="166190"/>
                    </a:lnTo>
                    <a:lnTo>
                      <a:pt x="155949" y="159428"/>
                    </a:lnTo>
                    <a:lnTo>
                      <a:pt x="160934" y="146464"/>
                    </a:lnTo>
                    <a:lnTo>
                      <a:pt x="145410" y="148331"/>
                    </a:lnTo>
                    <a:lnTo>
                      <a:pt x="134165" y="146978"/>
                    </a:lnTo>
                    <a:lnTo>
                      <a:pt x="121363" y="135013"/>
                    </a:lnTo>
                    <a:lnTo>
                      <a:pt x="109532" y="134286"/>
                    </a:lnTo>
                    <a:lnTo>
                      <a:pt x="108728" y="123670"/>
                    </a:lnTo>
                    <a:lnTo>
                      <a:pt x="107185" y="120276"/>
                    </a:lnTo>
                    <a:lnTo>
                      <a:pt x="102511" y="119431"/>
                    </a:lnTo>
                    <a:lnTo>
                      <a:pt x="97091" y="115721"/>
                    </a:lnTo>
                    <a:lnTo>
                      <a:pt x="91748" y="116885"/>
                    </a:lnTo>
                    <a:lnTo>
                      <a:pt x="84406" y="113172"/>
                    </a:lnTo>
                    <a:lnTo>
                      <a:pt x="76458" y="115276"/>
                    </a:lnTo>
                    <a:lnTo>
                      <a:pt x="74778" y="117188"/>
                    </a:lnTo>
                    <a:lnTo>
                      <a:pt x="74113" y="121962"/>
                    </a:lnTo>
                    <a:lnTo>
                      <a:pt x="71431" y="124189"/>
                    </a:lnTo>
                    <a:lnTo>
                      <a:pt x="54397" y="122359"/>
                    </a:lnTo>
                    <a:lnTo>
                      <a:pt x="52475" y="117579"/>
                    </a:lnTo>
                    <a:lnTo>
                      <a:pt x="55695" y="111962"/>
                    </a:lnTo>
                    <a:lnTo>
                      <a:pt x="57236" y="106027"/>
                    </a:lnTo>
                    <a:lnTo>
                      <a:pt x="55313" y="102845"/>
                    </a:lnTo>
                    <a:lnTo>
                      <a:pt x="45632" y="103133"/>
                    </a:lnTo>
                    <a:lnTo>
                      <a:pt x="35576" y="95345"/>
                    </a:lnTo>
                    <a:lnTo>
                      <a:pt x="26641" y="95113"/>
                    </a:lnTo>
                    <a:lnTo>
                      <a:pt x="18273" y="85939"/>
                    </a:lnTo>
                    <a:lnTo>
                      <a:pt x="12481" y="84333"/>
                    </a:lnTo>
                    <a:lnTo>
                      <a:pt x="3388" y="77496"/>
                    </a:lnTo>
                    <a:lnTo>
                      <a:pt x="272" y="72486"/>
                    </a:lnTo>
                    <a:lnTo>
                      <a:pt x="0" y="61235"/>
                    </a:lnTo>
                    <a:lnTo>
                      <a:pt x="1486" y="59014"/>
                    </a:lnTo>
                    <a:lnTo>
                      <a:pt x="13661" y="60577"/>
                    </a:lnTo>
                    <a:lnTo>
                      <a:pt x="24719" y="58614"/>
                    </a:lnTo>
                    <a:lnTo>
                      <a:pt x="26364" y="48418"/>
                    </a:lnTo>
                    <a:lnTo>
                      <a:pt x="25782" y="42376"/>
                    </a:lnTo>
                    <a:lnTo>
                      <a:pt x="26941" y="38849"/>
                    </a:lnTo>
                    <a:lnTo>
                      <a:pt x="27197" y="38199"/>
                    </a:lnTo>
                    <a:lnTo>
                      <a:pt x="27677" y="35811"/>
                    </a:lnTo>
                    <a:lnTo>
                      <a:pt x="27681" y="35789"/>
                    </a:lnTo>
                    <a:lnTo>
                      <a:pt x="45014" y="40411"/>
                    </a:lnTo>
                    <a:lnTo>
                      <a:pt x="64276" y="39806"/>
                    </a:lnTo>
                    <a:lnTo>
                      <a:pt x="94232" y="46829"/>
                    </a:lnTo>
                    <a:lnTo>
                      <a:pt x="101378" y="53605"/>
                    </a:lnTo>
                    <a:lnTo>
                      <a:pt x="106020" y="55825"/>
                    </a:lnTo>
                    <a:lnTo>
                      <a:pt x="133398" y="54575"/>
                    </a:lnTo>
                    <a:lnTo>
                      <a:pt x="150600" y="49121"/>
                    </a:lnTo>
                    <a:lnTo>
                      <a:pt x="159252" y="47879"/>
                    </a:lnTo>
                    <a:lnTo>
                      <a:pt x="175064" y="48652"/>
                    </a:lnTo>
                    <a:lnTo>
                      <a:pt x="184453" y="47223"/>
                    </a:lnTo>
                    <a:lnTo>
                      <a:pt x="191192" y="42509"/>
                    </a:lnTo>
                    <a:lnTo>
                      <a:pt x="192989" y="45109"/>
                    </a:lnTo>
                    <a:lnTo>
                      <a:pt x="189735" y="50582"/>
                    </a:lnTo>
                    <a:lnTo>
                      <a:pt x="193034" y="53174"/>
                    </a:lnTo>
                    <a:lnTo>
                      <a:pt x="197074" y="45258"/>
                    </a:lnTo>
                    <a:lnTo>
                      <a:pt x="197886" y="42470"/>
                    </a:lnTo>
                    <a:lnTo>
                      <a:pt x="198276" y="37573"/>
                    </a:lnTo>
                    <a:lnTo>
                      <a:pt x="197794" y="35105"/>
                    </a:lnTo>
                    <a:lnTo>
                      <a:pt x="196954" y="33058"/>
                    </a:lnTo>
                    <a:lnTo>
                      <a:pt x="196174" y="29442"/>
                    </a:lnTo>
                    <a:lnTo>
                      <a:pt x="196218" y="15145"/>
                    </a:lnTo>
                    <a:lnTo>
                      <a:pt x="195466" y="7891"/>
                    </a:lnTo>
                    <a:lnTo>
                      <a:pt x="192757" y="3385"/>
                    </a:lnTo>
                    <a:lnTo>
                      <a:pt x="197403" y="4789"/>
                    </a:lnTo>
                    <a:lnTo>
                      <a:pt x="199846" y="3685"/>
                    </a:lnTo>
                    <a:lnTo>
                      <a:pt x="200061" y="3958"/>
                    </a:lnTo>
                    <a:lnTo>
                      <a:pt x="200631" y="5335"/>
                    </a:lnTo>
                    <a:lnTo>
                      <a:pt x="200768" y="5494"/>
                    </a:lnTo>
                    <a:lnTo>
                      <a:pt x="203236" y="7293"/>
                    </a:lnTo>
                    <a:lnTo>
                      <a:pt x="203813" y="14602"/>
                    </a:lnTo>
                    <a:lnTo>
                      <a:pt x="208274" y="15737"/>
                    </a:lnTo>
                    <a:lnTo>
                      <a:pt x="214824" y="12308"/>
                    </a:lnTo>
                    <a:lnTo>
                      <a:pt x="224489" y="17113"/>
                    </a:lnTo>
                    <a:lnTo>
                      <a:pt x="225740" y="16787"/>
                    </a:lnTo>
                    <a:lnTo>
                      <a:pt x="226836" y="11253"/>
                    </a:lnTo>
                    <a:lnTo>
                      <a:pt x="236950" y="13935"/>
                    </a:lnTo>
                    <a:lnTo>
                      <a:pt x="248491" y="12769"/>
                    </a:lnTo>
                    <a:lnTo>
                      <a:pt x="249208" y="11381"/>
                    </a:lnTo>
                    <a:lnTo>
                      <a:pt x="248401" y="10224"/>
                    </a:lnTo>
                    <a:lnTo>
                      <a:pt x="242046" y="4457"/>
                    </a:lnTo>
                    <a:lnTo>
                      <a:pt x="241443" y="3180"/>
                    </a:lnTo>
                    <a:lnTo>
                      <a:pt x="242884" y="1253"/>
                    </a:lnTo>
                    <a:lnTo>
                      <a:pt x="262405" y="27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5" name="Freeform 46">
                <a:extLst>
                  <a:ext uri="{FF2B5EF4-FFF2-40B4-BE49-F238E27FC236}">
                    <a16:creationId xmlns:a16="http://schemas.microsoft.com/office/drawing/2014/main" id="{9A4687A1-8403-70D4-E969-322C5B8FA3CE}"/>
                  </a:ext>
                </a:extLst>
              </p:cNvPr>
              <p:cNvSpPr>
                <a:spLocks noChangeAspect="1"/>
              </p:cNvSpPr>
              <p:nvPr>
                <p:custDataLst>
                  <p:tags r:id="rId46"/>
                </p:custDataLst>
              </p:nvPr>
            </p:nvSpPr>
            <p:spPr>
              <a:xfrm>
                <a:off x="4240836" y="5210769"/>
                <a:ext cx="420646" cy="385095"/>
              </a:xfrm>
              <a:custGeom>
                <a:avLst/>
                <a:gdLst/>
                <a:ahLst/>
                <a:cxnLst/>
                <a:rect l="l" t="t" r="r" b="b"/>
                <a:pathLst>
                  <a:path w="431891" h="395389">
                    <a:moveTo>
                      <a:pt x="2153" y="17680"/>
                    </a:moveTo>
                    <a:lnTo>
                      <a:pt x="3118" y="20509"/>
                    </a:lnTo>
                    <a:lnTo>
                      <a:pt x="3462" y="22085"/>
                    </a:lnTo>
                    <a:lnTo>
                      <a:pt x="3770" y="24577"/>
                    </a:lnTo>
                    <a:lnTo>
                      <a:pt x="3808" y="29240"/>
                    </a:lnTo>
                    <a:lnTo>
                      <a:pt x="2099" y="31029"/>
                    </a:lnTo>
                    <a:lnTo>
                      <a:pt x="213" y="28337"/>
                    </a:lnTo>
                    <a:lnTo>
                      <a:pt x="0" y="23174"/>
                    </a:lnTo>
                    <a:lnTo>
                      <a:pt x="892" y="18403"/>
                    </a:lnTo>
                    <a:close/>
                    <a:moveTo>
                      <a:pt x="218360" y="0"/>
                    </a:moveTo>
                    <a:lnTo>
                      <a:pt x="231969" y="3642"/>
                    </a:lnTo>
                    <a:lnTo>
                      <a:pt x="231965" y="3664"/>
                    </a:lnTo>
                    <a:lnTo>
                      <a:pt x="231485" y="6052"/>
                    </a:lnTo>
                    <a:lnTo>
                      <a:pt x="231229" y="6702"/>
                    </a:lnTo>
                    <a:lnTo>
                      <a:pt x="230070" y="10229"/>
                    </a:lnTo>
                    <a:lnTo>
                      <a:pt x="230652" y="16271"/>
                    </a:lnTo>
                    <a:lnTo>
                      <a:pt x="229007" y="26467"/>
                    </a:lnTo>
                    <a:lnTo>
                      <a:pt x="217949" y="28430"/>
                    </a:lnTo>
                    <a:lnTo>
                      <a:pt x="205774" y="26867"/>
                    </a:lnTo>
                    <a:lnTo>
                      <a:pt x="204288" y="29088"/>
                    </a:lnTo>
                    <a:lnTo>
                      <a:pt x="204560" y="40339"/>
                    </a:lnTo>
                    <a:lnTo>
                      <a:pt x="207676" y="45349"/>
                    </a:lnTo>
                    <a:lnTo>
                      <a:pt x="216769" y="52186"/>
                    </a:lnTo>
                    <a:lnTo>
                      <a:pt x="222561" y="53792"/>
                    </a:lnTo>
                    <a:lnTo>
                      <a:pt x="230929" y="62966"/>
                    </a:lnTo>
                    <a:lnTo>
                      <a:pt x="239864" y="63198"/>
                    </a:lnTo>
                    <a:lnTo>
                      <a:pt x="249920" y="70986"/>
                    </a:lnTo>
                    <a:lnTo>
                      <a:pt x="259601" y="70698"/>
                    </a:lnTo>
                    <a:lnTo>
                      <a:pt x="261524" y="73880"/>
                    </a:lnTo>
                    <a:lnTo>
                      <a:pt x="259983" y="79815"/>
                    </a:lnTo>
                    <a:lnTo>
                      <a:pt x="256763" y="85432"/>
                    </a:lnTo>
                    <a:lnTo>
                      <a:pt x="258685" y="90212"/>
                    </a:lnTo>
                    <a:lnTo>
                      <a:pt x="275719" y="92042"/>
                    </a:lnTo>
                    <a:lnTo>
                      <a:pt x="278401" y="89815"/>
                    </a:lnTo>
                    <a:lnTo>
                      <a:pt x="279066" y="85041"/>
                    </a:lnTo>
                    <a:lnTo>
                      <a:pt x="280746" y="83129"/>
                    </a:lnTo>
                    <a:lnTo>
                      <a:pt x="288694" y="81025"/>
                    </a:lnTo>
                    <a:lnTo>
                      <a:pt x="296036" y="84738"/>
                    </a:lnTo>
                    <a:lnTo>
                      <a:pt x="301379" y="83574"/>
                    </a:lnTo>
                    <a:lnTo>
                      <a:pt x="306799" y="87284"/>
                    </a:lnTo>
                    <a:lnTo>
                      <a:pt x="311473" y="88129"/>
                    </a:lnTo>
                    <a:lnTo>
                      <a:pt x="313016" y="91523"/>
                    </a:lnTo>
                    <a:lnTo>
                      <a:pt x="313820" y="102139"/>
                    </a:lnTo>
                    <a:lnTo>
                      <a:pt x="325651" y="102866"/>
                    </a:lnTo>
                    <a:lnTo>
                      <a:pt x="338453" y="114831"/>
                    </a:lnTo>
                    <a:lnTo>
                      <a:pt x="349698" y="116184"/>
                    </a:lnTo>
                    <a:lnTo>
                      <a:pt x="365222" y="114317"/>
                    </a:lnTo>
                    <a:lnTo>
                      <a:pt x="360237" y="127281"/>
                    </a:lnTo>
                    <a:lnTo>
                      <a:pt x="367638" y="134043"/>
                    </a:lnTo>
                    <a:lnTo>
                      <a:pt x="381477" y="129739"/>
                    </a:lnTo>
                    <a:lnTo>
                      <a:pt x="391741" y="130537"/>
                    </a:lnTo>
                    <a:lnTo>
                      <a:pt x="392689" y="133077"/>
                    </a:lnTo>
                    <a:lnTo>
                      <a:pt x="391591" y="141253"/>
                    </a:lnTo>
                    <a:lnTo>
                      <a:pt x="396703" y="144717"/>
                    </a:lnTo>
                    <a:lnTo>
                      <a:pt x="396003" y="151195"/>
                    </a:lnTo>
                    <a:lnTo>
                      <a:pt x="402549" y="147447"/>
                    </a:lnTo>
                    <a:lnTo>
                      <a:pt x="404840" y="148814"/>
                    </a:lnTo>
                    <a:lnTo>
                      <a:pt x="408794" y="147942"/>
                    </a:lnTo>
                    <a:lnTo>
                      <a:pt x="412297" y="151530"/>
                    </a:lnTo>
                    <a:lnTo>
                      <a:pt x="415817" y="162202"/>
                    </a:lnTo>
                    <a:lnTo>
                      <a:pt x="422336" y="167149"/>
                    </a:lnTo>
                    <a:lnTo>
                      <a:pt x="430130" y="168376"/>
                    </a:lnTo>
                    <a:lnTo>
                      <a:pt x="431891" y="171757"/>
                    </a:lnTo>
                    <a:lnTo>
                      <a:pt x="416389" y="181942"/>
                    </a:lnTo>
                    <a:lnTo>
                      <a:pt x="419836" y="185312"/>
                    </a:lnTo>
                    <a:lnTo>
                      <a:pt x="415875" y="195947"/>
                    </a:lnTo>
                    <a:lnTo>
                      <a:pt x="416773" y="199110"/>
                    </a:lnTo>
                    <a:lnTo>
                      <a:pt x="412619" y="200099"/>
                    </a:lnTo>
                    <a:lnTo>
                      <a:pt x="404073" y="205903"/>
                    </a:lnTo>
                    <a:lnTo>
                      <a:pt x="398352" y="206603"/>
                    </a:lnTo>
                    <a:lnTo>
                      <a:pt x="389165" y="204043"/>
                    </a:lnTo>
                    <a:lnTo>
                      <a:pt x="386352" y="204943"/>
                    </a:lnTo>
                    <a:lnTo>
                      <a:pt x="380855" y="209569"/>
                    </a:lnTo>
                    <a:lnTo>
                      <a:pt x="379627" y="210289"/>
                    </a:lnTo>
                    <a:lnTo>
                      <a:pt x="375621" y="213788"/>
                    </a:lnTo>
                    <a:lnTo>
                      <a:pt x="373288" y="214824"/>
                    </a:lnTo>
                    <a:lnTo>
                      <a:pt x="370764" y="214585"/>
                    </a:lnTo>
                    <a:lnTo>
                      <a:pt x="366093" y="212536"/>
                    </a:lnTo>
                    <a:lnTo>
                      <a:pt x="363341" y="211987"/>
                    </a:lnTo>
                    <a:lnTo>
                      <a:pt x="358711" y="212796"/>
                    </a:lnTo>
                    <a:lnTo>
                      <a:pt x="350600" y="216613"/>
                    </a:lnTo>
                    <a:lnTo>
                      <a:pt x="340746" y="219032"/>
                    </a:lnTo>
                    <a:lnTo>
                      <a:pt x="337954" y="222875"/>
                    </a:lnTo>
                    <a:lnTo>
                      <a:pt x="335775" y="227960"/>
                    </a:lnTo>
                    <a:lnTo>
                      <a:pt x="332114" y="233188"/>
                    </a:lnTo>
                    <a:lnTo>
                      <a:pt x="314515" y="241011"/>
                    </a:lnTo>
                    <a:lnTo>
                      <a:pt x="309035" y="240735"/>
                    </a:lnTo>
                    <a:lnTo>
                      <a:pt x="304957" y="239415"/>
                    </a:lnTo>
                    <a:lnTo>
                      <a:pt x="301699" y="236293"/>
                    </a:lnTo>
                    <a:lnTo>
                      <a:pt x="298700" y="230575"/>
                    </a:lnTo>
                    <a:lnTo>
                      <a:pt x="295545" y="221470"/>
                    </a:lnTo>
                    <a:lnTo>
                      <a:pt x="294560" y="219931"/>
                    </a:lnTo>
                    <a:lnTo>
                      <a:pt x="293869" y="219558"/>
                    </a:lnTo>
                    <a:lnTo>
                      <a:pt x="293347" y="218735"/>
                    </a:lnTo>
                    <a:lnTo>
                      <a:pt x="292578" y="217926"/>
                    </a:lnTo>
                    <a:lnTo>
                      <a:pt x="291169" y="217552"/>
                    </a:lnTo>
                    <a:lnTo>
                      <a:pt x="290359" y="218360"/>
                    </a:lnTo>
                    <a:lnTo>
                      <a:pt x="290082" y="220162"/>
                    </a:lnTo>
                    <a:lnTo>
                      <a:pt x="290338" y="221965"/>
                    </a:lnTo>
                    <a:lnTo>
                      <a:pt x="293374" y="225431"/>
                    </a:lnTo>
                    <a:lnTo>
                      <a:pt x="296587" y="238562"/>
                    </a:lnTo>
                    <a:lnTo>
                      <a:pt x="298698" y="243627"/>
                    </a:lnTo>
                    <a:lnTo>
                      <a:pt x="294372" y="247758"/>
                    </a:lnTo>
                    <a:lnTo>
                      <a:pt x="290458" y="253039"/>
                    </a:lnTo>
                    <a:lnTo>
                      <a:pt x="286936" y="259546"/>
                    </a:lnTo>
                    <a:lnTo>
                      <a:pt x="283746" y="267327"/>
                    </a:lnTo>
                    <a:lnTo>
                      <a:pt x="281035" y="277765"/>
                    </a:lnTo>
                    <a:lnTo>
                      <a:pt x="281176" y="282599"/>
                    </a:lnTo>
                    <a:lnTo>
                      <a:pt x="281171" y="282601"/>
                    </a:lnTo>
                    <a:lnTo>
                      <a:pt x="279971" y="282668"/>
                    </a:lnTo>
                    <a:lnTo>
                      <a:pt x="275240" y="282267"/>
                    </a:lnTo>
                    <a:lnTo>
                      <a:pt x="268258" y="282255"/>
                    </a:lnTo>
                    <a:lnTo>
                      <a:pt x="261283" y="282240"/>
                    </a:lnTo>
                    <a:lnTo>
                      <a:pt x="255794" y="286133"/>
                    </a:lnTo>
                    <a:lnTo>
                      <a:pt x="251289" y="292386"/>
                    </a:lnTo>
                    <a:lnTo>
                      <a:pt x="247779" y="299410"/>
                    </a:lnTo>
                    <a:lnTo>
                      <a:pt x="246759" y="305672"/>
                    </a:lnTo>
                    <a:lnTo>
                      <a:pt x="246239" y="311145"/>
                    </a:lnTo>
                    <a:lnTo>
                      <a:pt x="249222" y="315850"/>
                    </a:lnTo>
                    <a:lnTo>
                      <a:pt x="253205" y="321347"/>
                    </a:lnTo>
                    <a:lnTo>
                      <a:pt x="259692" y="323701"/>
                    </a:lnTo>
                    <a:lnTo>
                      <a:pt x="267172" y="328423"/>
                    </a:lnTo>
                    <a:lnTo>
                      <a:pt x="276163" y="332344"/>
                    </a:lnTo>
                    <a:lnTo>
                      <a:pt x="277858" y="332969"/>
                    </a:lnTo>
                    <a:lnTo>
                      <a:pt x="277864" y="332970"/>
                    </a:lnTo>
                    <a:lnTo>
                      <a:pt x="277520" y="333504"/>
                    </a:lnTo>
                    <a:lnTo>
                      <a:pt x="275849" y="343056"/>
                    </a:lnTo>
                    <a:lnTo>
                      <a:pt x="272926" y="345103"/>
                    </a:lnTo>
                    <a:lnTo>
                      <a:pt x="269115" y="343870"/>
                    </a:lnTo>
                    <a:lnTo>
                      <a:pt x="265209" y="340521"/>
                    </a:lnTo>
                    <a:lnTo>
                      <a:pt x="263424" y="349046"/>
                    </a:lnTo>
                    <a:lnTo>
                      <a:pt x="258212" y="352173"/>
                    </a:lnTo>
                    <a:lnTo>
                      <a:pt x="252724" y="353650"/>
                    </a:lnTo>
                    <a:lnTo>
                      <a:pt x="250170" y="357309"/>
                    </a:lnTo>
                    <a:lnTo>
                      <a:pt x="248839" y="363768"/>
                    </a:lnTo>
                    <a:lnTo>
                      <a:pt x="246320" y="371714"/>
                    </a:lnTo>
                    <a:lnTo>
                      <a:pt x="244889" y="380688"/>
                    </a:lnTo>
                    <a:lnTo>
                      <a:pt x="246741" y="390248"/>
                    </a:lnTo>
                    <a:lnTo>
                      <a:pt x="243062" y="392147"/>
                    </a:lnTo>
                    <a:lnTo>
                      <a:pt x="233193" y="394971"/>
                    </a:lnTo>
                    <a:lnTo>
                      <a:pt x="229009" y="395389"/>
                    </a:lnTo>
                    <a:lnTo>
                      <a:pt x="223537" y="394029"/>
                    </a:lnTo>
                    <a:lnTo>
                      <a:pt x="219086" y="391771"/>
                    </a:lnTo>
                    <a:lnTo>
                      <a:pt x="215265" y="391287"/>
                    </a:lnTo>
                    <a:lnTo>
                      <a:pt x="211641" y="395309"/>
                    </a:lnTo>
                    <a:lnTo>
                      <a:pt x="202545" y="386932"/>
                    </a:lnTo>
                    <a:lnTo>
                      <a:pt x="188501" y="369183"/>
                    </a:lnTo>
                    <a:lnTo>
                      <a:pt x="172537" y="354361"/>
                    </a:lnTo>
                    <a:lnTo>
                      <a:pt x="169843" y="353098"/>
                    </a:lnTo>
                    <a:lnTo>
                      <a:pt x="167594" y="353655"/>
                    </a:lnTo>
                    <a:lnTo>
                      <a:pt x="161327" y="357164"/>
                    </a:lnTo>
                    <a:lnTo>
                      <a:pt x="158915" y="357983"/>
                    </a:lnTo>
                    <a:lnTo>
                      <a:pt x="157507" y="358841"/>
                    </a:lnTo>
                    <a:lnTo>
                      <a:pt x="154196" y="362542"/>
                    </a:lnTo>
                    <a:lnTo>
                      <a:pt x="152191" y="363396"/>
                    </a:lnTo>
                    <a:lnTo>
                      <a:pt x="149482" y="362781"/>
                    </a:lnTo>
                    <a:lnTo>
                      <a:pt x="146980" y="361268"/>
                    </a:lnTo>
                    <a:lnTo>
                      <a:pt x="143134" y="357847"/>
                    </a:lnTo>
                    <a:lnTo>
                      <a:pt x="143702" y="356484"/>
                    </a:lnTo>
                    <a:lnTo>
                      <a:pt x="144688" y="352890"/>
                    </a:lnTo>
                    <a:lnTo>
                      <a:pt x="139336" y="351317"/>
                    </a:lnTo>
                    <a:lnTo>
                      <a:pt x="133940" y="347304"/>
                    </a:lnTo>
                    <a:lnTo>
                      <a:pt x="132097" y="342988"/>
                    </a:lnTo>
                    <a:lnTo>
                      <a:pt x="132100" y="342985"/>
                    </a:lnTo>
                    <a:lnTo>
                      <a:pt x="135850" y="338384"/>
                    </a:lnTo>
                    <a:lnTo>
                      <a:pt x="141677" y="336070"/>
                    </a:lnTo>
                    <a:lnTo>
                      <a:pt x="147257" y="332964"/>
                    </a:lnTo>
                    <a:lnTo>
                      <a:pt x="151051" y="331419"/>
                    </a:lnTo>
                    <a:lnTo>
                      <a:pt x="151575" y="329056"/>
                    </a:lnTo>
                    <a:lnTo>
                      <a:pt x="151592" y="327083"/>
                    </a:lnTo>
                    <a:lnTo>
                      <a:pt x="150361" y="323521"/>
                    </a:lnTo>
                    <a:lnTo>
                      <a:pt x="145855" y="319534"/>
                    </a:lnTo>
                    <a:lnTo>
                      <a:pt x="140849" y="315937"/>
                    </a:lnTo>
                    <a:lnTo>
                      <a:pt x="135090" y="312331"/>
                    </a:lnTo>
                    <a:lnTo>
                      <a:pt x="130327" y="309523"/>
                    </a:lnTo>
                    <a:lnTo>
                      <a:pt x="126550" y="309485"/>
                    </a:lnTo>
                    <a:lnTo>
                      <a:pt x="123026" y="309449"/>
                    </a:lnTo>
                    <a:lnTo>
                      <a:pt x="119464" y="312568"/>
                    </a:lnTo>
                    <a:lnTo>
                      <a:pt x="115665" y="312765"/>
                    </a:lnTo>
                    <a:lnTo>
                      <a:pt x="115581" y="313021"/>
                    </a:lnTo>
                    <a:lnTo>
                      <a:pt x="115097" y="312995"/>
                    </a:lnTo>
                    <a:lnTo>
                      <a:pt x="115079" y="312995"/>
                    </a:lnTo>
                    <a:lnTo>
                      <a:pt x="115853" y="310811"/>
                    </a:lnTo>
                    <a:lnTo>
                      <a:pt x="119216" y="305720"/>
                    </a:lnTo>
                    <a:lnTo>
                      <a:pt x="121897" y="300294"/>
                    </a:lnTo>
                    <a:lnTo>
                      <a:pt x="117028" y="302667"/>
                    </a:lnTo>
                    <a:lnTo>
                      <a:pt x="114564" y="302407"/>
                    </a:lnTo>
                    <a:lnTo>
                      <a:pt x="111912" y="300188"/>
                    </a:lnTo>
                    <a:lnTo>
                      <a:pt x="111117" y="303241"/>
                    </a:lnTo>
                    <a:lnTo>
                      <a:pt x="111115" y="303245"/>
                    </a:lnTo>
                    <a:lnTo>
                      <a:pt x="108711" y="298009"/>
                    </a:lnTo>
                    <a:lnTo>
                      <a:pt x="106092" y="298295"/>
                    </a:lnTo>
                    <a:lnTo>
                      <a:pt x="104645" y="301121"/>
                    </a:lnTo>
                    <a:lnTo>
                      <a:pt x="103065" y="298891"/>
                    </a:lnTo>
                    <a:lnTo>
                      <a:pt x="104545" y="295930"/>
                    </a:lnTo>
                    <a:lnTo>
                      <a:pt x="107205" y="290809"/>
                    </a:lnTo>
                    <a:lnTo>
                      <a:pt x="107859" y="286682"/>
                    </a:lnTo>
                    <a:lnTo>
                      <a:pt x="114678" y="286867"/>
                    </a:lnTo>
                    <a:lnTo>
                      <a:pt x="116455" y="285189"/>
                    </a:lnTo>
                    <a:lnTo>
                      <a:pt x="116549" y="282220"/>
                    </a:lnTo>
                    <a:lnTo>
                      <a:pt x="111375" y="280043"/>
                    </a:lnTo>
                    <a:lnTo>
                      <a:pt x="110220" y="274722"/>
                    </a:lnTo>
                    <a:lnTo>
                      <a:pt x="108222" y="271838"/>
                    </a:lnTo>
                    <a:lnTo>
                      <a:pt x="95230" y="268293"/>
                    </a:lnTo>
                    <a:lnTo>
                      <a:pt x="94721" y="259705"/>
                    </a:lnTo>
                    <a:lnTo>
                      <a:pt x="91820" y="253946"/>
                    </a:lnTo>
                    <a:lnTo>
                      <a:pt x="87941" y="250918"/>
                    </a:lnTo>
                    <a:lnTo>
                      <a:pt x="89412" y="236512"/>
                    </a:lnTo>
                    <a:lnTo>
                      <a:pt x="80049" y="229813"/>
                    </a:lnTo>
                    <a:lnTo>
                      <a:pt x="77327" y="216091"/>
                    </a:lnTo>
                    <a:lnTo>
                      <a:pt x="74021" y="210740"/>
                    </a:lnTo>
                    <a:lnTo>
                      <a:pt x="73753" y="200456"/>
                    </a:lnTo>
                    <a:lnTo>
                      <a:pt x="70099" y="191920"/>
                    </a:lnTo>
                    <a:lnTo>
                      <a:pt x="70482" y="183222"/>
                    </a:lnTo>
                    <a:lnTo>
                      <a:pt x="66214" y="180836"/>
                    </a:lnTo>
                    <a:lnTo>
                      <a:pt x="63353" y="184931"/>
                    </a:lnTo>
                    <a:lnTo>
                      <a:pt x="61801" y="184593"/>
                    </a:lnTo>
                    <a:lnTo>
                      <a:pt x="55185" y="177188"/>
                    </a:lnTo>
                    <a:lnTo>
                      <a:pt x="47330" y="176857"/>
                    </a:lnTo>
                    <a:lnTo>
                      <a:pt x="44409" y="174583"/>
                    </a:lnTo>
                    <a:lnTo>
                      <a:pt x="45648" y="172263"/>
                    </a:lnTo>
                    <a:lnTo>
                      <a:pt x="53005" y="169618"/>
                    </a:lnTo>
                    <a:lnTo>
                      <a:pt x="55113" y="163175"/>
                    </a:lnTo>
                    <a:lnTo>
                      <a:pt x="55787" y="153751"/>
                    </a:lnTo>
                    <a:lnTo>
                      <a:pt x="59911" y="151046"/>
                    </a:lnTo>
                    <a:lnTo>
                      <a:pt x="61081" y="148518"/>
                    </a:lnTo>
                    <a:lnTo>
                      <a:pt x="55036" y="134320"/>
                    </a:lnTo>
                    <a:lnTo>
                      <a:pt x="52154" y="130568"/>
                    </a:lnTo>
                    <a:lnTo>
                      <a:pt x="51655" y="123130"/>
                    </a:lnTo>
                    <a:lnTo>
                      <a:pt x="30040" y="122061"/>
                    </a:lnTo>
                    <a:lnTo>
                      <a:pt x="30029" y="122060"/>
                    </a:lnTo>
                    <a:lnTo>
                      <a:pt x="31176" y="115890"/>
                    </a:lnTo>
                    <a:lnTo>
                      <a:pt x="32891" y="112715"/>
                    </a:lnTo>
                    <a:lnTo>
                      <a:pt x="36447" y="103166"/>
                    </a:lnTo>
                    <a:lnTo>
                      <a:pt x="35531" y="100231"/>
                    </a:lnTo>
                    <a:lnTo>
                      <a:pt x="34713" y="94747"/>
                    </a:lnTo>
                    <a:lnTo>
                      <a:pt x="34579" y="89399"/>
                    </a:lnTo>
                    <a:lnTo>
                      <a:pt x="35790" y="87024"/>
                    </a:lnTo>
                    <a:lnTo>
                      <a:pt x="57223" y="87344"/>
                    </a:lnTo>
                    <a:lnTo>
                      <a:pt x="59834" y="88253"/>
                    </a:lnTo>
                    <a:lnTo>
                      <a:pt x="64755" y="92066"/>
                    </a:lnTo>
                    <a:lnTo>
                      <a:pt x="67152" y="92938"/>
                    </a:lnTo>
                    <a:lnTo>
                      <a:pt x="81093" y="94662"/>
                    </a:lnTo>
                    <a:lnTo>
                      <a:pt x="86027" y="93187"/>
                    </a:lnTo>
                    <a:lnTo>
                      <a:pt x="89661" y="90621"/>
                    </a:lnTo>
                    <a:lnTo>
                      <a:pt x="106123" y="72558"/>
                    </a:lnTo>
                    <a:lnTo>
                      <a:pt x="107488" y="70366"/>
                    </a:lnTo>
                    <a:lnTo>
                      <a:pt x="108588" y="68094"/>
                    </a:lnTo>
                    <a:lnTo>
                      <a:pt x="110096" y="66060"/>
                    </a:lnTo>
                    <a:lnTo>
                      <a:pt x="112635" y="64596"/>
                    </a:lnTo>
                    <a:lnTo>
                      <a:pt x="111169" y="60897"/>
                    </a:lnTo>
                    <a:lnTo>
                      <a:pt x="108392" y="50469"/>
                    </a:lnTo>
                    <a:lnTo>
                      <a:pt x="107895" y="47713"/>
                    </a:lnTo>
                    <a:lnTo>
                      <a:pt x="107101" y="45312"/>
                    </a:lnTo>
                    <a:lnTo>
                      <a:pt x="103071" y="39079"/>
                    </a:lnTo>
                    <a:lnTo>
                      <a:pt x="101489" y="35766"/>
                    </a:lnTo>
                    <a:lnTo>
                      <a:pt x="109502" y="36542"/>
                    </a:lnTo>
                    <a:lnTo>
                      <a:pt x="111305" y="35879"/>
                    </a:lnTo>
                    <a:lnTo>
                      <a:pt x="112901" y="31778"/>
                    </a:lnTo>
                    <a:lnTo>
                      <a:pt x="112594" y="27750"/>
                    </a:lnTo>
                    <a:lnTo>
                      <a:pt x="110844" y="24467"/>
                    </a:lnTo>
                    <a:lnTo>
                      <a:pt x="108173" y="22587"/>
                    </a:lnTo>
                    <a:lnTo>
                      <a:pt x="108200" y="20209"/>
                    </a:lnTo>
                    <a:lnTo>
                      <a:pt x="126523" y="13088"/>
                    </a:lnTo>
                    <a:lnTo>
                      <a:pt x="170349" y="9365"/>
                    </a:lnTo>
                    <a:lnTo>
                      <a:pt x="179346" y="6012"/>
                    </a:lnTo>
                    <a:lnTo>
                      <a:pt x="183852" y="5267"/>
                    </a:lnTo>
                    <a:lnTo>
                      <a:pt x="201161" y="5378"/>
                    </a:lnTo>
                    <a:lnTo>
                      <a:pt x="206417" y="4382"/>
                    </a:lnTo>
                    <a:lnTo>
                      <a:pt x="214064" y="33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6" name="Freeform 48">
                <a:extLst>
                  <a:ext uri="{FF2B5EF4-FFF2-40B4-BE49-F238E27FC236}">
                    <a16:creationId xmlns:a16="http://schemas.microsoft.com/office/drawing/2014/main" id="{88C65EDB-7C3A-F061-953E-74084190ED67}"/>
                  </a:ext>
                </a:extLst>
              </p:cNvPr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>
              <a:xfrm>
                <a:off x="4886398" y="5390980"/>
                <a:ext cx="31025" cy="13848"/>
              </a:xfrm>
              <a:custGeom>
                <a:avLst/>
                <a:gdLst/>
                <a:ahLst/>
                <a:cxnLst/>
                <a:rect l="0" t="0" r="0" b="0"/>
                <a:pathLst>
                  <a:path w="31854" h="14218">
                    <a:moveTo>
                      <a:pt x="31853" y="10958"/>
                    </a:moveTo>
                    <a:lnTo>
                      <a:pt x="22713" y="9441"/>
                    </a:lnTo>
                    <a:lnTo>
                      <a:pt x="17313" y="9841"/>
                    </a:lnTo>
                    <a:lnTo>
                      <a:pt x="12522" y="11516"/>
                    </a:lnTo>
                    <a:lnTo>
                      <a:pt x="7975" y="14118"/>
                    </a:lnTo>
                    <a:lnTo>
                      <a:pt x="7849" y="14214"/>
                    </a:lnTo>
                    <a:lnTo>
                      <a:pt x="7846" y="14217"/>
                    </a:lnTo>
                    <a:lnTo>
                      <a:pt x="5933" y="13553"/>
                    </a:lnTo>
                    <a:lnTo>
                      <a:pt x="1873" y="12969"/>
                    </a:lnTo>
                    <a:lnTo>
                      <a:pt x="311" y="10308"/>
                    </a:lnTo>
                    <a:lnTo>
                      <a:pt x="0" y="5252"/>
                    </a:lnTo>
                    <a:lnTo>
                      <a:pt x="1425" y="1846"/>
                    </a:lnTo>
                    <a:lnTo>
                      <a:pt x="1884" y="1383"/>
                    </a:lnTo>
                    <a:lnTo>
                      <a:pt x="3096" y="133"/>
                    </a:lnTo>
                    <a:lnTo>
                      <a:pt x="5446" y="83"/>
                    </a:lnTo>
                    <a:lnTo>
                      <a:pt x="9283" y="0"/>
                    </a:lnTo>
                    <a:lnTo>
                      <a:pt x="13996" y="569"/>
                    </a:lnTo>
                    <a:lnTo>
                      <a:pt x="19376" y="2148"/>
                    </a:lnTo>
                    <a:lnTo>
                      <a:pt x="27125" y="532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7" name="Freeform 49">
                <a:extLst>
                  <a:ext uri="{FF2B5EF4-FFF2-40B4-BE49-F238E27FC236}">
                    <a16:creationId xmlns:a16="http://schemas.microsoft.com/office/drawing/2014/main" id="{53787A37-2332-5420-325A-F12E4BA8817D}"/>
                  </a:ext>
                </a:extLst>
              </p:cNvPr>
              <p:cNvSpPr>
                <a:spLocks noChangeAspect="1"/>
              </p:cNvSpPr>
              <p:nvPr>
                <p:custDataLst>
                  <p:tags r:id="rId48"/>
                </p:custDataLst>
              </p:nvPr>
            </p:nvSpPr>
            <p:spPr>
              <a:xfrm>
                <a:off x="4645827" y="5270109"/>
                <a:ext cx="300808" cy="207108"/>
              </a:xfrm>
              <a:custGeom>
                <a:avLst/>
                <a:gdLst/>
                <a:ahLst/>
                <a:cxnLst/>
                <a:rect l="0" t="0" r="0" b="0"/>
                <a:pathLst>
                  <a:path w="308849" h="212644">
                    <a:moveTo>
                      <a:pt x="204211" y="47781"/>
                    </a:moveTo>
                    <a:lnTo>
                      <a:pt x="213875" y="45999"/>
                    </a:lnTo>
                    <a:lnTo>
                      <a:pt x="219942" y="41419"/>
                    </a:lnTo>
                    <a:lnTo>
                      <a:pt x="228861" y="39011"/>
                    </a:lnTo>
                    <a:lnTo>
                      <a:pt x="234963" y="33064"/>
                    </a:lnTo>
                    <a:lnTo>
                      <a:pt x="239872" y="34660"/>
                    </a:lnTo>
                    <a:lnTo>
                      <a:pt x="250528" y="51410"/>
                    </a:lnTo>
                    <a:lnTo>
                      <a:pt x="257305" y="58568"/>
                    </a:lnTo>
                    <a:lnTo>
                      <a:pt x="261474" y="59226"/>
                    </a:lnTo>
                    <a:lnTo>
                      <a:pt x="267535" y="54966"/>
                    </a:lnTo>
                    <a:lnTo>
                      <a:pt x="275270" y="56370"/>
                    </a:lnTo>
                    <a:lnTo>
                      <a:pt x="273935" y="65529"/>
                    </a:lnTo>
                    <a:lnTo>
                      <a:pt x="267351" y="71097"/>
                    </a:lnTo>
                    <a:lnTo>
                      <a:pt x="269104" y="80809"/>
                    </a:lnTo>
                    <a:lnTo>
                      <a:pt x="275627" y="79940"/>
                    </a:lnTo>
                    <a:lnTo>
                      <a:pt x="278248" y="93649"/>
                    </a:lnTo>
                    <a:lnTo>
                      <a:pt x="275797" y="98481"/>
                    </a:lnTo>
                    <a:lnTo>
                      <a:pt x="275279" y="104968"/>
                    </a:lnTo>
                    <a:lnTo>
                      <a:pt x="277800" y="112451"/>
                    </a:lnTo>
                    <a:lnTo>
                      <a:pt x="281116" y="117625"/>
                    </a:lnTo>
                    <a:lnTo>
                      <a:pt x="293477" y="113782"/>
                    </a:lnTo>
                    <a:lnTo>
                      <a:pt x="294436" y="114706"/>
                    </a:lnTo>
                    <a:lnTo>
                      <a:pt x="293887" y="122791"/>
                    </a:lnTo>
                    <a:lnTo>
                      <a:pt x="307796" y="122454"/>
                    </a:lnTo>
                    <a:lnTo>
                      <a:pt x="308848" y="127895"/>
                    </a:lnTo>
                    <a:lnTo>
                      <a:pt x="308838" y="127895"/>
                    </a:lnTo>
                    <a:lnTo>
                      <a:pt x="303977" y="128062"/>
                    </a:lnTo>
                    <a:lnTo>
                      <a:pt x="298679" y="129776"/>
                    </a:lnTo>
                    <a:lnTo>
                      <a:pt x="289489" y="134938"/>
                    </a:lnTo>
                    <a:lnTo>
                      <a:pt x="285111" y="136082"/>
                    </a:lnTo>
                    <a:lnTo>
                      <a:pt x="278861" y="135061"/>
                    </a:lnTo>
                    <a:lnTo>
                      <a:pt x="278855" y="135060"/>
                    </a:lnTo>
                    <a:lnTo>
                      <a:pt x="274127" y="129431"/>
                    </a:lnTo>
                    <a:lnTo>
                      <a:pt x="266378" y="126250"/>
                    </a:lnTo>
                    <a:lnTo>
                      <a:pt x="260998" y="124671"/>
                    </a:lnTo>
                    <a:lnTo>
                      <a:pt x="256285" y="124102"/>
                    </a:lnTo>
                    <a:lnTo>
                      <a:pt x="252448" y="124185"/>
                    </a:lnTo>
                    <a:lnTo>
                      <a:pt x="250098" y="124235"/>
                    </a:lnTo>
                    <a:lnTo>
                      <a:pt x="248886" y="125485"/>
                    </a:lnTo>
                    <a:lnTo>
                      <a:pt x="246864" y="122627"/>
                    </a:lnTo>
                    <a:lnTo>
                      <a:pt x="243596" y="119655"/>
                    </a:lnTo>
                    <a:lnTo>
                      <a:pt x="239083" y="118072"/>
                    </a:lnTo>
                    <a:lnTo>
                      <a:pt x="233967" y="118177"/>
                    </a:lnTo>
                    <a:lnTo>
                      <a:pt x="230762" y="118242"/>
                    </a:lnTo>
                    <a:lnTo>
                      <a:pt x="228034" y="120980"/>
                    </a:lnTo>
                    <a:lnTo>
                      <a:pt x="227257" y="124372"/>
                    </a:lnTo>
                    <a:lnTo>
                      <a:pt x="225642" y="129457"/>
                    </a:lnTo>
                    <a:lnTo>
                      <a:pt x="224877" y="134188"/>
                    </a:lnTo>
                    <a:lnTo>
                      <a:pt x="223480" y="135503"/>
                    </a:lnTo>
                    <a:lnTo>
                      <a:pt x="221545" y="130951"/>
                    </a:lnTo>
                    <a:lnTo>
                      <a:pt x="220284" y="129903"/>
                    </a:lnTo>
                    <a:lnTo>
                      <a:pt x="218116" y="131904"/>
                    </a:lnTo>
                    <a:lnTo>
                      <a:pt x="209999" y="145752"/>
                    </a:lnTo>
                    <a:lnTo>
                      <a:pt x="213164" y="145256"/>
                    </a:lnTo>
                    <a:lnTo>
                      <a:pt x="216012" y="144160"/>
                    </a:lnTo>
                    <a:lnTo>
                      <a:pt x="218670" y="142415"/>
                    </a:lnTo>
                    <a:lnTo>
                      <a:pt x="221285" y="140047"/>
                    </a:lnTo>
                    <a:lnTo>
                      <a:pt x="226667" y="149312"/>
                    </a:lnTo>
                    <a:lnTo>
                      <a:pt x="229542" y="152115"/>
                    </a:lnTo>
                    <a:lnTo>
                      <a:pt x="234018" y="153081"/>
                    </a:lnTo>
                    <a:lnTo>
                      <a:pt x="238059" y="152951"/>
                    </a:lnTo>
                    <a:lnTo>
                      <a:pt x="241623" y="153670"/>
                    </a:lnTo>
                    <a:lnTo>
                      <a:pt x="243359" y="156587"/>
                    </a:lnTo>
                    <a:lnTo>
                      <a:pt x="241775" y="163117"/>
                    </a:lnTo>
                    <a:lnTo>
                      <a:pt x="245392" y="165340"/>
                    </a:lnTo>
                    <a:lnTo>
                      <a:pt x="246794" y="165840"/>
                    </a:lnTo>
                    <a:lnTo>
                      <a:pt x="238568" y="176454"/>
                    </a:lnTo>
                    <a:lnTo>
                      <a:pt x="239186" y="182130"/>
                    </a:lnTo>
                    <a:lnTo>
                      <a:pt x="234735" y="184349"/>
                    </a:lnTo>
                    <a:lnTo>
                      <a:pt x="214974" y="185159"/>
                    </a:lnTo>
                    <a:lnTo>
                      <a:pt x="210829" y="184353"/>
                    </a:lnTo>
                    <a:lnTo>
                      <a:pt x="192440" y="176036"/>
                    </a:lnTo>
                    <a:lnTo>
                      <a:pt x="147414" y="171717"/>
                    </a:lnTo>
                    <a:lnTo>
                      <a:pt x="138990" y="166590"/>
                    </a:lnTo>
                    <a:lnTo>
                      <a:pt x="133841" y="167412"/>
                    </a:lnTo>
                    <a:lnTo>
                      <a:pt x="124778" y="170617"/>
                    </a:lnTo>
                    <a:lnTo>
                      <a:pt x="121985" y="174339"/>
                    </a:lnTo>
                    <a:lnTo>
                      <a:pt x="119073" y="182536"/>
                    </a:lnTo>
                    <a:lnTo>
                      <a:pt x="117828" y="190711"/>
                    </a:lnTo>
                    <a:lnTo>
                      <a:pt x="120109" y="194363"/>
                    </a:lnTo>
                    <a:lnTo>
                      <a:pt x="126262" y="196282"/>
                    </a:lnTo>
                    <a:lnTo>
                      <a:pt x="126941" y="201120"/>
                    </a:lnTo>
                    <a:lnTo>
                      <a:pt x="124452" y="207168"/>
                    </a:lnTo>
                    <a:lnTo>
                      <a:pt x="121103" y="212622"/>
                    </a:lnTo>
                    <a:lnTo>
                      <a:pt x="119600" y="212643"/>
                    </a:lnTo>
                    <a:lnTo>
                      <a:pt x="119211" y="198197"/>
                    </a:lnTo>
                    <a:lnTo>
                      <a:pt x="113465" y="188765"/>
                    </a:lnTo>
                    <a:lnTo>
                      <a:pt x="62232" y="150260"/>
                    </a:lnTo>
                    <a:lnTo>
                      <a:pt x="20479" y="134994"/>
                    </a:lnTo>
                    <a:lnTo>
                      <a:pt x="15032" y="134819"/>
                    </a:lnTo>
                    <a:lnTo>
                      <a:pt x="962" y="138183"/>
                    </a:lnTo>
                    <a:lnTo>
                      <a:pt x="956" y="138184"/>
                    </a:lnTo>
                    <a:lnTo>
                      <a:pt x="58" y="135021"/>
                    </a:lnTo>
                    <a:lnTo>
                      <a:pt x="4019" y="124386"/>
                    </a:lnTo>
                    <a:lnTo>
                      <a:pt x="572" y="121016"/>
                    </a:lnTo>
                    <a:lnTo>
                      <a:pt x="16074" y="110831"/>
                    </a:lnTo>
                    <a:lnTo>
                      <a:pt x="14313" y="107450"/>
                    </a:lnTo>
                    <a:lnTo>
                      <a:pt x="6519" y="106223"/>
                    </a:lnTo>
                    <a:lnTo>
                      <a:pt x="0" y="101276"/>
                    </a:lnTo>
                    <a:lnTo>
                      <a:pt x="6778" y="94146"/>
                    </a:lnTo>
                    <a:lnTo>
                      <a:pt x="30148" y="89502"/>
                    </a:lnTo>
                    <a:lnTo>
                      <a:pt x="33863" y="86175"/>
                    </a:lnTo>
                    <a:lnTo>
                      <a:pt x="38443" y="88680"/>
                    </a:lnTo>
                    <a:lnTo>
                      <a:pt x="45647" y="83838"/>
                    </a:lnTo>
                    <a:lnTo>
                      <a:pt x="56293" y="83419"/>
                    </a:lnTo>
                    <a:lnTo>
                      <a:pt x="71106" y="76160"/>
                    </a:lnTo>
                    <a:lnTo>
                      <a:pt x="80422" y="76490"/>
                    </a:lnTo>
                    <a:lnTo>
                      <a:pt x="82008" y="74558"/>
                    </a:lnTo>
                    <a:lnTo>
                      <a:pt x="79907" y="66628"/>
                    </a:lnTo>
                    <a:lnTo>
                      <a:pt x="82324" y="61607"/>
                    </a:lnTo>
                    <a:lnTo>
                      <a:pt x="82512" y="53967"/>
                    </a:lnTo>
                    <a:lnTo>
                      <a:pt x="84795" y="48947"/>
                    </a:lnTo>
                    <a:lnTo>
                      <a:pt x="83780" y="41755"/>
                    </a:lnTo>
                    <a:lnTo>
                      <a:pt x="89828" y="39238"/>
                    </a:lnTo>
                    <a:lnTo>
                      <a:pt x="92928" y="41528"/>
                    </a:lnTo>
                    <a:lnTo>
                      <a:pt x="95537" y="40766"/>
                    </a:lnTo>
                    <a:lnTo>
                      <a:pt x="97363" y="36915"/>
                    </a:lnTo>
                    <a:lnTo>
                      <a:pt x="96567" y="32800"/>
                    </a:lnTo>
                    <a:lnTo>
                      <a:pt x="97370" y="31823"/>
                    </a:lnTo>
                    <a:lnTo>
                      <a:pt x="108492" y="34226"/>
                    </a:lnTo>
                    <a:lnTo>
                      <a:pt x="114736" y="46557"/>
                    </a:lnTo>
                    <a:lnTo>
                      <a:pt x="119348" y="50856"/>
                    </a:lnTo>
                    <a:lnTo>
                      <a:pt x="121880" y="50288"/>
                    </a:lnTo>
                    <a:lnTo>
                      <a:pt x="122725" y="44217"/>
                    </a:lnTo>
                    <a:lnTo>
                      <a:pt x="123866" y="43471"/>
                    </a:lnTo>
                    <a:lnTo>
                      <a:pt x="131583" y="45374"/>
                    </a:lnTo>
                    <a:lnTo>
                      <a:pt x="146599" y="38361"/>
                    </a:lnTo>
                    <a:lnTo>
                      <a:pt x="146282" y="35918"/>
                    </a:lnTo>
                    <a:lnTo>
                      <a:pt x="138613" y="32423"/>
                    </a:lnTo>
                    <a:lnTo>
                      <a:pt x="138371" y="29466"/>
                    </a:lnTo>
                    <a:lnTo>
                      <a:pt x="140051" y="25721"/>
                    </a:lnTo>
                    <a:lnTo>
                      <a:pt x="149528" y="15717"/>
                    </a:lnTo>
                    <a:lnTo>
                      <a:pt x="146728" y="7155"/>
                    </a:lnTo>
                    <a:lnTo>
                      <a:pt x="149891" y="0"/>
                    </a:lnTo>
                    <a:lnTo>
                      <a:pt x="157982" y="1036"/>
                    </a:lnTo>
                    <a:lnTo>
                      <a:pt x="163769" y="4239"/>
                    </a:lnTo>
                    <a:lnTo>
                      <a:pt x="169915" y="4235"/>
                    </a:lnTo>
                    <a:lnTo>
                      <a:pt x="173415" y="6407"/>
                    </a:lnTo>
                    <a:lnTo>
                      <a:pt x="180768" y="14572"/>
                    </a:lnTo>
                    <a:lnTo>
                      <a:pt x="193174" y="36418"/>
                    </a:lnTo>
                    <a:lnTo>
                      <a:pt x="198220" y="38221"/>
                    </a:lnTo>
                    <a:lnTo>
                      <a:pt x="200668" y="4423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8" name="Freeform 50">
                <a:extLst>
                  <a:ext uri="{FF2B5EF4-FFF2-40B4-BE49-F238E27FC236}">
                    <a16:creationId xmlns:a16="http://schemas.microsoft.com/office/drawing/2014/main" id="{8FD075FC-9889-04DF-B2DC-608790355483}"/>
                  </a:ext>
                </a:extLst>
              </p:cNvPr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>
              <a:xfrm>
                <a:off x="4863489" y="5385107"/>
                <a:ext cx="30552" cy="29314"/>
              </a:xfrm>
              <a:custGeom>
                <a:avLst/>
                <a:gdLst/>
                <a:ahLst/>
                <a:cxnLst/>
                <a:rect l="0" t="0" r="0" b="0"/>
                <a:pathLst>
                  <a:path w="31369" h="30098">
                    <a:moveTo>
                      <a:pt x="25406" y="7413"/>
                    </a:moveTo>
                    <a:lnTo>
                      <a:pt x="24947" y="7876"/>
                    </a:lnTo>
                    <a:lnTo>
                      <a:pt x="23522" y="11282"/>
                    </a:lnTo>
                    <a:lnTo>
                      <a:pt x="23833" y="16338"/>
                    </a:lnTo>
                    <a:lnTo>
                      <a:pt x="25395" y="18999"/>
                    </a:lnTo>
                    <a:lnTo>
                      <a:pt x="29455" y="19583"/>
                    </a:lnTo>
                    <a:lnTo>
                      <a:pt x="31368" y="20247"/>
                    </a:lnTo>
                    <a:lnTo>
                      <a:pt x="27323" y="23625"/>
                    </a:lnTo>
                    <a:lnTo>
                      <a:pt x="23729" y="28115"/>
                    </a:lnTo>
                    <a:lnTo>
                      <a:pt x="21128" y="30097"/>
                    </a:lnTo>
                    <a:lnTo>
                      <a:pt x="20030" y="27509"/>
                    </a:lnTo>
                    <a:lnTo>
                      <a:pt x="19517" y="23604"/>
                    </a:lnTo>
                    <a:lnTo>
                      <a:pt x="18707" y="21553"/>
                    </a:lnTo>
                    <a:lnTo>
                      <a:pt x="9357" y="19150"/>
                    </a:lnTo>
                    <a:lnTo>
                      <a:pt x="3024" y="19728"/>
                    </a:lnTo>
                    <a:lnTo>
                      <a:pt x="1065" y="19316"/>
                    </a:lnTo>
                    <a:lnTo>
                      <a:pt x="190" y="17904"/>
                    </a:lnTo>
                    <a:lnTo>
                      <a:pt x="4" y="17442"/>
                    </a:lnTo>
                    <a:lnTo>
                      <a:pt x="0" y="17431"/>
                    </a:lnTo>
                    <a:lnTo>
                      <a:pt x="1397" y="16116"/>
                    </a:lnTo>
                    <a:lnTo>
                      <a:pt x="2162" y="11385"/>
                    </a:lnTo>
                    <a:lnTo>
                      <a:pt x="3777" y="6300"/>
                    </a:lnTo>
                    <a:lnTo>
                      <a:pt x="4554" y="2908"/>
                    </a:lnTo>
                    <a:lnTo>
                      <a:pt x="7282" y="170"/>
                    </a:lnTo>
                    <a:lnTo>
                      <a:pt x="10487" y="105"/>
                    </a:lnTo>
                    <a:lnTo>
                      <a:pt x="15603" y="0"/>
                    </a:lnTo>
                    <a:lnTo>
                      <a:pt x="20116" y="1583"/>
                    </a:lnTo>
                    <a:lnTo>
                      <a:pt x="23384" y="455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19" name="Freeform 51">
                <a:extLst>
                  <a:ext uri="{FF2B5EF4-FFF2-40B4-BE49-F238E27FC236}">
                    <a16:creationId xmlns:a16="http://schemas.microsoft.com/office/drawing/2014/main" id="{409959E0-4BA2-32C9-C284-4E1D696D8DF1}"/>
                  </a:ext>
                </a:extLst>
              </p:cNvPr>
              <p:cNvSpPr>
                <a:spLocks noChangeAspect="1"/>
              </p:cNvSpPr>
              <p:nvPr>
                <p:custDataLst>
                  <p:tags r:id="rId50"/>
                </p:custDataLst>
              </p:nvPr>
            </p:nvSpPr>
            <p:spPr>
              <a:xfrm>
                <a:off x="5201943" y="4640835"/>
                <a:ext cx="230560" cy="269420"/>
              </a:xfrm>
              <a:custGeom>
                <a:avLst/>
                <a:gdLst/>
                <a:ahLst/>
                <a:cxnLst/>
                <a:rect l="0" t="0" r="0" b="0"/>
                <a:pathLst>
                  <a:path w="236723" h="276622">
                    <a:moveTo>
                      <a:pt x="146226" y="65"/>
                    </a:moveTo>
                    <a:lnTo>
                      <a:pt x="143721" y="20913"/>
                    </a:lnTo>
                    <a:lnTo>
                      <a:pt x="153243" y="23905"/>
                    </a:lnTo>
                    <a:lnTo>
                      <a:pt x="154423" y="27897"/>
                    </a:lnTo>
                    <a:lnTo>
                      <a:pt x="150635" y="33292"/>
                    </a:lnTo>
                    <a:lnTo>
                      <a:pt x="150889" y="35928"/>
                    </a:lnTo>
                    <a:lnTo>
                      <a:pt x="165622" y="46119"/>
                    </a:lnTo>
                    <a:lnTo>
                      <a:pt x="165440" y="47829"/>
                    </a:lnTo>
                    <a:lnTo>
                      <a:pt x="159939" y="52899"/>
                    </a:lnTo>
                    <a:lnTo>
                      <a:pt x="159602" y="57485"/>
                    </a:lnTo>
                    <a:lnTo>
                      <a:pt x="162347" y="61810"/>
                    </a:lnTo>
                    <a:lnTo>
                      <a:pt x="160356" y="68616"/>
                    </a:lnTo>
                    <a:lnTo>
                      <a:pt x="161887" y="76822"/>
                    </a:lnTo>
                    <a:lnTo>
                      <a:pt x="164976" y="79104"/>
                    </a:lnTo>
                    <a:lnTo>
                      <a:pt x="164694" y="82310"/>
                    </a:lnTo>
                    <a:lnTo>
                      <a:pt x="169517" y="89494"/>
                    </a:lnTo>
                    <a:lnTo>
                      <a:pt x="171588" y="89485"/>
                    </a:lnTo>
                    <a:lnTo>
                      <a:pt x="176883" y="84323"/>
                    </a:lnTo>
                    <a:lnTo>
                      <a:pt x="186750" y="82524"/>
                    </a:lnTo>
                    <a:lnTo>
                      <a:pt x="194889" y="86982"/>
                    </a:lnTo>
                    <a:lnTo>
                      <a:pt x="195485" y="89599"/>
                    </a:lnTo>
                    <a:lnTo>
                      <a:pt x="203875" y="99991"/>
                    </a:lnTo>
                    <a:lnTo>
                      <a:pt x="215784" y="108160"/>
                    </a:lnTo>
                    <a:lnTo>
                      <a:pt x="203604" y="118069"/>
                    </a:lnTo>
                    <a:lnTo>
                      <a:pt x="202694" y="120453"/>
                    </a:lnTo>
                    <a:lnTo>
                      <a:pt x="203251" y="124911"/>
                    </a:lnTo>
                    <a:lnTo>
                      <a:pt x="210821" y="137669"/>
                    </a:lnTo>
                    <a:lnTo>
                      <a:pt x="217555" y="143350"/>
                    </a:lnTo>
                    <a:lnTo>
                      <a:pt x="217962" y="146195"/>
                    </a:lnTo>
                    <a:lnTo>
                      <a:pt x="215047" y="152208"/>
                    </a:lnTo>
                    <a:lnTo>
                      <a:pt x="215261" y="155063"/>
                    </a:lnTo>
                    <a:lnTo>
                      <a:pt x="224230" y="155104"/>
                    </a:lnTo>
                    <a:lnTo>
                      <a:pt x="233662" y="164783"/>
                    </a:lnTo>
                    <a:lnTo>
                      <a:pt x="233759" y="167447"/>
                    </a:lnTo>
                    <a:lnTo>
                      <a:pt x="230512" y="171347"/>
                    </a:lnTo>
                    <a:lnTo>
                      <a:pt x="215564" y="176422"/>
                    </a:lnTo>
                    <a:lnTo>
                      <a:pt x="203931" y="168237"/>
                    </a:lnTo>
                    <a:lnTo>
                      <a:pt x="203585" y="165369"/>
                    </a:lnTo>
                    <a:lnTo>
                      <a:pt x="200107" y="163440"/>
                    </a:lnTo>
                    <a:lnTo>
                      <a:pt x="196606" y="175957"/>
                    </a:lnTo>
                    <a:lnTo>
                      <a:pt x="207260" y="187918"/>
                    </a:lnTo>
                    <a:lnTo>
                      <a:pt x="211488" y="187916"/>
                    </a:lnTo>
                    <a:lnTo>
                      <a:pt x="215037" y="182503"/>
                    </a:lnTo>
                    <a:lnTo>
                      <a:pt x="220183" y="183704"/>
                    </a:lnTo>
                    <a:lnTo>
                      <a:pt x="223257" y="181418"/>
                    </a:lnTo>
                    <a:lnTo>
                      <a:pt x="227925" y="185619"/>
                    </a:lnTo>
                    <a:lnTo>
                      <a:pt x="233426" y="185204"/>
                    </a:lnTo>
                    <a:lnTo>
                      <a:pt x="236299" y="188979"/>
                    </a:lnTo>
                    <a:lnTo>
                      <a:pt x="236722" y="191822"/>
                    </a:lnTo>
                    <a:lnTo>
                      <a:pt x="232995" y="204785"/>
                    </a:lnTo>
                    <a:lnTo>
                      <a:pt x="233410" y="211031"/>
                    </a:lnTo>
                    <a:lnTo>
                      <a:pt x="230086" y="212383"/>
                    </a:lnTo>
                    <a:lnTo>
                      <a:pt x="224691" y="210348"/>
                    </a:lnTo>
                    <a:lnTo>
                      <a:pt x="222752" y="211958"/>
                    </a:lnTo>
                    <a:lnTo>
                      <a:pt x="218064" y="217949"/>
                    </a:lnTo>
                    <a:lnTo>
                      <a:pt x="217407" y="224035"/>
                    </a:lnTo>
                    <a:lnTo>
                      <a:pt x="211016" y="233854"/>
                    </a:lnTo>
                    <a:lnTo>
                      <a:pt x="214484" y="250908"/>
                    </a:lnTo>
                    <a:lnTo>
                      <a:pt x="210917" y="254047"/>
                    </a:lnTo>
                    <a:lnTo>
                      <a:pt x="213050" y="257332"/>
                    </a:lnTo>
                    <a:lnTo>
                      <a:pt x="210777" y="260224"/>
                    </a:lnTo>
                    <a:lnTo>
                      <a:pt x="204604" y="257256"/>
                    </a:lnTo>
                    <a:lnTo>
                      <a:pt x="194563" y="246305"/>
                    </a:lnTo>
                    <a:lnTo>
                      <a:pt x="190094" y="243576"/>
                    </a:lnTo>
                    <a:lnTo>
                      <a:pt x="185283" y="242665"/>
                    </a:lnTo>
                    <a:lnTo>
                      <a:pt x="178211" y="246119"/>
                    </a:lnTo>
                    <a:lnTo>
                      <a:pt x="166591" y="244904"/>
                    </a:lnTo>
                    <a:lnTo>
                      <a:pt x="163687" y="247070"/>
                    </a:lnTo>
                    <a:lnTo>
                      <a:pt x="163994" y="254507"/>
                    </a:lnTo>
                    <a:lnTo>
                      <a:pt x="160265" y="258098"/>
                    </a:lnTo>
                    <a:lnTo>
                      <a:pt x="151501" y="260875"/>
                    </a:lnTo>
                    <a:lnTo>
                      <a:pt x="145707" y="255850"/>
                    </a:lnTo>
                    <a:lnTo>
                      <a:pt x="143565" y="256293"/>
                    </a:lnTo>
                    <a:lnTo>
                      <a:pt x="144541" y="266752"/>
                    </a:lnTo>
                    <a:lnTo>
                      <a:pt x="138483" y="276621"/>
                    </a:lnTo>
                    <a:lnTo>
                      <a:pt x="130874" y="261371"/>
                    </a:lnTo>
                    <a:lnTo>
                      <a:pt x="118703" y="259655"/>
                    </a:lnTo>
                    <a:lnTo>
                      <a:pt x="115974" y="258917"/>
                    </a:lnTo>
                    <a:lnTo>
                      <a:pt x="111951" y="263579"/>
                    </a:lnTo>
                    <a:lnTo>
                      <a:pt x="103202" y="266331"/>
                    </a:lnTo>
                    <a:lnTo>
                      <a:pt x="93595" y="272319"/>
                    </a:lnTo>
                    <a:lnTo>
                      <a:pt x="91616" y="270692"/>
                    </a:lnTo>
                    <a:lnTo>
                      <a:pt x="91093" y="266467"/>
                    </a:lnTo>
                    <a:lnTo>
                      <a:pt x="86975" y="263380"/>
                    </a:lnTo>
                    <a:lnTo>
                      <a:pt x="87816" y="257608"/>
                    </a:lnTo>
                    <a:lnTo>
                      <a:pt x="87035" y="254879"/>
                    </a:lnTo>
                    <a:lnTo>
                      <a:pt x="84038" y="253525"/>
                    </a:lnTo>
                    <a:lnTo>
                      <a:pt x="86778" y="233643"/>
                    </a:lnTo>
                    <a:lnTo>
                      <a:pt x="86236" y="228984"/>
                    </a:lnTo>
                    <a:lnTo>
                      <a:pt x="77397" y="230887"/>
                    </a:lnTo>
                    <a:lnTo>
                      <a:pt x="66408" y="230215"/>
                    </a:lnTo>
                    <a:lnTo>
                      <a:pt x="65379" y="229204"/>
                    </a:lnTo>
                    <a:lnTo>
                      <a:pt x="68380" y="223327"/>
                    </a:lnTo>
                    <a:lnTo>
                      <a:pt x="58836" y="219946"/>
                    </a:lnTo>
                    <a:lnTo>
                      <a:pt x="58330" y="218802"/>
                    </a:lnTo>
                    <a:lnTo>
                      <a:pt x="61684" y="215133"/>
                    </a:lnTo>
                    <a:lnTo>
                      <a:pt x="61123" y="212610"/>
                    </a:lnTo>
                    <a:lnTo>
                      <a:pt x="56877" y="208018"/>
                    </a:lnTo>
                    <a:lnTo>
                      <a:pt x="47596" y="204303"/>
                    </a:lnTo>
                    <a:lnTo>
                      <a:pt x="46913" y="196152"/>
                    </a:lnTo>
                    <a:lnTo>
                      <a:pt x="37856" y="194635"/>
                    </a:lnTo>
                    <a:lnTo>
                      <a:pt x="34627" y="196693"/>
                    </a:lnTo>
                    <a:lnTo>
                      <a:pt x="32371" y="195625"/>
                    </a:lnTo>
                    <a:lnTo>
                      <a:pt x="29080" y="190137"/>
                    </a:lnTo>
                    <a:lnTo>
                      <a:pt x="28013" y="180301"/>
                    </a:lnTo>
                    <a:lnTo>
                      <a:pt x="16685" y="176857"/>
                    </a:lnTo>
                    <a:lnTo>
                      <a:pt x="13900" y="169545"/>
                    </a:lnTo>
                    <a:lnTo>
                      <a:pt x="6885" y="165503"/>
                    </a:lnTo>
                    <a:lnTo>
                      <a:pt x="6036" y="159878"/>
                    </a:lnTo>
                    <a:lnTo>
                      <a:pt x="0" y="150578"/>
                    </a:lnTo>
                    <a:lnTo>
                      <a:pt x="0" y="144105"/>
                    </a:lnTo>
                    <a:lnTo>
                      <a:pt x="13393" y="137060"/>
                    </a:lnTo>
                    <a:lnTo>
                      <a:pt x="15383" y="131877"/>
                    </a:lnTo>
                    <a:lnTo>
                      <a:pt x="22943" y="125286"/>
                    </a:lnTo>
                    <a:lnTo>
                      <a:pt x="32388" y="111378"/>
                    </a:lnTo>
                    <a:lnTo>
                      <a:pt x="33223" y="108259"/>
                    </a:lnTo>
                    <a:lnTo>
                      <a:pt x="29754" y="95239"/>
                    </a:lnTo>
                    <a:lnTo>
                      <a:pt x="15671" y="87498"/>
                    </a:lnTo>
                    <a:lnTo>
                      <a:pt x="17299" y="77647"/>
                    </a:lnTo>
                    <a:lnTo>
                      <a:pt x="13193" y="72921"/>
                    </a:lnTo>
                    <a:lnTo>
                      <a:pt x="13227" y="69303"/>
                    </a:lnTo>
                    <a:lnTo>
                      <a:pt x="17060" y="69426"/>
                    </a:lnTo>
                    <a:lnTo>
                      <a:pt x="21125" y="74319"/>
                    </a:lnTo>
                    <a:lnTo>
                      <a:pt x="27201" y="81032"/>
                    </a:lnTo>
                    <a:lnTo>
                      <a:pt x="34475" y="88342"/>
                    </a:lnTo>
                    <a:lnTo>
                      <a:pt x="43771" y="89195"/>
                    </a:lnTo>
                    <a:lnTo>
                      <a:pt x="47052" y="84601"/>
                    </a:lnTo>
                    <a:lnTo>
                      <a:pt x="54472" y="77924"/>
                    </a:lnTo>
                    <a:lnTo>
                      <a:pt x="59538" y="70084"/>
                    </a:lnTo>
                    <a:lnTo>
                      <a:pt x="64454" y="67962"/>
                    </a:lnTo>
                    <a:lnTo>
                      <a:pt x="76428" y="59778"/>
                    </a:lnTo>
                    <a:lnTo>
                      <a:pt x="88627" y="56674"/>
                    </a:lnTo>
                    <a:lnTo>
                      <a:pt x="94369" y="55768"/>
                    </a:lnTo>
                    <a:lnTo>
                      <a:pt x="96232" y="54405"/>
                    </a:lnTo>
                    <a:lnTo>
                      <a:pt x="97203" y="50553"/>
                    </a:lnTo>
                    <a:lnTo>
                      <a:pt x="96845" y="42958"/>
                    </a:lnTo>
                    <a:lnTo>
                      <a:pt x="96136" y="27970"/>
                    </a:lnTo>
                    <a:lnTo>
                      <a:pt x="107789" y="31381"/>
                    </a:lnTo>
                    <a:lnTo>
                      <a:pt x="115235" y="30818"/>
                    </a:lnTo>
                    <a:lnTo>
                      <a:pt x="118737" y="27365"/>
                    </a:lnTo>
                    <a:lnTo>
                      <a:pt x="120602" y="21955"/>
                    </a:lnTo>
                    <a:lnTo>
                      <a:pt x="119022" y="10547"/>
                    </a:lnTo>
                    <a:lnTo>
                      <a:pt x="120661" y="8548"/>
                    </a:lnTo>
                    <a:lnTo>
                      <a:pt x="129213" y="7173"/>
                    </a:lnTo>
                    <a:lnTo>
                      <a:pt x="14089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0" name="Freeform 52">
                <a:extLst>
                  <a:ext uri="{FF2B5EF4-FFF2-40B4-BE49-F238E27FC236}">
                    <a16:creationId xmlns:a16="http://schemas.microsoft.com/office/drawing/2014/main" id="{343B65C4-0836-DC22-EE9A-A685535C84C6}"/>
                  </a:ext>
                </a:extLst>
              </p:cNvPr>
              <p:cNvSpPr>
                <a:spLocks noChangeAspect="1"/>
              </p:cNvSpPr>
              <p:nvPr>
                <p:custDataLst>
                  <p:tags r:id="rId51"/>
                </p:custDataLst>
              </p:nvPr>
            </p:nvSpPr>
            <p:spPr>
              <a:xfrm>
                <a:off x="4949317" y="4562226"/>
                <a:ext cx="209281" cy="219859"/>
              </a:xfrm>
              <a:custGeom>
                <a:avLst/>
                <a:gdLst/>
                <a:ahLst/>
                <a:cxnLst/>
                <a:rect l="l" t="t" r="r" b="b"/>
                <a:pathLst>
                  <a:path w="214875" h="225736">
                    <a:moveTo>
                      <a:pt x="107696" y="119450"/>
                    </a:moveTo>
                    <a:lnTo>
                      <a:pt x="98368" y="119752"/>
                    </a:lnTo>
                    <a:lnTo>
                      <a:pt x="93922" y="126632"/>
                    </a:lnTo>
                    <a:lnTo>
                      <a:pt x="94163" y="134307"/>
                    </a:lnTo>
                    <a:lnTo>
                      <a:pt x="97585" y="150554"/>
                    </a:lnTo>
                    <a:lnTo>
                      <a:pt x="108229" y="154062"/>
                    </a:lnTo>
                    <a:lnTo>
                      <a:pt x="121281" y="142074"/>
                    </a:lnTo>
                    <a:lnTo>
                      <a:pt x="122681" y="131457"/>
                    </a:lnTo>
                    <a:lnTo>
                      <a:pt x="118866" y="121965"/>
                    </a:lnTo>
                    <a:close/>
                    <a:moveTo>
                      <a:pt x="185101" y="0"/>
                    </a:moveTo>
                    <a:lnTo>
                      <a:pt x="185864" y="6590"/>
                    </a:lnTo>
                    <a:lnTo>
                      <a:pt x="189950" y="9616"/>
                    </a:lnTo>
                    <a:lnTo>
                      <a:pt x="190690" y="12353"/>
                    </a:lnTo>
                    <a:lnTo>
                      <a:pt x="186881" y="25361"/>
                    </a:lnTo>
                    <a:lnTo>
                      <a:pt x="189365" y="29930"/>
                    </a:lnTo>
                    <a:lnTo>
                      <a:pt x="189395" y="34395"/>
                    </a:lnTo>
                    <a:lnTo>
                      <a:pt x="196395" y="36044"/>
                    </a:lnTo>
                    <a:lnTo>
                      <a:pt x="200103" y="42579"/>
                    </a:lnTo>
                    <a:lnTo>
                      <a:pt x="204726" y="54514"/>
                    </a:lnTo>
                    <a:lnTo>
                      <a:pt x="208202" y="58092"/>
                    </a:lnTo>
                    <a:lnTo>
                      <a:pt x="211533" y="72841"/>
                    </a:lnTo>
                    <a:lnTo>
                      <a:pt x="214875" y="80534"/>
                    </a:lnTo>
                    <a:lnTo>
                      <a:pt x="207951" y="86042"/>
                    </a:lnTo>
                    <a:lnTo>
                      <a:pt x="197743" y="93175"/>
                    </a:lnTo>
                    <a:lnTo>
                      <a:pt x="184904" y="92694"/>
                    </a:lnTo>
                    <a:lnTo>
                      <a:pt x="179809" y="96738"/>
                    </a:lnTo>
                    <a:lnTo>
                      <a:pt x="180091" y="104412"/>
                    </a:lnTo>
                    <a:lnTo>
                      <a:pt x="181463" y="110131"/>
                    </a:lnTo>
                    <a:lnTo>
                      <a:pt x="181123" y="116880"/>
                    </a:lnTo>
                    <a:lnTo>
                      <a:pt x="181617" y="130327"/>
                    </a:lnTo>
                    <a:lnTo>
                      <a:pt x="182557" y="139904"/>
                    </a:lnTo>
                    <a:lnTo>
                      <a:pt x="185901" y="151338"/>
                    </a:lnTo>
                    <a:lnTo>
                      <a:pt x="191620" y="163609"/>
                    </a:lnTo>
                    <a:lnTo>
                      <a:pt x="197172" y="171095"/>
                    </a:lnTo>
                    <a:lnTo>
                      <a:pt x="200120" y="173205"/>
                    </a:lnTo>
                    <a:lnTo>
                      <a:pt x="199090" y="174113"/>
                    </a:lnTo>
                    <a:lnTo>
                      <a:pt x="192956" y="176263"/>
                    </a:lnTo>
                    <a:lnTo>
                      <a:pt x="186333" y="173646"/>
                    </a:lnTo>
                    <a:lnTo>
                      <a:pt x="176508" y="175385"/>
                    </a:lnTo>
                    <a:lnTo>
                      <a:pt x="169326" y="173524"/>
                    </a:lnTo>
                    <a:lnTo>
                      <a:pt x="167379" y="175077"/>
                    </a:lnTo>
                    <a:lnTo>
                      <a:pt x="162754" y="187156"/>
                    </a:lnTo>
                    <a:lnTo>
                      <a:pt x="168088" y="191408"/>
                    </a:lnTo>
                    <a:lnTo>
                      <a:pt x="164995" y="197368"/>
                    </a:lnTo>
                    <a:lnTo>
                      <a:pt x="161953" y="197359"/>
                    </a:lnTo>
                    <a:lnTo>
                      <a:pt x="152517" y="192183"/>
                    </a:lnTo>
                    <a:lnTo>
                      <a:pt x="146544" y="191641"/>
                    </a:lnTo>
                    <a:lnTo>
                      <a:pt x="130304" y="199432"/>
                    </a:lnTo>
                    <a:lnTo>
                      <a:pt x="129633" y="200620"/>
                    </a:lnTo>
                    <a:lnTo>
                      <a:pt x="130580" y="202821"/>
                    </a:lnTo>
                    <a:lnTo>
                      <a:pt x="133104" y="203900"/>
                    </a:lnTo>
                    <a:lnTo>
                      <a:pt x="128144" y="215644"/>
                    </a:lnTo>
                    <a:lnTo>
                      <a:pt x="114966" y="207807"/>
                    </a:lnTo>
                    <a:lnTo>
                      <a:pt x="107392" y="215897"/>
                    </a:lnTo>
                    <a:lnTo>
                      <a:pt x="102453" y="225736"/>
                    </a:lnTo>
                    <a:lnTo>
                      <a:pt x="95440" y="224795"/>
                    </a:lnTo>
                    <a:lnTo>
                      <a:pt x="89183" y="211817"/>
                    </a:lnTo>
                    <a:lnTo>
                      <a:pt x="82206" y="208104"/>
                    </a:lnTo>
                    <a:lnTo>
                      <a:pt x="69429" y="188111"/>
                    </a:lnTo>
                    <a:lnTo>
                      <a:pt x="45222" y="176185"/>
                    </a:lnTo>
                    <a:lnTo>
                      <a:pt x="43138" y="171150"/>
                    </a:lnTo>
                    <a:lnTo>
                      <a:pt x="40010" y="167645"/>
                    </a:lnTo>
                    <a:lnTo>
                      <a:pt x="21713" y="160078"/>
                    </a:lnTo>
                    <a:lnTo>
                      <a:pt x="16236" y="153334"/>
                    </a:lnTo>
                    <a:lnTo>
                      <a:pt x="9669" y="151063"/>
                    </a:lnTo>
                    <a:lnTo>
                      <a:pt x="10302" y="143402"/>
                    </a:lnTo>
                    <a:lnTo>
                      <a:pt x="6227" y="135551"/>
                    </a:lnTo>
                    <a:lnTo>
                      <a:pt x="11296" y="132216"/>
                    </a:lnTo>
                    <a:lnTo>
                      <a:pt x="11826" y="127758"/>
                    </a:lnTo>
                    <a:lnTo>
                      <a:pt x="786" y="114562"/>
                    </a:lnTo>
                    <a:lnTo>
                      <a:pt x="0" y="111502"/>
                    </a:lnTo>
                    <a:lnTo>
                      <a:pt x="10911" y="103145"/>
                    </a:lnTo>
                    <a:lnTo>
                      <a:pt x="11664" y="99935"/>
                    </a:lnTo>
                    <a:lnTo>
                      <a:pt x="8708" y="92696"/>
                    </a:lnTo>
                    <a:lnTo>
                      <a:pt x="9039" y="88016"/>
                    </a:lnTo>
                    <a:lnTo>
                      <a:pt x="10984" y="86472"/>
                    </a:lnTo>
                    <a:lnTo>
                      <a:pt x="24427" y="86531"/>
                    </a:lnTo>
                    <a:lnTo>
                      <a:pt x="29128" y="84603"/>
                    </a:lnTo>
                    <a:lnTo>
                      <a:pt x="30129" y="83627"/>
                    </a:lnTo>
                    <a:lnTo>
                      <a:pt x="29381" y="79707"/>
                    </a:lnTo>
                    <a:lnTo>
                      <a:pt x="35032" y="72763"/>
                    </a:lnTo>
                    <a:lnTo>
                      <a:pt x="42339" y="70204"/>
                    </a:lnTo>
                    <a:lnTo>
                      <a:pt x="43766" y="63683"/>
                    </a:lnTo>
                    <a:lnTo>
                      <a:pt x="48158" y="55695"/>
                    </a:lnTo>
                    <a:lnTo>
                      <a:pt x="47602" y="54240"/>
                    </a:lnTo>
                    <a:lnTo>
                      <a:pt x="54649" y="47227"/>
                    </a:lnTo>
                    <a:lnTo>
                      <a:pt x="63206" y="41875"/>
                    </a:lnTo>
                    <a:lnTo>
                      <a:pt x="72124" y="41939"/>
                    </a:lnTo>
                    <a:lnTo>
                      <a:pt x="71399" y="58198"/>
                    </a:lnTo>
                    <a:lnTo>
                      <a:pt x="73551" y="65777"/>
                    </a:lnTo>
                    <a:lnTo>
                      <a:pt x="81689" y="73594"/>
                    </a:lnTo>
                    <a:lnTo>
                      <a:pt x="90402" y="75511"/>
                    </a:lnTo>
                    <a:lnTo>
                      <a:pt x="95269" y="70092"/>
                    </a:lnTo>
                    <a:lnTo>
                      <a:pt x="102772" y="67617"/>
                    </a:lnTo>
                    <a:lnTo>
                      <a:pt x="110330" y="61206"/>
                    </a:lnTo>
                    <a:lnTo>
                      <a:pt x="117139" y="59598"/>
                    </a:lnTo>
                    <a:lnTo>
                      <a:pt x="121420" y="62436"/>
                    </a:lnTo>
                    <a:lnTo>
                      <a:pt x="138163" y="60362"/>
                    </a:lnTo>
                    <a:lnTo>
                      <a:pt x="139636" y="58403"/>
                    </a:lnTo>
                    <a:lnTo>
                      <a:pt x="140363" y="53489"/>
                    </a:lnTo>
                    <a:lnTo>
                      <a:pt x="145778" y="50216"/>
                    </a:lnTo>
                    <a:lnTo>
                      <a:pt x="150306" y="44011"/>
                    </a:lnTo>
                    <a:lnTo>
                      <a:pt x="149340" y="40114"/>
                    </a:lnTo>
                    <a:lnTo>
                      <a:pt x="150009" y="39131"/>
                    </a:lnTo>
                    <a:lnTo>
                      <a:pt x="156596" y="36990"/>
                    </a:lnTo>
                    <a:lnTo>
                      <a:pt x="166932" y="26737"/>
                    </a:lnTo>
                    <a:lnTo>
                      <a:pt x="173031" y="12702"/>
                    </a:lnTo>
                    <a:lnTo>
                      <a:pt x="173241" y="8029"/>
                    </a:lnTo>
                    <a:lnTo>
                      <a:pt x="179406" y="163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1" name="Freeform 54">
                <a:extLst>
                  <a:ext uri="{FF2B5EF4-FFF2-40B4-BE49-F238E27FC236}">
                    <a16:creationId xmlns:a16="http://schemas.microsoft.com/office/drawing/2014/main" id="{BBF2AB76-C554-E9A2-68ED-A2E8C7195D1F}"/>
                  </a:ext>
                </a:extLst>
              </p:cNvPr>
              <p:cNvSpPr>
                <a:spLocks noChangeAspect="1"/>
              </p:cNvSpPr>
              <p:nvPr>
                <p:custDataLst>
                  <p:tags r:id="rId52"/>
                </p:custDataLst>
              </p:nvPr>
            </p:nvSpPr>
            <p:spPr>
              <a:xfrm>
                <a:off x="5188882" y="4250395"/>
                <a:ext cx="33495" cy="28936"/>
              </a:xfrm>
              <a:custGeom>
                <a:avLst/>
                <a:gdLst/>
                <a:ahLst/>
                <a:cxnLst/>
                <a:rect l="0" t="0" r="0" b="0"/>
                <a:pathLst>
                  <a:path w="34390" h="29710">
                    <a:moveTo>
                      <a:pt x="34389" y="18845"/>
                    </a:moveTo>
                    <a:lnTo>
                      <a:pt x="34384" y="18844"/>
                    </a:lnTo>
                    <a:lnTo>
                      <a:pt x="32219" y="18597"/>
                    </a:lnTo>
                    <a:lnTo>
                      <a:pt x="4186" y="29531"/>
                    </a:lnTo>
                    <a:lnTo>
                      <a:pt x="0" y="29709"/>
                    </a:lnTo>
                    <a:lnTo>
                      <a:pt x="260" y="25096"/>
                    </a:lnTo>
                    <a:lnTo>
                      <a:pt x="671" y="16402"/>
                    </a:lnTo>
                    <a:lnTo>
                      <a:pt x="4355" y="6698"/>
                    </a:lnTo>
                    <a:lnTo>
                      <a:pt x="8318" y="3484"/>
                    </a:lnTo>
                    <a:lnTo>
                      <a:pt x="13067" y="680"/>
                    </a:lnTo>
                    <a:lnTo>
                      <a:pt x="18934" y="0"/>
                    </a:lnTo>
                    <a:lnTo>
                      <a:pt x="23324" y="677"/>
                    </a:lnTo>
                    <a:lnTo>
                      <a:pt x="27591" y="4383"/>
                    </a:lnTo>
                    <a:lnTo>
                      <a:pt x="30866" y="9011"/>
                    </a:lnTo>
                    <a:lnTo>
                      <a:pt x="33399" y="14108"/>
                    </a:lnTo>
                    <a:lnTo>
                      <a:pt x="34158" y="1751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2" name="Freeform 55">
                <a:extLst>
                  <a:ext uri="{FF2B5EF4-FFF2-40B4-BE49-F238E27FC236}">
                    <a16:creationId xmlns:a16="http://schemas.microsoft.com/office/drawing/2014/main" id="{432D1303-C894-555E-9BE1-C9181636BA12}"/>
                  </a:ext>
                </a:extLst>
              </p:cNvPr>
              <p:cNvSpPr>
                <a:spLocks noChangeAspect="1"/>
              </p:cNvSpPr>
              <p:nvPr>
                <p:custDataLst>
                  <p:tags r:id="rId53"/>
                </p:custDataLst>
              </p:nvPr>
            </p:nvSpPr>
            <p:spPr>
              <a:xfrm>
                <a:off x="5227537" y="4308395"/>
                <a:ext cx="68505" cy="74487"/>
              </a:xfrm>
              <a:custGeom>
                <a:avLst/>
                <a:gdLst/>
                <a:ahLst/>
                <a:cxnLst/>
                <a:rect l="0" t="0" r="0" b="0"/>
                <a:pathLst>
                  <a:path w="70336" h="76478">
                    <a:moveTo>
                      <a:pt x="70335" y="37650"/>
                    </a:moveTo>
                    <a:lnTo>
                      <a:pt x="70317" y="37667"/>
                    </a:lnTo>
                    <a:lnTo>
                      <a:pt x="69267" y="38559"/>
                    </a:lnTo>
                    <a:lnTo>
                      <a:pt x="68823" y="38857"/>
                    </a:lnTo>
                    <a:lnTo>
                      <a:pt x="65542" y="40995"/>
                    </a:lnTo>
                    <a:lnTo>
                      <a:pt x="60172" y="42620"/>
                    </a:lnTo>
                    <a:lnTo>
                      <a:pt x="55524" y="41787"/>
                    </a:lnTo>
                    <a:lnTo>
                      <a:pt x="52476" y="44058"/>
                    </a:lnTo>
                    <a:lnTo>
                      <a:pt x="45526" y="62875"/>
                    </a:lnTo>
                    <a:lnTo>
                      <a:pt x="46096" y="65616"/>
                    </a:lnTo>
                    <a:lnTo>
                      <a:pt x="50357" y="70089"/>
                    </a:lnTo>
                    <a:lnTo>
                      <a:pt x="44058" y="76131"/>
                    </a:lnTo>
                    <a:lnTo>
                      <a:pt x="41354" y="76477"/>
                    </a:lnTo>
                    <a:lnTo>
                      <a:pt x="35791" y="71321"/>
                    </a:lnTo>
                    <a:lnTo>
                      <a:pt x="34420" y="67649"/>
                    </a:lnTo>
                    <a:lnTo>
                      <a:pt x="30604" y="65811"/>
                    </a:lnTo>
                    <a:lnTo>
                      <a:pt x="29001" y="62702"/>
                    </a:lnTo>
                    <a:lnTo>
                      <a:pt x="22973" y="57990"/>
                    </a:lnTo>
                    <a:lnTo>
                      <a:pt x="24006" y="48799"/>
                    </a:lnTo>
                    <a:lnTo>
                      <a:pt x="20320" y="35902"/>
                    </a:lnTo>
                    <a:lnTo>
                      <a:pt x="26172" y="27231"/>
                    </a:lnTo>
                    <a:lnTo>
                      <a:pt x="25934" y="24484"/>
                    </a:lnTo>
                    <a:lnTo>
                      <a:pt x="17334" y="24336"/>
                    </a:lnTo>
                    <a:lnTo>
                      <a:pt x="10381" y="15640"/>
                    </a:lnTo>
                    <a:lnTo>
                      <a:pt x="0" y="9743"/>
                    </a:lnTo>
                    <a:lnTo>
                      <a:pt x="1468" y="5684"/>
                    </a:lnTo>
                    <a:lnTo>
                      <a:pt x="7859" y="3765"/>
                    </a:lnTo>
                    <a:lnTo>
                      <a:pt x="17532" y="427"/>
                    </a:lnTo>
                    <a:lnTo>
                      <a:pt x="18521" y="6"/>
                    </a:lnTo>
                    <a:lnTo>
                      <a:pt x="18536" y="0"/>
                    </a:lnTo>
                    <a:lnTo>
                      <a:pt x="20922" y="3382"/>
                    </a:lnTo>
                    <a:lnTo>
                      <a:pt x="31262" y="8179"/>
                    </a:lnTo>
                    <a:lnTo>
                      <a:pt x="38640" y="16254"/>
                    </a:lnTo>
                    <a:lnTo>
                      <a:pt x="42683" y="18928"/>
                    </a:lnTo>
                    <a:lnTo>
                      <a:pt x="50671" y="19761"/>
                    </a:lnTo>
                    <a:lnTo>
                      <a:pt x="53982" y="20971"/>
                    </a:lnTo>
                    <a:lnTo>
                      <a:pt x="65215" y="3383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3" name="Freeform 56">
                <a:extLst>
                  <a:ext uri="{FF2B5EF4-FFF2-40B4-BE49-F238E27FC236}">
                    <a16:creationId xmlns:a16="http://schemas.microsoft.com/office/drawing/2014/main" id="{EF1D11E6-694A-7A21-4860-2374ABC1A35F}"/>
                  </a:ext>
                </a:extLst>
              </p:cNvPr>
              <p:cNvSpPr>
                <a:spLocks noChangeAspect="1"/>
              </p:cNvSpPr>
              <p:nvPr>
                <p:custDataLst>
                  <p:tags r:id="rId54"/>
                </p:custDataLst>
              </p:nvPr>
            </p:nvSpPr>
            <p:spPr>
              <a:xfrm>
                <a:off x="5082792" y="4277985"/>
                <a:ext cx="162800" cy="101845"/>
              </a:xfrm>
              <a:custGeom>
                <a:avLst/>
                <a:gdLst/>
                <a:ahLst/>
                <a:cxnLst/>
                <a:rect l="0" t="0" r="0" b="0"/>
                <a:pathLst>
                  <a:path w="167152" h="104567">
                    <a:moveTo>
                      <a:pt x="167151" y="31223"/>
                    </a:moveTo>
                    <a:lnTo>
                      <a:pt x="167136" y="31229"/>
                    </a:lnTo>
                    <a:lnTo>
                      <a:pt x="166147" y="31650"/>
                    </a:lnTo>
                    <a:lnTo>
                      <a:pt x="156474" y="34988"/>
                    </a:lnTo>
                    <a:lnTo>
                      <a:pt x="150083" y="36907"/>
                    </a:lnTo>
                    <a:lnTo>
                      <a:pt x="148615" y="40966"/>
                    </a:lnTo>
                    <a:lnTo>
                      <a:pt x="147545" y="40361"/>
                    </a:lnTo>
                    <a:lnTo>
                      <a:pt x="146395" y="42864"/>
                    </a:lnTo>
                    <a:lnTo>
                      <a:pt x="147026" y="49952"/>
                    </a:lnTo>
                    <a:lnTo>
                      <a:pt x="139134" y="59859"/>
                    </a:lnTo>
                    <a:lnTo>
                      <a:pt x="133499" y="60957"/>
                    </a:lnTo>
                    <a:lnTo>
                      <a:pt x="118783" y="57651"/>
                    </a:lnTo>
                    <a:lnTo>
                      <a:pt x="105558" y="68845"/>
                    </a:lnTo>
                    <a:lnTo>
                      <a:pt x="105749" y="70340"/>
                    </a:lnTo>
                    <a:lnTo>
                      <a:pt x="122999" y="70753"/>
                    </a:lnTo>
                    <a:lnTo>
                      <a:pt x="125888" y="73197"/>
                    </a:lnTo>
                    <a:lnTo>
                      <a:pt x="126265" y="76254"/>
                    </a:lnTo>
                    <a:lnTo>
                      <a:pt x="123665" y="78916"/>
                    </a:lnTo>
                    <a:lnTo>
                      <a:pt x="110200" y="81833"/>
                    </a:lnTo>
                    <a:lnTo>
                      <a:pt x="107638" y="88622"/>
                    </a:lnTo>
                    <a:lnTo>
                      <a:pt x="109244" y="92171"/>
                    </a:lnTo>
                    <a:lnTo>
                      <a:pt x="108869" y="93886"/>
                    </a:lnTo>
                    <a:lnTo>
                      <a:pt x="99758" y="98299"/>
                    </a:lnTo>
                    <a:lnTo>
                      <a:pt x="86035" y="103013"/>
                    </a:lnTo>
                    <a:lnTo>
                      <a:pt x="78179" y="102699"/>
                    </a:lnTo>
                    <a:lnTo>
                      <a:pt x="75790" y="101510"/>
                    </a:lnTo>
                    <a:lnTo>
                      <a:pt x="73893" y="98187"/>
                    </a:lnTo>
                    <a:lnTo>
                      <a:pt x="76257" y="89277"/>
                    </a:lnTo>
                    <a:lnTo>
                      <a:pt x="76076" y="84720"/>
                    </a:lnTo>
                    <a:lnTo>
                      <a:pt x="74541" y="82765"/>
                    </a:lnTo>
                    <a:lnTo>
                      <a:pt x="46293" y="80571"/>
                    </a:lnTo>
                    <a:lnTo>
                      <a:pt x="44979" y="91035"/>
                    </a:lnTo>
                    <a:lnTo>
                      <a:pt x="40931" y="95970"/>
                    </a:lnTo>
                    <a:lnTo>
                      <a:pt x="34122" y="104566"/>
                    </a:lnTo>
                    <a:lnTo>
                      <a:pt x="9518" y="103394"/>
                    </a:lnTo>
                    <a:lnTo>
                      <a:pt x="8346" y="102368"/>
                    </a:lnTo>
                    <a:lnTo>
                      <a:pt x="12547" y="99766"/>
                    </a:lnTo>
                    <a:lnTo>
                      <a:pt x="12552" y="98087"/>
                    </a:lnTo>
                    <a:lnTo>
                      <a:pt x="5857" y="92162"/>
                    </a:lnTo>
                    <a:lnTo>
                      <a:pt x="0" y="80683"/>
                    </a:lnTo>
                    <a:lnTo>
                      <a:pt x="6285" y="74720"/>
                    </a:lnTo>
                    <a:lnTo>
                      <a:pt x="13984" y="76359"/>
                    </a:lnTo>
                    <a:lnTo>
                      <a:pt x="16033" y="75219"/>
                    </a:lnTo>
                    <a:lnTo>
                      <a:pt x="15628" y="69503"/>
                    </a:lnTo>
                    <a:lnTo>
                      <a:pt x="11728" y="66344"/>
                    </a:lnTo>
                    <a:lnTo>
                      <a:pt x="10770" y="62347"/>
                    </a:lnTo>
                    <a:lnTo>
                      <a:pt x="8095" y="59895"/>
                    </a:lnTo>
                    <a:lnTo>
                      <a:pt x="13202" y="56214"/>
                    </a:lnTo>
                    <a:lnTo>
                      <a:pt x="16135" y="57055"/>
                    </a:lnTo>
                    <a:lnTo>
                      <a:pt x="17841" y="55728"/>
                    </a:lnTo>
                    <a:lnTo>
                      <a:pt x="18881" y="49309"/>
                    </a:lnTo>
                    <a:lnTo>
                      <a:pt x="17456" y="43946"/>
                    </a:lnTo>
                    <a:lnTo>
                      <a:pt x="21212" y="43275"/>
                    </a:lnTo>
                    <a:lnTo>
                      <a:pt x="28992" y="34786"/>
                    </a:lnTo>
                    <a:lnTo>
                      <a:pt x="38031" y="25722"/>
                    </a:lnTo>
                    <a:lnTo>
                      <a:pt x="47454" y="18268"/>
                    </a:lnTo>
                    <a:lnTo>
                      <a:pt x="52066" y="13397"/>
                    </a:lnTo>
                    <a:lnTo>
                      <a:pt x="52679" y="13669"/>
                    </a:lnTo>
                    <a:lnTo>
                      <a:pt x="52879" y="12486"/>
                    </a:lnTo>
                    <a:lnTo>
                      <a:pt x="52880" y="12479"/>
                    </a:lnTo>
                    <a:lnTo>
                      <a:pt x="54473" y="14039"/>
                    </a:lnTo>
                    <a:lnTo>
                      <a:pt x="57624" y="7861"/>
                    </a:lnTo>
                    <a:lnTo>
                      <a:pt x="63762" y="4648"/>
                    </a:lnTo>
                    <a:lnTo>
                      <a:pt x="70583" y="3894"/>
                    </a:lnTo>
                    <a:lnTo>
                      <a:pt x="75919" y="5127"/>
                    </a:lnTo>
                    <a:lnTo>
                      <a:pt x="85386" y="11465"/>
                    </a:lnTo>
                    <a:lnTo>
                      <a:pt x="87922" y="14008"/>
                    </a:lnTo>
                    <a:lnTo>
                      <a:pt x="91363" y="16122"/>
                    </a:lnTo>
                    <a:lnTo>
                      <a:pt x="94904" y="14591"/>
                    </a:lnTo>
                    <a:lnTo>
                      <a:pt x="100961" y="9296"/>
                    </a:lnTo>
                    <a:lnTo>
                      <a:pt x="141105" y="0"/>
                    </a:lnTo>
                    <a:lnTo>
                      <a:pt x="147523" y="2452"/>
                    </a:lnTo>
                    <a:lnTo>
                      <a:pt x="152160" y="993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4" name="Freeform 57">
                <a:extLst>
                  <a:ext uri="{FF2B5EF4-FFF2-40B4-BE49-F238E27FC236}">
                    <a16:creationId xmlns:a16="http://schemas.microsoft.com/office/drawing/2014/main" id="{7B1B6A68-5523-9ED7-87F3-D834A1803AA8}"/>
                  </a:ext>
                </a:extLst>
              </p:cNvPr>
              <p:cNvSpPr>
                <a:spLocks noChangeAspect="1"/>
              </p:cNvSpPr>
              <p:nvPr>
                <p:custDataLst>
                  <p:tags r:id="rId55"/>
                </p:custDataLst>
              </p:nvPr>
            </p:nvSpPr>
            <p:spPr>
              <a:xfrm>
                <a:off x="4955799" y="4576185"/>
                <a:ext cx="33268" cy="35352"/>
              </a:xfrm>
              <a:custGeom>
                <a:avLst/>
                <a:gdLst/>
                <a:ahLst/>
                <a:cxnLst/>
                <a:rect l="0" t="0" r="0" b="0"/>
                <a:pathLst>
                  <a:path w="34157" h="36297">
                    <a:moveTo>
                      <a:pt x="26741" y="36296"/>
                    </a:moveTo>
                    <a:lnTo>
                      <a:pt x="20506" y="36056"/>
                    </a:lnTo>
                    <a:lnTo>
                      <a:pt x="12246" y="34646"/>
                    </a:lnTo>
                    <a:lnTo>
                      <a:pt x="0" y="23838"/>
                    </a:lnTo>
                    <a:lnTo>
                      <a:pt x="1534" y="15561"/>
                    </a:lnTo>
                    <a:lnTo>
                      <a:pt x="5346" y="9276"/>
                    </a:lnTo>
                    <a:lnTo>
                      <a:pt x="9400" y="2983"/>
                    </a:lnTo>
                    <a:lnTo>
                      <a:pt x="13046" y="0"/>
                    </a:lnTo>
                    <a:lnTo>
                      <a:pt x="20784" y="1010"/>
                    </a:lnTo>
                    <a:lnTo>
                      <a:pt x="28116" y="5345"/>
                    </a:lnTo>
                    <a:lnTo>
                      <a:pt x="32969" y="10144"/>
                    </a:lnTo>
                    <a:lnTo>
                      <a:pt x="34156" y="16708"/>
                    </a:lnTo>
                    <a:lnTo>
                      <a:pt x="32389" y="24601"/>
                    </a:lnTo>
                    <a:lnTo>
                      <a:pt x="29112" y="3211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5" name="Freeform 58">
                <a:extLst>
                  <a:ext uri="{FF2B5EF4-FFF2-40B4-BE49-F238E27FC236}">
                    <a16:creationId xmlns:a16="http://schemas.microsoft.com/office/drawing/2014/main" id="{5E7CF86B-A07D-8B2D-01B4-5001B61676C0}"/>
                  </a:ext>
                </a:extLst>
              </p:cNvPr>
              <p:cNvSpPr>
                <a:spLocks noChangeAspect="1"/>
              </p:cNvSpPr>
              <p:nvPr>
                <p:custDataLst>
                  <p:tags r:id="rId56"/>
                </p:custDataLst>
              </p:nvPr>
            </p:nvSpPr>
            <p:spPr>
              <a:xfrm>
                <a:off x="4846076" y="4357005"/>
                <a:ext cx="191774" cy="314565"/>
              </a:xfrm>
              <a:custGeom>
                <a:avLst/>
                <a:gdLst/>
                <a:ahLst/>
                <a:cxnLst/>
                <a:rect l="l" t="t" r="r" b="b"/>
                <a:pathLst>
                  <a:path w="196900" h="322974">
                    <a:moveTo>
                      <a:pt x="125702" y="225039"/>
                    </a:moveTo>
                    <a:lnTo>
                      <a:pt x="122056" y="228022"/>
                    </a:lnTo>
                    <a:lnTo>
                      <a:pt x="118002" y="234315"/>
                    </a:lnTo>
                    <a:lnTo>
                      <a:pt x="114190" y="240600"/>
                    </a:lnTo>
                    <a:lnTo>
                      <a:pt x="112656" y="248877"/>
                    </a:lnTo>
                    <a:lnTo>
                      <a:pt x="124902" y="259685"/>
                    </a:lnTo>
                    <a:lnTo>
                      <a:pt x="133162" y="261095"/>
                    </a:lnTo>
                    <a:lnTo>
                      <a:pt x="139397" y="261335"/>
                    </a:lnTo>
                    <a:lnTo>
                      <a:pt x="141768" y="257149"/>
                    </a:lnTo>
                    <a:lnTo>
                      <a:pt x="145045" y="249640"/>
                    </a:lnTo>
                    <a:lnTo>
                      <a:pt x="146812" y="241747"/>
                    </a:lnTo>
                    <a:lnTo>
                      <a:pt x="145625" y="235183"/>
                    </a:lnTo>
                    <a:lnTo>
                      <a:pt x="140772" y="230384"/>
                    </a:lnTo>
                    <a:lnTo>
                      <a:pt x="133440" y="226049"/>
                    </a:lnTo>
                    <a:close/>
                    <a:moveTo>
                      <a:pt x="26286" y="0"/>
                    </a:moveTo>
                    <a:lnTo>
                      <a:pt x="32289" y="185"/>
                    </a:lnTo>
                    <a:lnTo>
                      <a:pt x="44844" y="6063"/>
                    </a:lnTo>
                    <a:lnTo>
                      <a:pt x="49672" y="13280"/>
                    </a:lnTo>
                    <a:lnTo>
                      <a:pt x="50416" y="20590"/>
                    </a:lnTo>
                    <a:lnTo>
                      <a:pt x="51825" y="24054"/>
                    </a:lnTo>
                    <a:lnTo>
                      <a:pt x="64833" y="34272"/>
                    </a:lnTo>
                    <a:lnTo>
                      <a:pt x="63680" y="41727"/>
                    </a:lnTo>
                    <a:lnTo>
                      <a:pt x="64414" y="45837"/>
                    </a:lnTo>
                    <a:lnTo>
                      <a:pt x="71877" y="48421"/>
                    </a:lnTo>
                    <a:lnTo>
                      <a:pt x="74564" y="54517"/>
                    </a:lnTo>
                    <a:lnTo>
                      <a:pt x="77922" y="54551"/>
                    </a:lnTo>
                    <a:lnTo>
                      <a:pt x="84734" y="58411"/>
                    </a:lnTo>
                    <a:lnTo>
                      <a:pt x="84929" y="61269"/>
                    </a:lnTo>
                    <a:lnTo>
                      <a:pt x="83252" y="65124"/>
                    </a:lnTo>
                    <a:lnTo>
                      <a:pt x="84093" y="67867"/>
                    </a:lnTo>
                    <a:lnTo>
                      <a:pt x="97400" y="72938"/>
                    </a:lnTo>
                    <a:lnTo>
                      <a:pt x="99885" y="75737"/>
                    </a:lnTo>
                    <a:lnTo>
                      <a:pt x="99729" y="77222"/>
                    </a:lnTo>
                    <a:lnTo>
                      <a:pt x="93621" y="81747"/>
                    </a:lnTo>
                    <a:lnTo>
                      <a:pt x="92615" y="84419"/>
                    </a:lnTo>
                    <a:lnTo>
                      <a:pt x="93710" y="85241"/>
                    </a:lnTo>
                    <a:lnTo>
                      <a:pt x="98889" y="86488"/>
                    </a:lnTo>
                    <a:lnTo>
                      <a:pt x="102725" y="85331"/>
                    </a:lnTo>
                    <a:lnTo>
                      <a:pt x="111822" y="90925"/>
                    </a:lnTo>
                    <a:lnTo>
                      <a:pt x="128196" y="83898"/>
                    </a:lnTo>
                    <a:lnTo>
                      <a:pt x="134168" y="77350"/>
                    </a:lnTo>
                    <a:lnTo>
                      <a:pt x="142893" y="76467"/>
                    </a:lnTo>
                    <a:lnTo>
                      <a:pt x="145408" y="77778"/>
                    </a:lnTo>
                    <a:lnTo>
                      <a:pt x="146012" y="83389"/>
                    </a:lnTo>
                    <a:lnTo>
                      <a:pt x="151034" y="85791"/>
                    </a:lnTo>
                    <a:lnTo>
                      <a:pt x="157137" y="86145"/>
                    </a:lnTo>
                    <a:lnTo>
                      <a:pt x="159447" y="84791"/>
                    </a:lnTo>
                    <a:lnTo>
                      <a:pt x="161785" y="80257"/>
                    </a:lnTo>
                    <a:lnTo>
                      <a:pt x="167393" y="78921"/>
                    </a:lnTo>
                    <a:lnTo>
                      <a:pt x="169587" y="80238"/>
                    </a:lnTo>
                    <a:lnTo>
                      <a:pt x="168662" y="85580"/>
                    </a:lnTo>
                    <a:lnTo>
                      <a:pt x="173372" y="85751"/>
                    </a:lnTo>
                    <a:lnTo>
                      <a:pt x="177775" y="88588"/>
                    </a:lnTo>
                    <a:lnTo>
                      <a:pt x="192934" y="87291"/>
                    </a:lnTo>
                    <a:lnTo>
                      <a:pt x="196613" y="89898"/>
                    </a:lnTo>
                    <a:lnTo>
                      <a:pt x="195809" y="94706"/>
                    </a:lnTo>
                    <a:lnTo>
                      <a:pt x="196900" y="98917"/>
                    </a:lnTo>
                    <a:lnTo>
                      <a:pt x="194759" y="103876"/>
                    </a:lnTo>
                    <a:lnTo>
                      <a:pt x="190780" y="106660"/>
                    </a:lnTo>
                    <a:lnTo>
                      <a:pt x="189128" y="110526"/>
                    </a:lnTo>
                    <a:lnTo>
                      <a:pt x="190866" y="119183"/>
                    </a:lnTo>
                    <a:lnTo>
                      <a:pt x="189876" y="128361"/>
                    </a:lnTo>
                    <a:lnTo>
                      <a:pt x="191571" y="133503"/>
                    </a:lnTo>
                    <a:lnTo>
                      <a:pt x="191045" y="135219"/>
                    </a:lnTo>
                    <a:lnTo>
                      <a:pt x="182138" y="137513"/>
                    </a:lnTo>
                    <a:lnTo>
                      <a:pt x="179093" y="141738"/>
                    </a:lnTo>
                    <a:lnTo>
                      <a:pt x="171619" y="141018"/>
                    </a:lnTo>
                    <a:lnTo>
                      <a:pt x="164107" y="145593"/>
                    </a:lnTo>
                    <a:lnTo>
                      <a:pt x="163536" y="150094"/>
                    </a:lnTo>
                    <a:lnTo>
                      <a:pt x="168861" y="167969"/>
                    </a:lnTo>
                    <a:lnTo>
                      <a:pt x="167053" y="171638"/>
                    </a:lnTo>
                    <a:lnTo>
                      <a:pt x="162384" y="175710"/>
                    </a:lnTo>
                    <a:lnTo>
                      <a:pt x="160572" y="181077"/>
                    </a:lnTo>
                    <a:lnTo>
                      <a:pt x="162542" y="187487"/>
                    </a:lnTo>
                    <a:lnTo>
                      <a:pt x="162902" y="195230"/>
                    </a:lnTo>
                    <a:lnTo>
                      <a:pt x="171830" y="205370"/>
                    </a:lnTo>
                    <a:lnTo>
                      <a:pt x="172607" y="220518"/>
                    </a:lnTo>
                    <a:lnTo>
                      <a:pt x="175922" y="230719"/>
                    </a:lnTo>
                    <a:lnTo>
                      <a:pt x="175781" y="238476"/>
                    </a:lnTo>
                    <a:lnTo>
                      <a:pt x="184859" y="245129"/>
                    </a:lnTo>
                    <a:lnTo>
                      <a:pt x="182187" y="251335"/>
                    </a:lnTo>
                    <a:lnTo>
                      <a:pt x="178123" y="252646"/>
                    </a:lnTo>
                    <a:lnTo>
                      <a:pt x="169205" y="252582"/>
                    </a:lnTo>
                    <a:lnTo>
                      <a:pt x="160648" y="257934"/>
                    </a:lnTo>
                    <a:lnTo>
                      <a:pt x="153601" y="264947"/>
                    </a:lnTo>
                    <a:lnTo>
                      <a:pt x="154157" y="266402"/>
                    </a:lnTo>
                    <a:lnTo>
                      <a:pt x="149765" y="274390"/>
                    </a:lnTo>
                    <a:lnTo>
                      <a:pt x="148338" y="280911"/>
                    </a:lnTo>
                    <a:lnTo>
                      <a:pt x="141031" y="283470"/>
                    </a:lnTo>
                    <a:lnTo>
                      <a:pt x="135380" y="290414"/>
                    </a:lnTo>
                    <a:lnTo>
                      <a:pt x="136128" y="294334"/>
                    </a:lnTo>
                    <a:lnTo>
                      <a:pt x="135127" y="295310"/>
                    </a:lnTo>
                    <a:lnTo>
                      <a:pt x="130426" y="297238"/>
                    </a:lnTo>
                    <a:lnTo>
                      <a:pt x="116983" y="297179"/>
                    </a:lnTo>
                    <a:lnTo>
                      <a:pt x="115038" y="298723"/>
                    </a:lnTo>
                    <a:lnTo>
                      <a:pt x="114707" y="303403"/>
                    </a:lnTo>
                    <a:lnTo>
                      <a:pt x="117663" y="310642"/>
                    </a:lnTo>
                    <a:lnTo>
                      <a:pt x="116910" y="313852"/>
                    </a:lnTo>
                    <a:lnTo>
                      <a:pt x="105999" y="322209"/>
                    </a:lnTo>
                    <a:lnTo>
                      <a:pt x="102134" y="322112"/>
                    </a:lnTo>
                    <a:lnTo>
                      <a:pt x="100180" y="318962"/>
                    </a:lnTo>
                    <a:lnTo>
                      <a:pt x="97000" y="322974"/>
                    </a:lnTo>
                    <a:lnTo>
                      <a:pt x="92804" y="322549"/>
                    </a:lnTo>
                    <a:lnTo>
                      <a:pt x="91251" y="314312"/>
                    </a:lnTo>
                    <a:lnTo>
                      <a:pt x="82946" y="311439"/>
                    </a:lnTo>
                    <a:lnTo>
                      <a:pt x="78457" y="307166"/>
                    </a:lnTo>
                    <a:lnTo>
                      <a:pt x="84595" y="294730"/>
                    </a:lnTo>
                    <a:lnTo>
                      <a:pt x="94480" y="289169"/>
                    </a:lnTo>
                    <a:lnTo>
                      <a:pt x="97508" y="279235"/>
                    </a:lnTo>
                    <a:lnTo>
                      <a:pt x="102963" y="274195"/>
                    </a:lnTo>
                    <a:lnTo>
                      <a:pt x="98720" y="266771"/>
                    </a:lnTo>
                    <a:lnTo>
                      <a:pt x="93496" y="262866"/>
                    </a:lnTo>
                    <a:lnTo>
                      <a:pt x="72630" y="261804"/>
                    </a:lnTo>
                    <a:lnTo>
                      <a:pt x="69177" y="259854"/>
                    </a:lnTo>
                    <a:lnTo>
                      <a:pt x="64555" y="254039"/>
                    </a:lnTo>
                    <a:lnTo>
                      <a:pt x="56994" y="254000"/>
                    </a:lnTo>
                    <a:lnTo>
                      <a:pt x="54103" y="251421"/>
                    </a:lnTo>
                    <a:lnTo>
                      <a:pt x="48580" y="250796"/>
                    </a:lnTo>
                    <a:lnTo>
                      <a:pt x="47749" y="245079"/>
                    </a:lnTo>
                    <a:lnTo>
                      <a:pt x="44430" y="239732"/>
                    </a:lnTo>
                    <a:lnTo>
                      <a:pt x="44388" y="232199"/>
                    </a:lnTo>
                    <a:lnTo>
                      <a:pt x="48156" y="231907"/>
                    </a:lnTo>
                    <a:lnTo>
                      <a:pt x="49714" y="229956"/>
                    </a:lnTo>
                    <a:lnTo>
                      <a:pt x="50914" y="223766"/>
                    </a:lnTo>
                    <a:lnTo>
                      <a:pt x="50538" y="217939"/>
                    </a:lnTo>
                    <a:lnTo>
                      <a:pt x="62872" y="209583"/>
                    </a:lnTo>
                    <a:lnTo>
                      <a:pt x="65532" y="202846"/>
                    </a:lnTo>
                    <a:lnTo>
                      <a:pt x="64880" y="194359"/>
                    </a:lnTo>
                    <a:lnTo>
                      <a:pt x="61029" y="190727"/>
                    </a:lnTo>
                    <a:lnTo>
                      <a:pt x="59732" y="187044"/>
                    </a:lnTo>
                    <a:lnTo>
                      <a:pt x="57877" y="175949"/>
                    </a:lnTo>
                    <a:lnTo>
                      <a:pt x="58725" y="168494"/>
                    </a:lnTo>
                    <a:lnTo>
                      <a:pt x="52104" y="157815"/>
                    </a:lnTo>
                    <a:lnTo>
                      <a:pt x="52033" y="149009"/>
                    </a:lnTo>
                    <a:lnTo>
                      <a:pt x="50878" y="146388"/>
                    </a:lnTo>
                    <a:lnTo>
                      <a:pt x="46052" y="140969"/>
                    </a:lnTo>
                    <a:lnTo>
                      <a:pt x="38500" y="136044"/>
                    </a:lnTo>
                    <a:lnTo>
                      <a:pt x="21045" y="129314"/>
                    </a:lnTo>
                    <a:lnTo>
                      <a:pt x="16253" y="122207"/>
                    </a:lnTo>
                    <a:lnTo>
                      <a:pt x="10735" y="124810"/>
                    </a:lnTo>
                    <a:lnTo>
                      <a:pt x="11928" y="116037"/>
                    </a:lnTo>
                    <a:lnTo>
                      <a:pt x="7337" y="111767"/>
                    </a:lnTo>
                    <a:lnTo>
                      <a:pt x="6018" y="103202"/>
                    </a:lnTo>
                    <a:lnTo>
                      <a:pt x="4901" y="75834"/>
                    </a:lnTo>
                    <a:lnTo>
                      <a:pt x="4112" y="71485"/>
                    </a:lnTo>
                    <a:lnTo>
                      <a:pt x="0" y="65405"/>
                    </a:lnTo>
                    <a:lnTo>
                      <a:pt x="371" y="62673"/>
                    </a:lnTo>
                    <a:lnTo>
                      <a:pt x="3146" y="61215"/>
                    </a:lnTo>
                    <a:lnTo>
                      <a:pt x="8212" y="51869"/>
                    </a:lnTo>
                    <a:lnTo>
                      <a:pt x="6066" y="48832"/>
                    </a:lnTo>
                    <a:lnTo>
                      <a:pt x="1200" y="46602"/>
                    </a:lnTo>
                    <a:lnTo>
                      <a:pt x="825" y="43744"/>
                    </a:lnTo>
                    <a:lnTo>
                      <a:pt x="1668" y="40864"/>
                    </a:lnTo>
                    <a:lnTo>
                      <a:pt x="7611" y="34483"/>
                    </a:lnTo>
                    <a:lnTo>
                      <a:pt x="8486" y="24906"/>
                    </a:lnTo>
                    <a:lnTo>
                      <a:pt x="11503" y="14969"/>
                    </a:lnTo>
                    <a:lnTo>
                      <a:pt x="18571" y="14405"/>
                    </a:lnTo>
                    <a:lnTo>
                      <a:pt x="21619" y="12425"/>
                    </a:lnTo>
                    <a:lnTo>
                      <a:pt x="23484" y="483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6" name="Freeform 60">
                <a:extLst>
                  <a:ext uri="{FF2B5EF4-FFF2-40B4-BE49-F238E27FC236}">
                    <a16:creationId xmlns:a16="http://schemas.microsoft.com/office/drawing/2014/main" id="{3DBEF6F3-DCFB-081E-AC0A-C2615AB3E353}"/>
                  </a:ext>
                </a:extLst>
              </p:cNvPr>
              <p:cNvSpPr>
                <a:spLocks noChangeAspect="1"/>
              </p:cNvSpPr>
              <p:nvPr>
                <p:custDataLst>
                  <p:tags r:id="rId57"/>
                </p:custDataLst>
              </p:nvPr>
            </p:nvSpPr>
            <p:spPr>
              <a:xfrm>
                <a:off x="5343767" y="5059381"/>
                <a:ext cx="27290" cy="38248"/>
              </a:xfrm>
              <a:custGeom>
                <a:avLst/>
                <a:gdLst/>
                <a:ahLst/>
                <a:cxnLst/>
                <a:rect l="0" t="0" r="0" b="0"/>
                <a:pathLst>
                  <a:path w="28020" h="39270">
                    <a:moveTo>
                      <a:pt x="21407" y="14306"/>
                    </a:moveTo>
                    <a:lnTo>
                      <a:pt x="25170" y="12108"/>
                    </a:lnTo>
                    <a:lnTo>
                      <a:pt x="25483" y="12092"/>
                    </a:lnTo>
                    <a:lnTo>
                      <a:pt x="25817" y="12243"/>
                    </a:lnTo>
                    <a:lnTo>
                      <a:pt x="26052" y="12527"/>
                    </a:lnTo>
                    <a:lnTo>
                      <a:pt x="26149" y="12739"/>
                    </a:lnTo>
                    <a:lnTo>
                      <a:pt x="26197" y="12974"/>
                    </a:lnTo>
                    <a:lnTo>
                      <a:pt x="26173" y="13844"/>
                    </a:lnTo>
                    <a:lnTo>
                      <a:pt x="26194" y="14002"/>
                    </a:lnTo>
                    <a:lnTo>
                      <a:pt x="26462" y="14581"/>
                    </a:lnTo>
                    <a:lnTo>
                      <a:pt x="27559" y="15869"/>
                    </a:lnTo>
                    <a:lnTo>
                      <a:pt x="27896" y="16445"/>
                    </a:lnTo>
                    <a:lnTo>
                      <a:pt x="27968" y="16659"/>
                    </a:lnTo>
                    <a:lnTo>
                      <a:pt x="28019" y="17922"/>
                    </a:lnTo>
                    <a:lnTo>
                      <a:pt x="27945" y="18400"/>
                    </a:lnTo>
                    <a:lnTo>
                      <a:pt x="23100" y="27927"/>
                    </a:lnTo>
                    <a:lnTo>
                      <a:pt x="22937" y="28973"/>
                    </a:lnTo>
                    <a:lnTo>
                      <a:pt x="22757" y="29427"/>
                    </a:lnTo>
                    <a:lnTo>
                      <a:pt x="22376" y="31541"/>
                    </a:lnTo>
                    <a:lnTo>
                      <a:pt x="22514" y="37533"/>
                    </a:lnTo>
                    <a:lnTo>
                      <a:pt x="18249" y="35813"/>
                    </a:lnTo>
                    <a:lnTo>
                      <a:pt x="13558" y="36286"/>
                    </a:lnTo>
                    <a:lnTo>
                      <a:pt x="11644" y="37055"/>
                    </a:lnTo>
                    <a:lnTo>
                      <a:pt x="6120" y="39269"/>
                    </a:lnTo>
                    <a:lnTo>
                      <a:pt x="6363" y="33524"/>
                    </a:lnTo>
                    <a:lnTo>
                      <a:pt x="6407" y="32158"/>
                    </a:lnTo>
                    <a:lnTo>
                      <a:pt x="6358" y="31667"/>
                    </a:lnTo>
                    <a:lnTo>
                      <a:pt x="6292" y="31432"/>
                    </a:lnTo>
                    <a:lnTo>
                      <a:pt x="5674" y="30130"/>
                    </a:lnTo>
                    <a:lnTo>
                      <a:pt x="5377" y="29838"/>
                    </a:lnTo>
                    <a:lnTo>
                      <a:pt x="2267" y="28511"/>
                    </a:lnTo>
                    <a:lnTo>
                      <a:pt x="1695" y="28005"/>
                    </a:lnTo>
                    <a:lnTo>
                      <a:pt x="427" y="25954"/>
                    </a:lnTo>
                    <a:lnTo>
                      <a:pt x="204" y="25036"/>
                    </a:lnTo>
                    <a:lnTo>
                      <a:pt x="0" y="22615"/>
                    </a:lnTo>
                    <a:lnTo>
                      <a:pt x="3825" y="20587"/>
                    </a:lnTo>
                    <a:lnTo>
                      <a:pt x="4260" y="20545"/>
                    </a:lnTo>
                    <a:lnTo>
                      <a:pt x="5841" y="21078"/>
                    </a:lnTo>
                    <a:lnTo>
                      <a:pt x="5982" y="21053"/>
                    </a:lnTo>
                    <a:lnTo>
                      <a:pt x="6369" y="20796"/>
                    </a:lnTo>
                    <a:lnTo>
                      <a:pt x="6818" y="20180"/>
                    </a:lnTo>
                    <a:lnTo>
                      <a:pt x="7026" y="19518"/>
                    </a:lnTo>
                    <a:lnTo>
                      <a:pt x="7296" y="19128"/>
                    </a:lnTo>
                    <a:lnTo>
                      <a:pt x="8447" y="18536"/>
                    </a:lnTo>
                    <a:lnTo>
                      <a:pt x="10683" y="18603"/>
                    </a:lnTo>
                    <a:lnTo>
                      <a:pt x="11507" y="18364"/>
                    </a:lnTo>
                    <a:lnTo>
                      <a:pt x="11847" y="18148"/>
                    </a:lnTo>
                    <a:lnTo>
                      <a:pt x="12240" y="17636"/>
                    </a:lnTo>
                    <a:lnTo>
                      <a:pt x="12339" y="17413"/>
                    </a:lnTo>
                    <a:lnTo>
                      <a:pt x="12395" y="17172"/>
                    </a:lnTo>
                    <a:lnTo>
                      <a:pt x="12436" y="15866"/>
                    </a:lnTo>
                    <a:lnTo>
                      <a:pt x="13740" y="10049"/>
                    </a:lnTo>
                    <a:lnTo>
                      <a:pt x="14040" y="3174"/>
                    </a:lnTo>
                    <a:lnTo>
                      <a:pt x="14089" y="2915"/>
                    </a:lnTo>
                    <a:lnTo>
                      <a:pt x="14503" y="1966"/>
                    </a:lnTo>
                    <a:lnTo>
                      <a:pt x="14606" y="1812"/>
                    </a:lnTo>
                    <a:lnTo>
                      <a:pt x="17403" y="0"/>
                    </a:lnTo>
                    <a:lnTo>
                      <a:pt x="16965" y="4055"/>
                    </a:lnTo>
                    <a:lnTo>
                      <a:pt x="16709" y="5077"/>
                    </a:lnTo>
                    <a:lnTo>
                      <a:pt x="16659" y="5572"/>
                    </a:lnTo>
                    <a:lnTo>
                      <a:pt x="16711" y="6617"/>
                    </a:lnTo>
                    <a:lnTo>
                      <a:pt x="16772" y="6852"/>
                    </a:lnTo>
                    <a:lnTo>
                      <a:pt x="18113" y="9116"/>
                    </a:lnTo>
                    <a:lnTo>
                      <a:pt x="18705" y="11260"/>
                    </a:lnTo>
                    <a:lnTo>
                      <a:pt x="19818" y="13497"/>
                    </a:lnTo>
                    <a:lnTo>
                      <a:pt x="20337" y="14044"/>
                    </a:lnTo>
                    <a:lnTo>
                      <a:pt x="20749" y="142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7" name="Freeform 61">
                <a:extLst>
                  <a:ext uri="{FF2B5EF4-FFF2-40B4-BE49-F238E27FC236}">
                    <a16:creationId xmlns:a16="http://schemas.microsoft.com/office/drawing/2014/main" id="{EF207C1C-C197-5368-F62C-0D97636A10A5}"/>
                  </a:ext>
                </a:extLst>
              </p:cNvPr>
              <p:cNvSpPr>
                <a:spLocks noChangeAspect="1"/>
              </p:cNvSpPr>
              <p:nvPr>
                <p:custDataLst>
                  <p:tags r:id="rId58"/>
                </p:custDataLst>
              </p:nvPr>
            </p:nvSpPr>
            <p:spPr>
              <a:xfrm>
                <a:off x="5347088" y="5094262"/>
                <a:ext cx="32380" cy="39425"/>
              </a:xfrm>
              <a:custGeom>
                <a:avLst/>
                <a:gdLst/>
                <a:ahLst/>
                <a:cxnLst/>
                <a:rect l="0" t="0" r="0" b="0"/>
                <a:pathLst>
                  <a:path w="33246" h="40479">
                    <a:moveTo>
                      <a:pt x="19105" y="1720"/>
                    </a:moveTo>
                    <a:lnTo>
                      <a:pt x="19708" y="1956"/>
                    </a:lnTo>
                    <a:lnTo>
                      <a:pt x="24721" y="7670"/>
                    </a:lnTo>
                    <a:lnTo>
                      <a:pt x="25302" y="8075"/>
                    </a:lnTo>
                    <a:lnTo>
                      <a:pt x="29399" y="7381"/>
                    </a:lnTo>
                    <a:lnTo>
                      <a:pt x="33245" y="5245"/>
                    </a:lnTo>
                    <a:lnTo>
                      <a:pt x="31932" y="6558"/>
                    </a:lnTo>
                    <a:lnTo>
                      <a:pt x="31558" y="9641"/>
                    </a:lnTo>
                    <a:lnTo>
                      <a:pt x="33144" y="11793"/>
                    </a:lnTo>
                    <a:lnTo>
                      <a:pt x="30705" y="17661"/>
                    </a:lnTo>
                    <a:lnTo>
                      <a:pt x="23867" y="25355"/>
                    </a:lnTo>
                    <a:lnTo>
                      <a:pt x="19429" y="33428"/>
                    </a:lnTo>
                    <a:lnTo>
                      <a:pt x="21081" y="40478"/>
                    </a:lnTo>
                    <a:lnTo>
                      <a:pt x="13999" y="35609"/>
                    </a:lnTo>
                    <a:lnTo>
                      <a:pt x="7111" y="35392"/>
                    </a:lnTo>
                    <a:lnTo>
                      <a:pt x="3408" y="32790"/>
                    </a:lnTo>
                    <a:lnTo>
                      <a:pt x="0" y="28908"/>
                    </a:lnTo>
                    <a:lnTo>
                      <a:pt x="64" y="28431"/>
                    </a:lnTo>
                    <a:lnTo>
                      <a:pt x="1773" y="24413"/>
                    </a:lnTo>
                    <a:lnTo>
                      <a:pt x="1970" y="23523"/>
                    </a:lnTo>
                    <a:lnTo>
                      <a:pt x="1927" y="21243"/>
                    </a:lnTo>
                    <a:lnTo>
                      <a:pt x="1160" y="17249"/>
                    </a:lnTo>
                    <a:lnTo>
                      <a:pt x="1115" y="16332"/>
                    </a:lnTo>
                    <a:lnTo>
                      <a:pt x="1185" y="15745"/>
                    </a:lnTo>
                    <a:lnTo>
                      <a:pt x="1301" y="15335"/>
                    </a:lnTo>
                    <a:lnTo>
                      <a:pt x="2288" y="13733"/>
                    </a:lnTo>
                    <a:lnTo>
                      <a:pt x="3092" y="13041"/>
                    </a:lnTo>
                    <a:lnTo>
                      <a:pt x="8280" y="11933"/>
                    </a:lnTo>
                    <a:lnTo>
                      <a:pt x="8601" y="11699"/>
                    </a:lnTo>
                    <a:lnTo>
                      <a:pt x="8807" y="11393"/>
                    </a:lnTo>
                    <a:lnTo>
                      <a:pt x="8889" y="11171"/>
                    </a:lnTo>
                    <a:lnTo>
                      <a:pt x="8916" y="10853"/>
                    </a:lnTo>
                    <a:lnTo>
                      <a:pt x="8216" y="7627"/>
                    </a:lnTo>
                    <a:lnTo>
                      <a:pt x="8476" y="2890"/>
                    </a:lnTo>
                    <a:lnTo>
                      <a:pt x="8235" y="1242"/>
                    </a:lnTo>
                    <a:lnTo>
                      <a:pt x="10149" y="473"/>
                    </a:lnTo>
                    <a:lnTo>
                      <a:pt x="14840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8" name="Freeform 62">
                <a:extLst>
                  <a:ext uri="{FF2B5EF4-FFF2-40B4-BE49-F238E27FC236}">
                    <a16:creationId xmlns:a16="http://schemas.microsoft.com/office/drawing/2014/main" id="{96FCADF9-AF00-AAD5-3E90-76DE35A32744}"/>
                  </a:ext>
                </a:extLst>
              </p:cNvPr>
              <p:cNvSpPr>
                <a:spLocks noChangeAspect="1"/>
              </p:cNvSpPr>
              <p:nvPr>
                <p:custDataLst>
                  <p:tags r:id="rId59"/>
                </p:custDataLst>
              </p:nvPr>
            </p:nvSpPr>
            <p:spPr>
              <a:xfrm>
                <a:off x="5251111" y="5063231"/>
                <a:ext cx="34241" cy="28760"/>
              </a:xfrm>
              <a:custGeom>
                <a:avLst/>
                <a:gdLst/>
                <a:ahLst/>
                <a:cxnLst/>
                <a:rect l="0" t="0" r="0" b="0"/>
                <a:pathLst>
                  <a:path w="35156" h="29529">
                    <a:moveTo>
                      <a:pt x="21384" y="13164"/>
                    </a:moveTo>
                    <a:lnTo>
                      <a:pt x="21815" y="13045"/>
                    </a:lnTo>
                    <a:lnTo>
                      <a:pt x="22412" y="12504"/>
                    </a:lnTo>
                    <a:lnTo>
                      <a:pt x="22879" y="12355"/>
                    </a:lnTo>
                    <a:lnTo>
                      <a:pt x="23040" y="12377"/>
                    </a:lnTo>
                    <a:lnTo>
                      <a:pt x="23405" y="12578"/>
                    </a:lnTo>
                    <a:lnTo>
                      <a:pt x="28647" y="18228"/>
                    </a:lnTo>
                    <a:lnTo>
                      <a:pt x="34258" y="24621"/>
                    </a:lnTo>
                    <a:lnTo>
                      <a:pt x="35155" y="26793"/>
                    </a:lnTo>
                    <a:lnTo>
                      <a:pt x="34199" y="28249"/>
                    </a:lnTo>
                    <a:lnTo>
                      <a:pt x="33809" y="28604"/>
                    </a:lnTo>
                    <a:lnTo>
                      <a:pt x="33454" y="28778"/>
                    </a:lnTo>
                    <a:lnTo>
                      <a:pt x="33001" y="28819"/>
                    </a:lnTo>
                    <a:lnTo>
                      <a:pt x="31159" y="28073"/>
                    </a:lnTo>
                    <a:lnTo>
                      <a:pt x="30544" y="27518"/>
                    </a:lnTo>
                    <a:lnTo>
                      <a:pt x="29703" y="27151"/>
                    </a:lnTo>
                    <a:lnTo>
                      <a:pt x="29303" y="27150"/>
                    </a:lnTo>
                    <a:lnTo>
                      <a:pt x="29141" y="27236"/>
                    </a:lnTo>
                    <a:lnTo>
                      <a:pt x="29032" y="27419"/>
                    </a:lnTo>
                    <a:lnTo>
                      <a:pt x="28665" y="28562"/>
                    </a:lnTo>
                    <a:lnTo>
                      <a:pt x="27638" y="29528"/>
                    </a:lnTo>
                    <a:lnTo>
                      <a:pt x="26057" y="28838"/>
                    </a:lnTo>
                    <a:lnTo>
                      <a:pt x="25300" y="28557"/>
                    </a:lnTo>
                    <a:lnTo>
                      <a:pt x="24536" y="28394"/>
                    </a:lnTo>
                    <a:lnTo>
                      <a:pt x="23366" y="28210"/>
                    </a:lnTo>
                    <a:lnTo>
                      <a:pt x="21498" y="28117"/>
                    </a:lnTo>
                    <a:lnTo>
                      <a:pt x="12532" y="28577"/>
                    </a:lnTo>
                    <a:lnTo>
                      <a:pt x="12400" y="28525"/>
                    </a:lnTo>
                    <a:lnTo>
                      <a:pt x="12259" y="28393"/>
                    </a:lnTo>
                    <a:lnTo>
                      <a:pt x="12186" y="28258"/>
                    </a:lnTo>
                    <a:lnTo>
                      <a:pt x="11723" y="26817"/>
                    </a:lnTo>
                    <a:lnTo>
                      <a:pt x="11478" y="26550"/>
                    </a:lnTo>
                    <a:lnTo>
                      <a:pt x="10416" y="26459"/>
                    </a:lnTo>
                    <a:lnTo>
                      <a:pt x="7660" y="27569"/>
                    </a:lnTo>
                    <a:lnTo>
                      <a:pt x="7292" y="27467"/>
                    </a:lnTo>
                    <a:lnTo>
                      <a:pt x="6802" y="27074"/>
                    </a:lnTo>
                    <a:lnTo>
                      <a:pt x="6691" y="26921"/>
                    </a:lnTo>
                    <a:lnTo>
                      <a:pt x="6622" y="26746"/>
                    </a:lnTo>
                    <a:lnTo>
                      <a:pt x="6260" y="23640"/>
                    </a:lnTo>
                    <a:lnTo>
                      <a:pt x="6051" y="23076"/>
                    </a:lnTo>
                    <a:lnTo>
                      <a:pt x="5919" y="22865"/>
                    </a:lnTo>
                    <a:lnTo>
                      <a:pt x="4623" y="21628"/>
                    </a:lnTo>
                    <a:lnTo>
                      <a:pt x="0" y="20340"/>
                    </a:lnTo>
                    <a:lnTo>
                      <a:pt x="227" y="18038"/>
                    </a:lnTo>
                    <a:lnTo>
                      <a:pt x="456" y="17356"/>
                    </a:lnTo>
                    <a:lnTo>
                      <a:pt x="557" y="15414"/>
                    </a:lnTo>
                    <a:lnTo>
                      <a:pt x="947" y="14331"/>
                    </a:lnTo>
                    <a:lnTo>
                      <a:pt x="1093" y="14167"/>
                    </a:lnTo>
                    <a:lnTo>
                      <a:pt x="2063" y="13570"/>
                    </a:lnTo>
                    <a:lnTo>
                      <a:pt x="2204" y="13417"/>
                    </a:lnTo>
                    <a:lnTo>
                      <a:pt x="2284" y="13275"/>
                    </a:lnTo>
                    <a:lnTo>
                      <a:pt x="2403" y="12903"/>
                    </a:lnTo>
                    <a:lnTo>
                      <a:pt x="2414" y="12745"/>
                    </a:lnTo>
                    <a:lnTo>
                      <a:pt x="2297" y="11881"/>
                    </a:lnTo>
                    <a:lnTo>
                      <a:pt x="2312" y="10932"/>
                    </a:lnTo>
                    <a:lnTo>
                      <a:pt x="2352" y="10713"/>
                    </a:lnTo>
                    <a:lnTo>
                      <a:pt x="2666" y="10176"/>
                    </a:lnTo>
                    <a:lnTo>
                      <a:pt x="9645" y="7327"/>
                    </a:lnTo>
                    <a:lnTo>
                      <a:pt x="10004" y="6976"/>
                    </a:lnTo>
                    <a:lnTo>
                      <a:pt x="10250" y="6569"/>
                    </a:lnTo>
                    <a:lnTo>
                      <a:pt x="10268" y="6410"/>
                    </a:lnTo>
                    <a:lnTo>
                      <a:pt x="10237" y="6254"/>
                    </a:lnTo>
                    <a:lnTo>
                      <a:pt x="9728" y="5446"/>
                    </a:lnTo>
                    <a:lnTo>
                      <a:pt x="9670" y="5232"/>
                    </a:lnTo>
                    <a:lnTo>
                      <a:pt x="9654" y="4995"/>
                    </a:lnTo>
                    <a:lnTo>
                      <a:pt x="9693" y="4775"/>
                    </a:lnTo>
                    <a:lnTo>
                      <a:pt x="9782" y="4554"/>
                    </a:lnTo>
                    <a:lnTo>
                      <a:pt x="13084" y="0"/>
                    </a:lnTo>
                    <a:lnTo>
                      <a:pt x="18450" y="6399"/>
                    </a:lnTo>
                    <a:lnTo>
                      <a:pt x="18641" y="6964"/>
                    </a:lnTo>
                    <a:lnTo>
                      <a:pt x="18689" y="7219"/>
                    </a:lnTo>
                    <a:lnTo>
                      <a:pt x="18761" y="8865"/>
                    </a:lnTo>
                    <a:lnTo>
                      <a:pt x="19033" y="10424"/>
                    </a:lnTo>
                    <a:lnTo>
                      <a:pt x="19651" y="11760"/>
                    </a:lnTo>
                    <a:lnTo>
                      <a:pt x="20956" y="1307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29" name="Freeform 63">
                <a:extLst>
                  <a:ext uri="{FF2B5EF4-FFF2-40B4-BE49-F238E27FC236}">
                    <a16:creationId xmlns:a16="http://schemas.microsoft.com/office/drawing/2014/main" id="{27BB1A58-2A1B-8518-D99F-3BE7CAA2CC9F}"/>
                  </a:ext>
                </a:extLst>
              </p:cNvPr>
              <p:cNvSpPr>
                <a:spLocks noChangeAspect="1"/>
              </p:cNvSpPr>
              <p:nvPr>
                <p:custDataLst>
                  <p:tags r:id="rId60"/>
                </p:custDataLst>
              </p:nvPr>
            </p:nvSpPr>
            <p:spPr>
              <a:xfrm>
                <a:off x="5311051" y="5120049"/>
                <a:ext cx="57425" cy="57902"/>
              </a:xfrm>
              <a:custGeom>
                <a:avLst/>
                <a:gdLst/>
                <a:ahLst/>
                <a:cxnLst/>
                <a:rect l="0" t="0" r="0" b="0"/>
                <a:pathLst>
                  <a:path w="58960" h="59450">
                    <a:moveTo>
                      <a:pt x="33770" y="6011"/>
                    </a:moveTo>
                    <a:lnTo>
                      <a:pt x="34102" y="5994"/>
                    </a:lnTo>
                    <a:lnTo>
                      <a:pt x="34440" y="5840"/>
                    </a:lnTo>
                    <a:lnTo>
                      <a:pt x="35562" y="4816"/>
                    </a:lnTo>
                    <a:lnTo>
                      <a:pt x="37000" y="2432"/>
                    </a:lnTo>
                    <a:lnTo>
                      <a:pt x="40408" y="6314"/>
                    </a:lnTo>
                    <a:lnTo>
                      <a:pt x="44111" y="8916"/>
                    </a:lnTo>
                    <a:lnTo>
                      <a:pt x="50999" y="9133"/>
                    </a:lnTo>
                    <a:lnTo>
                      <a:pt x="58081" y="14002"/>
                    </a:lnTo>
                    <a:lnTo>
                      <a:pt x="58959" y="17773"/>
                    </a:lnTo>
                    <a:lnTo>
                      <a:pt x="56287" y="30855"/>
                    </a:lnTo>
                    <a:lnTo>
                      <a:pt x="50777" y="36350"/>
                    </a:lnTo>
                    <a:lnTo>
                      <a:pt x="48457" y="42949"/>
                    </a:lnTo>
                    <a:lnTo>
                      <a:pt x="43127" y="48217"/>
                    </a:lnTo>
                    <a:lnTo>
                      <a:pt x="42876" y="56925"/>
                    </a:lnTo>
                    <a:lnTo>
                      <a:pt x="37018" y="59449"/>
                    </a:lnTo>
                    <a:lnTo>
                      <a:pt x="33438" y="56760"/>
                    </a:lnTo>
                    <a:lnTo>
                      <a:pt x="31890" y="54919"/>
                    </a:lnTo>
                    <a:lnTo>
                      <a:pt x="25817" y="57242"/>
                    </a:lnTo>
                    <a:lnTo>
                      <a:pt x="23819" y="46302"/>
                    </a:lnTo>
                    <a:lnTo>
                      <a:pt x="23021" y="45512"/>
                    </a:lnTo>
                    <a:lnTo>
                      <a:pt x="14512" y="27149"/>
                    </a:lnTo>
                    <a:lnTo>
                      <a:pt x="10212" y="22069"/>
                    </a:lnTo>
                    <a:lnTo>
                      <a:pt x="5002" y="18712"/>
                    </a:lnTo>
                    <a:lnTo>
                      <a:pt x="265" y="11823"/>
                    </a:lnTo>
                    <a:lnTo>
                      <a:pt x="2" y="10808"/>
                    </a:lnTo>
                    <a:lnTo>
                      <a:pt x="1" y="10374"/>
                    </a:lnTo>
                    <a:lnTo>
                      <a:pt x="0" y="10225"/>
                    </a:lnTo>
                    <a:lnTo>
                      <a:pt x="15" y="10155"/>
                    </a:lnTo>
                    <a:lnTo>
                      <a:pt x="30" y="10076"/>
                    </a:lnTo>
                    <a:lnTo>
                      <a:pt x="149" y="9862"/>
                    </a:lnTo>
                    <a:lnTo>
                      <a:pt x="165" y="9792"/>
                    </a:lnTo>
                    <a:lnTo>
                      <a:pt x="171" y="9653"/>
                    </a:lnTo>
                    <a:lnTo>
                      <a:pt x="175" y="9347"/>
                    </a:lnTo>
                    <a:lnTo>
                      <a:pt x="192" y="9178"/>
                    </a:lnTo>
                    <a:lnTo>
                      <a:pt x="214" y="9117"/>
                    </a:lnTo>
                    <a:lnTo>
                      <a:pt x="248" y="9058"/>
                    </a:lnTo>
                    <a:lnTo>
                      <a:pt x="353" y="8934"/>
                    </a:lnTo>
                    <a:lnTo>
                      <a:pt x="528" y="8846"/>
                    </a:lnTo>
                    <a:lnTo>
                      <a:pt x="690" y="8740"/>
                    </a:lnTo>
                    <a:lnTo>
                      <a:pt x="979" y="8470"/>
                    </a:lnTo>
                    <a:lnTo>
                      <a:pt x="1039" y="8426"/>
                    </a:lnTo>
                    <a:lnTo>
                      <a:pt x="1099" y="8404"/>
                    </a:lnTo>
                    <a:lnTo>
                      <a:pt x="1166" y="8381"/>
                    </a:lnTo>
                    <a:lnTo>
                      <a:pt x="1447" y="8328"/>
                    </a:lnTo>
                    <a:lnTo>
                      <a:pt x="1533" y="8305"/>
                    </a:lnTo>
                    <a:lnTo>
                      <a:pt x="1774" y="8195"/>
                    </a:lnTo>
                    <a:lnTo>
                      <a:pt x="1859" y="8170"/>
                    </a:lnTo>
                    <a:lnTo>
                      <a:pt x="2018" y="8143"/>
                    </a:lnTo>
                    <a:lnTo>
                      <a:pt x="2191" y="8145"/>
                    </a:lnTo>
                    <a:lnTo>
                      <a:pt x="13674" y="8573"/>
                    </a:lnTo>
                    <a:lnTo>
                      <a:pt x="18278" y="11137"/>
                    </a:lnTo>
                    <a:lnTo>
                      <a:pt x="19293" y="11069"/>
                    </a:lnTo>
                    <a:lnTo>
                      <a:pt x="19699" y="10792"/>
                    </a:lnTo>
                    <a:lnTo>
                      <a:pt x="20221" y="10223"/>
                    </a:lnTo>
                    <a:lnTo>
                      <a:pt x="21837" y="7506"/>
                    </a:lnTo>
                    <a:lnTo>
                      <a:pt x="23130" y="6831"/>
                    </a:lnTo>
                    <a:lnTo>
                      <a:pt x="26899" y="7752"/>
                    </a:lnTo>
                    <a:lnTo>
                      <a:pt x="27458" y="7706"/>
                    </a:lnTo>
                    <a:lnTo>
                      <a:pt x="28160" y="7315"/>
                    </a:lnTo>
                    <a:lnTo>
                      <a:pt x="28374" y="7009"/>
                    </a:lnTo>
                    <a:lnTo>
                      <a:pt x="28480" y="6786"/>
                    </a:lnTo>
                    <a:lnTo>
                      <a:pt x="28554" y="6278"/>
                    </a:lnTo>
                    <a:lnTo>
                      <a:pt x="28523" y="6012"/>
                    </a:lnTo>
                    <a:lnTo>
                      <a:pt x="28468" y="5758"/>
                    </a:lnTo>
                    <a:lnTo>
                      <a:pt x="28099" y="5016"/>
                    </a:lnTo>
                    <a:lnTo>
                      <a:pt x="23825" y="601"/>
                    </a:lnTo>
                    <a:lnTo>
                      <a:pt x="26589" y="0"/>
                    </a:lnTo>
                    <a:lnTo>
                      <a:pt x="27899" y="342"/>
                    </a:lnTo>
                    <a:lnTo>
                      <a:pt x="31579" y="3531"/>
                    </a:lnTo>
                    <a:lnTo>
                      <a:pt x="32799" y="5427"/>
                    </a:lnTo>
                    <a:lnTo>
                      <a:pt x="33263" y="585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0" name="Freeform 64">
                <a:extLst>
                  <a:ext uri="{FF2B5EF4-FFF2-40B4-BE49-F238E27FC236}">
                    <a16:creationId xmlns:a16="http://schemas.microsoft.com/office/drawing/2014/main" id="{A6F4FDCC-E479-6B17-43B7-E4BE535B07DA}"/>
                  </a:ext>
                </a:extLst>
              </p:cNvPr>
              <p:cNvSpPr>
                <a:spLocks noChangeAspect="1"/>
              </p:cNvSpPr>
              <p:nvPr>
                <p:custDataLst>
                  <p:tags r:id="rId61"/>
                </p:custDataLst>
              </p:nvPr>
            </p:nvSpPr>
            <p:spPr>
              <a:xfrm>
                <a:off x="5279012" y="5074630"/>
                <a:ext cx="25679" cy="23593"/>
              </a:xfrm>
              <a:custGeom>
                <a:avLst/>
                <a:gdLst/>
                <a:ahLst/>
                <a:cxnLst/>
                <a:rect l="0" t="0" r="0" b="0"/>
                <a:pathLst>
                  <a:path w="26365" h="24224">
                    <a:moveTo>
                      <a:pt x="17294" y="886"/>
                    </a:moveTo>
                    <a:lnTo>
                      <a:pt x="17813" y="2147"/>
                    </a:lnTo>
                    <a:lnTo>
                      <a:pt x="18039" y="3726"/>
                    </a:lnTo>
                    <a:lnTo>
                      <a:pt x="18440" y="4844"/>
                    </a:lnTo>
                    <a:lnTo>
                      <a:pt x="21164" y="8343"/>
                    </a:lnTo>
                    <a:lnTo>
                      <a:pt x="22585" y="11429"/>
                    </a:lnTo>
                    <a:lnTo>
                      <a:pt x="22688" y="11938"/>
                    </a:lnTo>
                    <a:lnTo>
                      <a:pt x="22699" y="12451"/>
                    </a:lnTo>
                    <a:lnTo>
                      <a:pt x="22590" y="13286"/>
                    </a:lnTo>
                    <a:lnTo>
                      <a:pt x="22604" y="14273"/>
                    </a:lnTo>
                    <a:lnTo>
                      <a:pt x="22673" y="14567"/>
                    </a:lnTo>
                    <a:lnTo>
                      <a:pt x="22750" y="14760"/>
                    </a:lnTo>
                    <a:lnTo>
                      <a:pt x="22915" y="15009"/>
                    </a:lnTo>
                    <a:lnTo>
                      <a:pt x="24407" y="15750"/>
                    </a:lnTo>
                    <a:lnTo>
                      <a:pt x="24755" y="16088"/>
                    </a:lnTo>
                    <a:lnTo>
                      <a:pt x="24937" y="16436"/>
                    </a:lnTo>
                    <a:lnTo>
                      <a:pt x="25219" y="17490"/>
                    </a:lnTo>
                    <a:lnTo>
                      <a:pt x="25612" y="18134"/>
                    </a:lnTo>
                    <a:lnTo>
                      <a:pt x="26364" y="18958"/>
                    </a:lnTo>
                    <a:lnTo>
                      <a:pt x="26243" y="21276"/>
                    </a:lnTo>
                    <a:lnTo>
                      <a:pt x="25083" y="21606"/>
                    </a:lnTo>
                    <a:lnTo>
                      <a:pt x="23803" y="23090"/>
                    </a:lnTo>
                    <a:lnTo>
                      <a:pt x="22827" y="24223"/>
                    </a:lnTo>
                    <a:lnTo>
                      <a:pt x="21822" y="22026"/>
                    </a:lnTo>
                    <a:lnTo>
                      <a:pt x="21255" y="22013"/>
                    </a:lnTo>
                    <a:lnTo>
                      <a:pt x="20717" y="21811"/>
                    </a:lnTo>
                    <a:lnTo>
                      <a:pt x="15963" y="17015"/>
                    </a:lnTo>
                    <a:lnTo>
                      <a:pt x="15154" y="15183"/>
                    </a:lnTo>
                    <a:lnTo>
                      <a:pt x="14646" y="14427"/>
                    </a:lnTo>
                    <a:lnTo>
                      <a:pt x="14039" y="13923"/>
                    </a:lnTo>
                    <a:lnTo>
                      <a:pt x="13270" y="13642"/>
                    </a:lnTo>
                    <a:lnTo>
                      <a:pt x="8559" y="13642"/>
                    </a:lnTo>
                    <a:lnTo>
                      <a:pt x="6508" y="15090"/>
                    </a:lnTo>
                    <a:lnTo>
                      <a:pt x="5611" y="12918"/>
                    </a:lnTo>
                    <a:lnTo>
                      <a:pt x="0" y="6525"/>
                    </a:lnTo>
                    <a:lnTo>
                      <a:pt x="4462" y="5412"/>
                    </a:lnTo>
                    <a:lnTo>
                      <a:pt x="5475" y="4279"/>
                    </a:lnTo>
                    <a:lnTo>
                      <a:pt x="6129" y="2984"/>
                    </a:lnTo>
                    <a:lnTo>
                      <a:pt x="7031" y="1856"/>
                    </a:lnTo>
                    <a:lnTo>
                      <a:pt x="9725" y="388"/>
                    </a:lnTo>
                    <a:lnTo>
                      <a:pt x="1298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1" name="Freeform 65">
                <a:extLst>
                  <a:ext uri="{FF2B5EF4-FFF2-40B4-BE49-F238E27FC236}">
                    <a16:creationId xmlns:a16="http://schemas.microsoft.com/office/drawing/2014/main" id="{30621C02-73BA-D7A6-0DC3-E2CD0FAFF3F7}"/>
                  </a:ext>
                </a:extLst>
              </p:cNvPr>
              <p:cNvSpPr>
                <a:spLocks noChangeAspect="1"/>
              </p:cNvSpPr>
              <p:nvPr>
                <p:custDataLst>
                  <p:tags r:id="rId62"/>
                </p:custDataLst>
              </p:nvPr>
            </p:nvSpPr>
            <p:spPr>
              <a:xfrm>
                <a:off x="5292402" y="5129869"/>
                <a:ext cx="41071" cy="47805"/>
              </a:xfrm>
              <a:custGeom>
                <a:avLst/>
                <a:gdLst/>
                <a:ahLst/>
                <a:cxnLst/>
                <a:rect l="0" t="0" r="0" b="0"/>
                <a:pathLst>
                  <a:path w="42169" h="49083">
                    <a:moveTo>
                      <a:pt x="19149" y="725"/>
                    </a:moveTo>
                    <a:lnTo>
                      <a:pt x="19412" y="1740"/>
                    </a:lnTo>
                    <a:lnTo>
                      <a:pt x="24149" y="8629"/>
                    </a:lnTo>
                    <a:lnTo>
                      <a:pt x="29359" y="11986"/>
                    </a:lnTo>
                    <a:lnTo>
                      <a:pt x="33659" y="17066"/>
                    </a:lnTo>
                    <a:lnTo>
                      <a:pt x="42168" y="35429"/>
                    </a:lnTo>
                    <a:lnTo>
                      <a:pt x="38878" y="32238"/>
                    </a:lnTo>
                    <a:lnTo>
                      <a:pt x="32480" y="32043"/>
                    </a:lnTo>
                    <a:lnTo>
                      <a:pt x="27982" y="38108"/>
                    </a:lnTo>
                    <a:lnTo>
                      <a:pt x="23465" y="38007"/>
                    </a:lnTo>
                    <a:lnTo>
                      <a:pt x="18983" y="40236"/>
                    </a:lnTo>
                    <a:lnTo>
                      <a:pt x="15196" y="47409"/>
                    </a:lnTo>
                    <a:lnTo>
                      <a:pt x="9015" y="49082"/>
                    </a:lnTo>
                    <a:lnTo>
                      <a:pt x="3271" y="44043"/>
                    </a:lnTo>
                    <a:lnTo>
                      <a:pt x="0" y="37842"/>
                    </a:lnTo>
                    <a:lnTo>
                      <a:pt x="5159" y="37286"/>
                    </a:lnTo>
                    <a:lnTo>
                      <a:pt x="5734" y="36885"/>
                    </a:lnTo>
                    <a:lnTo>
                      <a:pt x="5967" y="36578"/>
                    </a:lnTo>
                    <a:lnTo>
                      <a:pt x="6039" y="36396"/>
                    </a:lnTo>
                    <a:lnTo>
                      <a:pt x="6090" y="36146"/>
                    </a:lnTo>
                    <a:lnTo>
                      <a:pt x="6034" y="31377"/>
                    </a:lnTo>
                    <a:lnTo>
                      <a:pt x="6115" y="30860"/>
                    </a:lnTo>
                    <a:lnTo>
                      <a:pt x="6781" y="29347"/>
                    </a:lnTo>
                    <a:lnTo>
                      <a:pt x="7581" y="28470"/>
                    </a:lnTo>
                    <a:lnTo>
                      <a:pt x="8660" y="28014"/>
                    </a:lnTo>
                    <a:lnTo>
                      <a:pt x="10991" y="28201"/>
                    </a:lnTo>
                    <a:lnTo>
                      <a:pt x="11689" y="27814"/>
                    </a:lnTo>
                    <a:lnTo>
                      <a:pt x="11836" y="27638"/>
                    </a:lnTo>
                    <a:lnTo>
                      <a:pt x="12262" y="26305"/>
                    </a:lnTo>
                    <a:lnTo>
                      <a:pt x="12188" y="23996"/>
                    </a:lnTo>
                    <a:lnTo>
                      <a:pt x="11906" y="22971"/>
                    </a:lnTo>
                    <a:lnTo>
                      <a:pt x="11790" y="21782"/>
                    </a:lnTo>
                    <a:lnTo>
                      <a:pt x="10334" y="17087"/>
                    </a:lnTo>
                    <a:lnTo>
                      <a:pt x="10244" y="16460"/>
                    </a:lnTo>
                    <a:lnTo>
                      <a:pt x="10185" y="16264"/>
                    </a:lnTo>
                    <a:lnTo>
                      <a:pt x="9685" y="15319"/>
                    </a:lnTo>
                    <a:lnTo>
                      <a:pt x="6539" y="11692"/>
                    </a:lnTo>
                    <a:lnTo>
                      <a:pt x="7303" y="10727"/>
                    </a:lnTo>
                    <a:lnTo>
                      <a:pt x="8321" y="10305"/>
                    </a:lnTo>
                    <a:lnTo>
                      <a:pt x="8839" y="9896"/>
                    </a:lnTo>
                    <a:lnTo>
                      <a:pt x="9234" y="9373"/>
                    </a:lnTo>
                    <a:lnTo>
                      <a:pt x="9347" y="9150"/>
                    </a:lnTo>
                    <a:lnTo>
                      <a:pt x="9400" y="8950"/>
                    </a:lnTo>
                    <a:lnTo>
                      <a:pt x="9421" y="8732"/>
                    </a:lnTo>
                    <a:lnTo>
                      <a:pt x="9384" y="8318"/>
                    </a:lnTo>
                    <a:lnTo>
                      <a:pt x="9337" y="8103"/>
                    </a:lnTo>
                    <a:lnTo>
                      <a:pt x="7992" y="5815"/>
                    </a:lnTo>
                    <a:lnTo>
                      <a:pt x="7223" y="3697"/>
                    </a:lnTo>
                    <a:lnTo>
                      <a:pt x="11368" y="479"/>
                    </a:lnTo>
                    <a:lnTo>
                      <a:pt x="1275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2" name="Freeform 66">
                <a:extLst>
                  <a:ext uri="{FF2B5EF4-FFF2-40B4-BE49-F238E27FC236}">
                    <a16:creationId xmlns:a16="http://schemas.microsoft.com/office/drawing/2014/main" id="{1A55CEBC-47C1-2C79-0DAD-73CE871129C0}"/>
                  </a:ext>
                </a:extLst>
              </p:cNvPr>
              <p:cNvSpPr>
                <a:spLocks noChangeAspect="1"/>
              </p:cNvSpPr>
              <p:nvPr>
                <p:custDataLst>
                  <p:tags r:id="rId63"/>
                </p:custDataLst>
              </p:nvPr>
            </p:nvSpPr>
            <p:spPr>
              <a:xfrm>
                <a:off x="5232574" y="5083042"/>
                <a:ext cx="40002" cy="23088"/>
              </a:xfrm>
              <a:custGeom>
                <a:avLst/>
                <a:gdLst/>
                <a:ahLst/>
                <a:cxnLst/>
                <a:rect l="0" t="0" r="0" b="0"/>
                <a:pathLst>
                  <a:path w="41071" h="23705">
                    <a:moveTo>
                      <a:pt x="26693" y="7229"/>
                    </a:moveTo>
                    <a:lnTo>
                      <a:pt x="29449" y="6119"/>
                    </a:lnTo>
                    <a:lnTo>
                      <a:pt x="30511" y="6210"/>
                    </a:lnTo>
                    <a:lnTo>
                      <a:pt x="30756" y="6477"/>
                    </a:lnTo>
                    <a:lnTo>
                      <a:pt x="31219" y="7918"/>
                    </a:lnTo>
                    <a:lnTo>
                      <a:pt x="31292" y="8053"/>
                    </a:lnTo>
                    <a:lnTo>
                      <a:pt x="31433" y="8185"/>
                    </a:lnTo>
                    <a:lnTo>
                      <a:pt x="31565" y="8237"/>
                    </a:lnTo>
                    <a:lnTo>
                      <a:pt x="40531" y="7777"/>
                    </a:lnTo>
                    <a:lnTo>
                      <a:pt x="41070" y="14134"/>
                    </a:lnTo>
                    <a:lnTo>
                      <a:pt x="40853" y="16042"/>
                    </a:lnTo>
                    <a:lnTo>
                      <a:pt x="40337" y="17882"/>
                    </a:lnTo>
                    <a:lnTo>
                      <a:pt x="39192" y="20107"/>
                    </a:lnTo>
                    <a:lnTo>
                      <a:pt x="37252" y="20925"/>
                    </a:lnTo>
                    <a:lnTo>
                      <a:pt x="36194" y="20954"/>
                    </a:lnTo>
                    <a:lnTo>
                      <a:pt x="32893" y="19639"/>
                    </a:lnTo>
                    <a:lnTo>
                      <a:pt x="28363" y="20492"/>
                    </a:lnTo>
                    <a:lnTo>
                      <a:pt x="26346" y="22380"/>
                    </a:lnTo>
                    <a:lnTo>
                      <a:pt x="25874" y="22560"/>
                    </a:lnTo>
                    <a:lnTo>
                      <a:pt x="16705" y="21757"/>
                    </a:lnTo>
                    <a:lnTo>
                      <a:pt x="10559" y="23704"/>
                    </a:lnTo>
                    <a:lnTo>
                      <a:pt x="3979" y="21952"/>
                    </a:lnTo>
                    <a:lnTo>
                      <a:pt x="8532" y="14051"/>
                    </a:lnTo>
                    <a:lnTo>
                      <a:pt x="8913" y="12751"/>
                    </a:lnTo>
                    <a:lnTo>
                      <a:pt x="8931" y="12295"/>
                    </a:lnTo>
                    <a:lnTo>
                      <a:pt x="8884" y="12059"/>
                    </a:lnTo>
                    <a:lnTo>
                      <a:pt x="8521" y="11325"/>
                    </a:lnTo>
                    <a:lnTo>
                      <a:pt x="8365" y="11133"/>
                    </a:lnTo>
                    <a:lnTo>
                      <a:pt x="8002" y="10834"/>
                    </a:lnTo>
                    <a:lnTo>
                      <a:pt x="7013" y="10441"/>
                    </a:lnTo>
                    <a:lnTo>
                      <a:pt x="1957" y="10126"/>
                    </a:lnTo>
                    <a:lnTo>
                      <a:pt x="975" y="9752"/>
                    </a:lnTo>
                    <a:lnTo>
                      <a:pt x="587" y="9433"/>
                    </a:lnTo>
                    <a:lnTo>
                      <a:pt x="189" y="8897"/>
                    </a:lnTo>
                    <a:lnTo>
                      <a:pt x="88" y="8664"/>
                    </a:lnTo>
                    <a:lnTo>
                      <a:pt x="28" y="8430"/>
                    </a:lnTo>
                    <a:lnTo>
                      <a:pt x="0" y="8184"/>
                    </a:lnTo>
                    <a:lnTo>
                      <a:pt x="22" y="7680"/>
                    </a:lnTo>
                    <a:lnTo>
                      <a:pt x="86" y="7460"/>
                    </a:lnTo>
                    <a:lnTo>
                      <a:pt x="213" y="7256"/>
                    </a:lnTo>
                    <a:lnTo>
                      <a:pt x="377" y="7071"/>
                    </a:lnTo>
                    <a:lnTo>
                      <a:pt x="3100" y="6302"/>
                    </a:lnTo>
                    <a:lnTo>
                      <a:pt x="9010" y="793"/>
                    </a:lnTo>
                    <a:lnTo>
                      <a:pt x="19033" y="0"/>
                    </a:lnTo>
                    <a:lnTo>
                      <a:pt x="23656" y="1288"/>
                    </a:lnTo>
                    <a:lnTo>
                      <a:pt x="24952" y="2525"/>
                    </a:lnTo>
                    <a:lnTo>
                      <a:pt x="25084" y="2736"/>
                    </a:lnTo>
                    <a:lnTo>
                      <a:pt x="25293" y="3300"/>
                    </a:lnTo>
                    <a:lnTo>
                      <a:pt x="25655" y="6406"/>
                    </a:lnTo>
                    <a:lnTo>
                      <a:pt x="25724" y="6581"/>
                    </a:lnTo>
                    <a:lnTo>
                      <a:pt x="25835" y="6734"/>
                    </a:lnTo>
                    <a:lnTo>
                      <a:pt x="26325" y="71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3" name="Freeform 67">
                <a:extLst>
                  <a:ext uri="{FF2B5EF4-FFF2-40B4-BE49-F238E27FC236}">
                    <a16:creationId xmlns:a16="http://schemas.microsoft.com/office/drawing/2014/main" id="{6530378E-2BC9-AC26-C0B4-E2F812D2D6EC}"/>
                  </a:ext>
                </a:extLst>
              </p:cNvPr>
              <p:cNvSpPr>
                <a:spLocks noChangeAspect="1"/>
              </p:cNvSpPr>
              <p:nvPr>
                <p:custDataLst>
                  <p:tags r:id="rId64"/>
                </p:custDataLst>
              </p:nvPr>
            </p:nvSpPr>
            <p:spPr>
              <a:xfrm>
                <a:off x="5286094" y="5029235"/>
                <a:ext cx="37983" cy="31431"/>
              </a:xfrm>
              <a:custGeom>
                <a:avLst/>
                <a:gdLst/>
                <a:ahLst/>
                <a:cxnLst/>
                <a:rect l="0" t="0" r="0" b="0"/>
                <a:pathLst>
                  <a:path w="38998" h="32271">
                    <a:moveTo>
                      <a:pt x="36394" y="3000"/>
                    </a:moveTo>
                    <a:lnTo>
                      <a:pt x="37612" y="7211"/>
                    </a:lnTo>
                    <a:lnTo>
                      <a:pt x="36514" y="13430"/>
                    </a:lnTo>
                    <a:lnTo>
                      <a:pt x="38997" y="14575"/>
                    </a:lnTo>
                    <a:lnTo>
                      <a:pt x="36863" y="18610"/>
                    </a:lnTo>
                    <a:lnTo>
                      <a:pt x="36638" y="19037"/>
                    </a:lnTo>
                    <a:lnTo>
                      <a:pt x="36560" y="19219"/>
                    </a:lnTo>
                    <a:lnTo>
                      <a:pt x="36423" y="19679"/>
                    </a:lnTo>
                    <a:lnTo>
                      <a:pt x="36374" y="19940"/>
                    </a:lnTo>
                    <a:lnTo>
                      <a:pt x="36349" y="20454"/>
                    </a:lnTo>
                    <a:lnTo>
                      <a:pt x="36348" y="21206"/>
                    </a:lnTo>
                    <a:lnTo>
                      <a:pt x="36333" y="21681"/>
                    </a:lnTo>
                    <a:lnTo>
                      <a:pt x="36100" y="23114"/>
                    </a:lnTo>
                    <a:lnTo>
                      <a:pt x="36055" y="23334"/>
                    </a:lnTo>
                    <a:lnTo>
                      <a:pt x="36029" y="24066"/>
                    </a:lnTo>
                    <a:lnTo>
                      <a:pt x="35997" y="24305"/>
                    </a:lnTo>
                    <a:lnTo>
                      <a:pt x="35952" y="24525"/>
                    </a:lnTo>
                    <a:lnTo>
                      <a:pt x="35602" y="25293"/>
                    </a:lnTo>
                    <a:lnTo>
                      <a:pt x="35470" y="25497"/>
                    </a:lnTo>
                    <a:lnTo>
                      <a:pt x="35138" y="25887"/>
                    </a:lnTo>
                    <a:lnTo>
                      <a:pt x="34305" y="26699"/>
                    </a:lnTo>
                    <a:lnTo>
                      <a:pt x="34113" y="26926"/>
                    </a:lnTo>
                    <a:lnTo>
                      <a:pt x="33681" y="27263"/>
                    </a:lnTo>
                    <a:lnTo>
                      <a:pt x="33499" y="27440"/>
                    </a:lnTo>
                    <a:lnTo>
                      <a:pt x="33342" y="27634"/>
                    </a:lnTo>
                    <a:lnTo>
                      <a:pt x="33217" y="27839"/>
                    </a:lnTo>
                    <a:lnTo>
                      <a:pt x="33169" y="27999"/>
                    </a:lnTo>
                    <a:lnTo>
                      <a:pt x="33098" y="28319"/>
                    </a:lnTo>
                    <a:lnTo>
                      <a:pt x="33072" y="28547"/>
                    </a:lnTo>
                    <a:lnTo>
                      <a:pt x="33155" y="29403"/>
                    </a:lnTo>
                    <a:lnTo>
                      <a:pt x="33254" y="29814"/>
                    </a:lnTo>
                    <a:lnTo>
                      <a:pt x="33435" y="30269"/>
                    </a:lnTo>
                    <a:lnTo>
                      <a:pt x="33483" y="30494"/>
                    </a:lnTo>
                    <a:lnTo>
                      <a:pt x="33495" y="30740"/>
                    </a:lnTo>
                    <a:lnTo>
                      <a:pt x="33470" y="30988"/>
                    </a:lnTo>
                    <a:lnTo>
                      <a:pt x="33378" y="31388"/>
                    </a:lnTo>
                    <a:lnTo>
                      <a:pt x="33341" y="31656"/>
                    </a:lnTo>
                    <a:lnTo>
                      <a:pt x="33323" y="31924"/>
                    </a:lnTo>
                    <a:lnTo>
                      <a:pt x="33333" y="32270"/>
                    </a:lnTo>
                    <a:lnTo>
                      <a:pt x="9368" y="30836"/>
                    </a:lnTo>
                    <a:lnTo>
                      <a:pt x="11518" y="23055"/>
                    </a:lnTo>
                    <a:lnTo>
                      <a:pt x="211" y="14591"/>
                    </a:lnTo>
                    <a:lnTo>
                      <a:pt x="0" y="6965"/>
                    </a:lnTo>
                    <a:lnTo>
                      <a:pt x="1587" y="5200"/>
                    </a:lnTo>
                    <a:lnTo>
                      <a:pt x="3791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4" name="Freeform 68">
                <a:extLst>
                  <a:ext uri="{FF2B5EF4-FFF2-40B4-BE49-F238E27FC236}">
                    <a16:creationId xmlns:a16="http://schemas.microsoft.com/office/drawing/2014/main" id="{30A410D7-7355-B01F-7FA8-B70C55832E5D}"/>
                  </a:ext>
                </a:extLst>
              </p:cNvPr>
              <p:cNvSpPr>
                <a:spLocks noChangeAspect="1"/>
              </p:cNvSpPr>
              <p:nvPr>
                <p:custDataLst>
                  <p:tags r:id="rId65"/>
                </p:custDataLst>
              </p:nvPr>
            </p:nvSpPr>
            <p:spPr>
              <a:xfrm>
                <a:off x="5321377" y="5095472"/>
                <a:ext cx="34396" cy="30432"/>
              </a:xfrm>
              <a:custGeom>
                <a:avLst/>
                <a:gdLst/>
                <a:ahLst/>
                <a:cxnLst/>
                <a:rect l="0" t="0" r="0" b="0"/>
                <a:pathLst>
                  <a:path w="35315" h="31246">
                    <a:moveTo>
                      <a:pt x="26398" y="27666"/>
                    </a:moveTo>
                    <a:lnTo>
                      <a:pt x="24960" y="30050"/>
                    </a:lnTo>
                    <a:lnTo>
                      <a:pt x="23838" y="31074"/>
                    </a:lnTo>
                    <a:lnTo>
                      <a:pt x="23500" y="31228"/>
                    </a:lnTo>
                    <a:lnTo>
                      <a:pt x="23168" y="31245"/>
                    </a:lnTo>
                    <a:lnTo>
                      <a:pt x="22661" y="31093"/>
                    </a:lnTo>
                    <a:lnTo>
                      <a:pt x="22197" y="30661"/>
                    </a:lnTo>
                    <a:lnTo>
                      <a:pt x="20977" y="28765"/>
                    </a:lnTo>
                    <a:lnTo>
                      <a:pt x="17297" y="25576"/>
                    </a:lnTo>
                    <a:lnTo>
                      <a:pt x="15987" y="25234"/>
                    </a:lnTo>
                    <a:lnTo>
                      <a:pt x="13223" y="25835"/>
                    </a:lnTo>
                    <a:lnTo>
                      <a:pt x="13219" y="25746"/>
                    </a:lnTo>
                    <a:lnTo>
                      <a:pt x="13199" y="25588"/>
                    </a:lnTo>
                    <a:lnTo>
                      <a:pt x="13116" y="25395"/>
                    </a:lnTo>
                    <a:lnTo>
                      <a:pt x="12798" y="24798"/>
                    </a:lnTo>
                    <a:lnTo>
                      <a:pt x="12722" y="24505"/>
                    </a:lnTo>
                    <a:lnTo>
                      <a:pt x="12669" y="23914"/>
                    </a:lnTo>
                    <a:lnTo>
                      <a:pt x="12720" y="22905"/>
                    </a:lnTo>
                    <a:lnTo>
                      <a:pt x="12646" y="22513"/>
                    </a:lnTo>
                    <a:lnTo>
                      <a:pt x="12481" y="22037"/>
                    </a:lnTo>
                    <a:lnTo>
                      <a:pt x="12349" y="21845"/>
                    </a:lnTo>
                    <a:lnTo>
                      <a:pt x="10910" y="20878"/>
                    </a:lnTo>
                    <a:lnTo>
                      <a:pt x="10428" y="20328"/>
                    </a:lnTo>
                    <a:lnTo>
                      <a:pt x="10200" y="19805"/>
                    </a:lnTo>
                    <a:lnTo>
                      <a:pt x="10001" y="18867"/>
                    </a:lnTo>
                    <a:lnTo>
                      <a:pt x="9934" y="17971"/>
                    </a:lnTo>
                    <a:lnTo>
                      <a:pt x="9973" y="17367"/>
                    </a:lnTo>
                    <a:lnTo>
                      <a:pt x="10052" y="17086"/>
                    </a:lnTo>
                    <a:lnTo>
                      <a:pt x="10340" y="16409"/>
                    </a:lnTo>
                    <a:lnTo>
                      <a:pt x="10381" y="16250"/>
                    </a:lnTo>
                    <a:lnTo>
                      <a:pt x="10376" y="15865"/>
                    </a:lnTo>
                    <a:lnTo>
                      <a:pt x="10281" y="15692"/>
                    </a:lnTo>
                    <a:lnTo>
                      <a:pt x="10190" y="15597"/>
                    </a:lnTo>
                    <a:lnTo>
                      <a:pt x="10064" y="15524"/>
                    </a:lnTo>
                    <a:lnTo>
                      <a:pt x="6194" y="14843"/>
                    </a:lnTo>
                    <a:lnTo>
                      <a:pt x="5762" y="15100"/>
                    </a:lnTo>
                    <a:lnTo>
                      <a:pt x="5435" y="15848"/>
                    </a:lnTo>
                    <a:lnTo>
                      <a:pt x="5278" y="16053"/>
                    </a:lnTo>
                    <a:lnTo>
                      <a:pt x="5176" y="16118"/>
                    </a:lnTo>
                    <a:lnTo>
                      <a:pt x="4879" y="16092"/>
                    </a:lnTo>
                    <a:lnTo>
                      <a:pt x="4645" y="15965"/>
                    </a:lnTo>
                    <a:lnTo>
                      <a:pt x="3395" y="13891"/>
                    </a:lnTo>
                    <a:lnTo>
                      <a:pt x="3285" y="13501"/>
                    </a:lnTo>
                    <a:lnTo>
                      <a:pt x="3271" y="13334"/>
                    </a:lnTo>
                    <a:lnTo>
                      <a:pt x="3288" y="12137"/>
                    </a:lnTo>
                    <a:lnTo>
                      <a:pt x="3227" y="11883"/>
                    </a:lnTo>
                    <a:lnTo>
                      <a:pt x="3057" y="11556"/>
                    </a:lnTo>
                    <a:lnTo>
                      <a:pt x="327" y="10067"/>
                    </a:lnTo>
                    <a:lnTo>
                      <a:pt x="66" y="9763"/>
                    </a:lnTo>
                    <a:lnTo>
                      <a:pt x="15" y="9587"/>
                    </a:lnTo>
                    <a:lnTo>
                      <a:pt x="0" y="9391"/>
                    </a:lnTo>
                    <a:lnTo>
                      <a:pt x="26" y="9162"/>
                    </a:lnTo>
                    <a:lnTo>
                      <a:pt x="746" y="7062"/>
                    </a:lnTo>
                    <a:lnTo>
                      <a:pt x="2075" y="9132"/>
                    </a:lnTo>
                    <a:lnTo>
                      <a:pt x="3675" y="10162"/>
                    </a:lnTo>
                    <a:lnTo>
                      <a:pt x="5284" y="10322"/>
                    </a:lnTo>
                    <a:lnTo>
                      <a:pt x="5862" y="10195"/>
                    </a:lnTo>
                    <a:lnTo>
                      <a:pt x="6432" y="9871"/>
                    </a:lnTo>
                    <a:lnTo>
                      <a:pt x="6960" y="9322"/>
                    </a:lnTo>
                    <a:lnTo>
                      <a:pt x="7086" y="9107"/>
                    </a:lnTo>
                    <a:lnTo>
                      <a:pt x="7503" y="7525"/>
                    </a:lnTo>
                    <a:lnTo>
                      <a:pt x="7481" y="6657"/>
                    </a:lnTo>
                    <a:lnTo>
                      <a:pt x="7308" y="5479"/>
                    </a:lnTo>
                    <a:lnTo>
                      <a:pt x="7283" y="3149"/>
                    </a:lnTo>
                    <a:lnTo>
                      <a:pt x="7342" y="2830"/>
                    </a:lnTo>
                    <a:lnTo>
                      <a:pt x="7523" y="2504"/>
                    </a:lnTo>
                    <a:lnTo>
                      <a:pt x="7939" y="2188"/>
                    </a:lnTo>
                    <a:lnTo>
                      <a:pt x="10616" y="1267"/>
                    </a:lnTo>
                    <a:lnTo>
                      <a:pt x="17679" y="5310"/>
                    </a:lnTo>
                    <a:lnTo>
                      <a:pt x="23281" y="4538"/>
                    </a:lnTo>
                    <a:lnTo>
                      <a:pt x="29109" y="2214"/>
                    </a:lnTo>
                    <a:lnTo>
                      <a:pt x="34633" y="0"/>
                    </a:lnTo>
                    <a:lnTo>
                      <a:pt x="34874" y="1648"/>
                    </a:lnTo>
                    <a:lnTo>
                      <a:pt x="34614" y="6385"/>
                    </a:lnTo>
                    <a:lnTo>
                      <a:pt x="35314" y="9611"/>
                    </a:lnTo>
                    <a:lnTo>
                      <a:pt x="35287" y="9929"/>
                    </a:lnTo>
                    <a:lnTo>
                      <a:pt x="35205" y="10151"/>
                    </a:lnTo>
                    <a:lnTo>
                      <a:pt x="34999" y="10457"/>
                    </a:lnTo>
                    <a:lnTo>
                      <a:pt x="34678" y="10691"/>
                    </a:lnTo>
                    <a:lnTo>
                      <a:pt x="29490" y="11799"/>
                    </a:lnTo>
                    <a:lnTo>
                      <a:pt x="28686" y="12491"/>
                    </a:lnTo>
                    <a:lnTo>
                      <a:pt x="27699" y="14093"/>
                    </a:lnTo>
                    <a:lnTo>
                      <a:pt x="27583" y="14503"/>
                    </a:lnTo>
                    <a:lnTo>
                      <a:pt x="27513" y="15090"/>
                    </a:lnTo>
                    <a:lnTo>
                      <a:pt x="27558" y="16007"/>
                    </a:lnTo>
                    <a:lnTo>
                      <a:pt x="28325" y="20001"/>
                    </a:lnTo>
                    <a:lnTo>
                      <a:pt x="28368" y="22281"/>
                    </a:lnTo>
                    <a:lnTo>
                      <a:pt x="28171" y="23171"/>
                    </a:lnTo>
                    <a:lnTo>
                      <a:pt x="26462" y="271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5" name="Freeform 69">
                <a:extLst>
                  <a:ext uri="{FF2B5EF4-FFF2-40B4-BE49-F238E27FC236}">
                    <a16:creationId xmlns:a16="http://schemas.microsoft.com/office/drawing/2014/main" id="{2CA4C9F1-4205-ADE6-5483-204E6FCB226E}"/>
                  </a:ext>
                </a:extLst>
              </p:cNvPr>
              <p:cNvSpPr>
                <a:spLocks noChangeAspect="1"/>
              </p:cNvSpPr>
              <p:nvPr>
                <p:custDataLst>
                  <p:tags r:id="rId66"/>
                </p:custDataLst>
              </p:nvPr>
            </p:nvSpPr>
            <p:spPr>
              <a:xfrm>
                <a:off x="5270745" y="5090616"/>
                <a:ext cx="17350" cy="21570"/>
              </a:xfrm>
              <a:custGeom>
                <a:avLst/>
                <a:gdLst/>
                <a:ahLst/>
                <a:cxnLst/>
                <a:rect l="0" t="0" r="0" b="0"/>
                <a:pathLst>
                  <a:path w="17814" h="22147">
                    <a:moveTo>
                      <a:pt x="7479" y="1411"/>
                    </a:moveTo>
                    <a:lnTo>
                      <a:pt x="6617" y="2369"/>
                    </a:lnTo>
                    <a:lnTo>
                      <a:pt x="6488" y="2928"/>
                    </a:lnTo>
                    <a:lnTo>
                      <a:pt x="6376" y="4276"/>
                    </a:lnTo>
                    <a:lnTo>
                      <a:pt x="6390" y="4613"/>
                    </a:lnTo>
                    <a:lnTo>
                      <a:pt x="6587" y="5146"/>
                    </a:lnTo>
                    <a:lnTo>
                      <a:pt x="6892" y="5499"/>
                    </a:lnTo>
                    <a:lnTo>
                      <a:pt x="9109" y="6801"/>
                    </a:lnTo>
                    <a:lnTo>
                      <a:pt x="9266" y="7001"/>
                    </a:lnTo>
                    <a:lnTo>
                      <a:pt x="9448" y="7348"/>
                    </a:lnTo>
                    <a:lnTo>
                      <a:pt x="9490" y="7613"/>
                    </a:lnTo>
                    <a:lnTo>
                      <a:pt x="9619" y="10650"/>
                    </a:lnTo>
                    <a:lnTo>
                      <a:pt x="10048" y="12112"/>
                    </a:lnTo>
                    <a:lnTo>
                      <a:pt x="10828" y="13321"/>
                    </a:lnTo>
                    <a:lnTo>
                      <a:pt x="17813" y="19829"/>
                    </a:lnTo>
                    <a:lnTo>
                      <a:pt x="15934" y="20913"/>
                    </a:lnTo>
                    <a:lnTo>
                      <a:pt x="11444" y="22146"/>
                    </a:lnTo>
                    <a:lnTo>
                      <a:pt x="8617" y="21031"/>
                    </a:lnTo>
                    <a:lnTo>
                      <a:pt x="7939" y="20192"/>
                    </a:lnTo>
                    <a:lnTo>
                      <a:pt x="4559" y="16037"/>
                    </a:lnTo>
                    <a:lnTo>
                      <a:pt x="2024" y="14967"/>
                    </a:lnTo>
                    <a:lnTo>
                      <a:pt x="1982" y="14987"/>
                    </a:lnTo>
                    <a:lnTo>
                      <a:pt x="1943" y="14811"/>
                    </a:lnTo>
                    <a:lnTo>
                      <a:pt x="1529" y="13516"/>
                    </a:lnTo>
                    <a:lnTo>
                      <a:pt x="1312" y="13200"/>
                    </a:lnTo>
                    <a:lnTo>
                      <a:pt x="999" y="12927"/>
                    </a:lnTo>
                    <a:lnTo>
                      <a:pt x="625" y="12678"/>
                    </a:lnTo>
                    <a:lnTo>
                      <a:pt x="0" y="12330"/>
                    </a:lnTo>
                    <a:lnTo>
                      <a:pt x="1145" y="10105"/>
                    </a:lnTo>
                    <a:lnTo>
                      <a:pt x="1661" y="8265"/>
                    </a:lnTo>
                    <a:lnTo>
                      <a:pt x="1878" y="6357"/>
                    </a:lnTo>
                    <a:lnTo>
                      <a:pt x="1339" y="0"/>
                    </a:lnTo>
                    <a:lnTo>
                      <a:pt x="3207" y="93"/>
                    </a:lnTo>
                    <a:lnTo>
                      <a:pt x="4377" y="277"/>
                    </a:lnTo>
                    <a:lnTo>
                      <a:pt x="5141" y="440"/>
                    </a:lnTo>
                    <a:lnTo>
                      <a:pt x="5898" y="72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6" name="Freeform 70">
                <a:extLst>
                  <a:ext uri="{FF2B5EF4-FFF2-40B4-BE49-F238E27FC236}">
                    <a16:creationId xmlns:a16="http://schemas.microsoft.com/office/drawing/2014/main" id="{1805D346-0131-A70B-B5A0-B7ADC2875B84}"/>
                  </a:ext>
                </a:extLst>
              </p:cNvPr>
              <p:cNvSpPr>
                <a:spLocks noChangeAspect="1"/>
              </p:cNvSpPr>
              <p:nvPr>
                <p:custDataLst>
                  <p:tags r:id="rId67"/>
                </p:custDataLst>
              </p:nvPr>
            </p:nvSpPr>
            <p:spPr>
              <a:xfrm>
                <a:off x="5225768" y="5102169"/>
                <a:ext cx="46909" cy="31887"/>
              </a:xfrm>
              <a:custGeom>
                <a:avLst/>
                <a:gdLst/>
                <a:ahLst/>
                <a:cxnLst/>
                <a:rect l="0" t="0" r="0" b="0"/>
                <a:pathLst>
                  <a:path w="48163" h="32739">
                    <a:moveTo>
                      <a:pt x="44240" y="1286"/>
                    </a:moveTo>
                    <a:lnTo>
                      <a:pt x="46180" y="468"/>
                    </a:lnTo>
                    <a:lnTo>
                      <a:pt x="46805" y="816"/>
                    </a:lnTo>
                    <a:lnTo>
                      <a:pt x="47179" y="1065"/>
                    </a:lnTo>
                    <a:lnTo>
                      <a:pt x="47492" y="1338"/>
                    </a:lnTo>
                    <a:lnTo>
                      <a:pt x="47709" y="1654"/>
                    </a:lnTo>
                    <a:lnTo>
                      <a:pt x="48123" y="2949"/>
                    </a:lnTo>
                    <a:lnTo>
                      <a:pt x="48162" y="3125"/>
                    </a:lnTo>
                    <a:lnTo>
                      <a:pt x="45727" y="4036"/>
                    </a:lnTo>
                    <a:lnTo>
                      <a:pt x="42892" y="7750"/>
                    </a:lnTo>
                    <a:lnTo>
                      <a:pt x="40242" y="8688"/>
                    </a:lnTo>
                    <a:lnTo>
                      <a:pt x="30922" y="9467"/>
                    </a:lnTo>
                    <a:lnTo>
                      <a:pt x="27967" y="12639"/>
                    </a:lnTo>
                    <a:lnTo>
                      <a:pt x="29812" y="16016"/>
                    </a:lnTo>
                    <a:lnTo>
                      <a:pt x="18492" y="18387"/>
                    </a:lnTo>
                    <a:lnTo>
                      <a:pt x="17554" y="18942"/>
                    </a:lnTo>
                    <a:lnTo>
                      <a:pt x="15967" y="21046"/>
                    </a:lnTo>
                    <a:lnTo>
                      <a:pt x="15618" y="21811"/>
                    </a:lnTo>
                    <a:lnTo>
                      <a:pt x="15584" y="22030"/>
                    </a:lnTo>
                    <a:lnTo>
                      <a:pt x="15587" y="22257"/>
                    </a:lnTo>
                    <a:lnTo>
                      <a:pt x="15627" y="22483"/>
                    </a:lnTo>
                    <a:lnTo>
                      <a:pt x="15741" y="22695"/>
                    </a:lnTo>
                    <a:lnTo>
                      <a:pt x="16144" y="23191"/>
                    </a:lnTo>
                    <a:lnTo>
                      <a:pt x="16672" y="23584"/>
                    </a:lnTo>
                    <a:lnTo>
                      <a:pt x="17129" y="23742"/>
                    </a:lnTo>
                    <a:lnTo>
                      <a:pt x="20416" y="23658"/>
                    </a:lnTo>
                    <a:lnTo>
                      <a:pt x="20638" y="23808"/>
                    </a:lnTo>
                    <a:lnTo>
                      <a:pt x="20701" y="23983"/>
                    </a:lnTo>
                    <a:lnTo>
                      <a:pt x="20667" y="24201"/>
                    </a:lnTo>
                    <a:lnTo>
                      <a:pt x="20426" y="24606"/>
                    </a:lnTo>
                    <a:lnTo>
                      <a:pt x="18016" y="26370"/>
                    </a:lnTo>
                    <a:lnTo>
                      <a:pt x="16072" y="29221"/>
                    </a:lnTo>
                    <a:lnTo>
                      <a:pt x="15529" y="30666"/>
                    </a:lnTo>
                    <a:lnTo>
                      <a:pt x="14217" y="32738"/>
                    </a:lnTo>
                    <a:lnTo>
                      <a:pt x="10251" y="28591"/>
                    </a:lnTo>
                    <a:lnTo>
                      <a:pt x="2686" y="26908"/>
                    </a:lnTo>
                    <a:lnTo>
                      <a:pt x="520" y="24018"/>
                    </a:lnTo>
                    <a:lnTo>
                      <a:pt x="0" y="17974"/>
                    </a:lnTo>
                    <a:lnTo>
                      <a:pt x="998" y="18445"/>
                    </a:lnTo>
                    <a:lnTo>
                      <a:pt x="3586" y="18454"/>
                    </a:lnTo>
                    <a:lnTo>
                      <a:pt x="4455" y="17864"/>
                    </a:lnTo>
                    <a:lnTo>
                      <a:pt x="5365" y="16778"/>
                    </a:lnTo>
                    <a:lnTo>
                      <a:pt x="5429" y="16548"/>
                    </a:lnTo>
                    <a:lnTo>
                      <a:pt x="5450" y="13356"/>
                    </a:lnTo>
                    <a:lnTo>
                      <a:pt x="5502" y="13118"/>
                    </a:lnTo>
                    <a:lnTo>
                      <a:pt x="6038" y="11810"/>
                    </a:lnTo>
                    <a:lnTo>
                      <a:pt x="8276" y="8910"/>
                    </a:lnTo>
                    <a:lnTo>
                      <a:pt x="10967" y="2313"/>
                    </a:lnTo>
                    <a:lnTo>
                      <a:pt x="17547" y="4065"/>
                    </a:lnTo>
                    <a:lnTo>
                      <a:pt x="23693" y="2118"/>
                    </a:lnTo>
                    <a:lnTo>
                      <a:pt x="32862" y="2921"/>
                    </a:lnTo>
                    <a:lnTo>
                      <a:pt x="33334" y="2741"/>
                    </a:lnTo>
                    <a:lnTo>
                      <a:pt x="35351" y="853"/>
                    </a:lnTo>
                    <a:lnTo>
                      <a:pt x="39881" y="0"/>
                    </a:lnTo>
                    <a:lnTo>
                      <a:pt x="43182" y="131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7" name="Freeform 71">
                <a:extLst>
                  <a:ext uri="{FF2B5EF4-FFF2-40B4-BE49-F238E27FC236}">
                    <a16:creationId xmlns:a16="http://schemas.microsoft.com/office/drawing/2014/main" id="{8C7EBB42-8282-A448-9EAD-B405A2ADA7F1}"/>
                  </a:ext>
                </a:extLst>
              </p:cNvPr>
              <p:cNvSpPr>
                <a:spLocks noChangeAspect="1"/>
              </p:cNvSpPr>
              <p:nvPr>
                <p:custDataLst>
                  <p:tags r:id="rId68"/>
                </p:custDataLst>
              </p:nvPr>
            </p:nvSpPr>
            <p:spPr>
              <a:xfrm>
                <a:off x="5295856" y="5072778"/>
                <a:ext cx="14395" cy="17522"/>
              </a:xfrm>
              <a:custGeom>
                <a:avLst/>
                <a:gdLst/>
                <a:ahLst/>
                <a:cxnLst/>
                <a:rect l="0" t="0" r="0" b="0"/>
                <a:pathLst>
                  <a:path w="14780" h="17990">
                    <a:moveTo>
                      <a:pt x="8811" y="3935"/>
                    </a:moveTo>
                    <a:lnTo>
                      <a:pt x="8928" y="3929"/>
                    </a:lnTo>
                    <a:lnTo>
                      <a:pt x="9110" y="4000"/>
                    </a:lnTo>
                    <a:lnTo>
                      <a:pt x="11585" y="5958"/>
                    </a:lnTo>
                    <a:lnTo>
                      <a:pt x="11855" y="6341"/>
                    </a:lnTo>
                    <a:lnTo>
                      <a:pt x="11914" y="6555"/>
                    </a:lnTo>
                    <a:lnTo>
                      <a:pt x="11910" y="7404"/>
                    </a:lnTo>
                    <a:lnTo>
                      <a:pt x="11936" y="7562"/>
                    </a:lnTo>
                    <a:lnTo>
                      <a:pt x="11980" y="7708"/>
                    </a:lnTo>
                    <a:lnTo>
                      <a:pt x="12105" y="7890"/>
                    </a:lnTo>
                    <a:lnTo>
                      <a:pt x="12271" y="8020"/>
                    </a:lnTo>
                    <a:lnTo>
                      <a:pt x="14391" y="8533"/>
                    </a:lnTo>
                    <a:lnTo>
                      <a:pt x="14508" y="8666"/>
                    </a:lnTo>
                    <a:lnTo>
                      <a:pt x="14728" y="9030"/>
                    </a:lnTo>
                    <a:lnTo>
                      <a:pt x="14775" y="9235"/>
                    </a:lnTo>
                    <a:lnTo>
                      <a:pt x="14779" y="9462"/>
                    </a:lnTo>
                    <a:lnTo>
                      <a:pt x="14734" y="9682"/>
                    </a:lnTo>
                    <a:lnTo>
                      <a:pt x="11095" y="15288"/>
                    </a:lnTo>
                    <a:lnTo>
                      <a:pt x="10910" y="15831"/>
                    </a:lnTo>
                    <a:lnTo>
                      <a:pt x="10892" y="16089"/>
                    </a:lnTo>
                    <a:lnTo>
                      <a:pt x="10933" y="16324"/>
                    </a:lnTo>
                    <a:lnTo>
                      <a:pt x="10997" y="16500"/>
                    </a:lnTo>
                    <a:lnTo>
                      <a:pt x="9681" y="16843"/>
                    </a:lnTo>
                    <a:lnTo>
                      <a:pt x="8587" y="17092"/>
                    </a:lnTo>
                    <a:lnTo>
                      <a:pt x="7461" y="17989"/>
                    </a:lnTo>
                    <a:lnTo>
                      <a:pt x="7113" y="17651"/>
                    </a:lnTo>
                    <a:lnTo>
                      <a:pt x="5621" y="16910"/>
                    </a:lnTo>
                    <a:lnTo>
                      <a:pt x="5456" y="16661"/>
                    </a:lnTo>
                    <a:lnTo>
                      <a:pt x="5379" y="16468"/>
                    </a:lnTo>
                    <a:lnTo>
                      <a:pt x="5310" y="16174"/>
                    </a:lnTo>
                    <a:lnTo>
                      <a:pt x="5296" y="15187"/>
                    </a:lnTo>
                    <a:lnTo>
                      <a:pt x="5405" y="14352"/>
                    </a:lnTo>
                    <a:lnTo>
                      <a:pt x="5394" y="13839"/>
                    </a:lnTo>
                    <a:lnTo>
                      <a:pt x="5291" y="13330"/>
                    </a:lnTo>
                    <a:lnTo>
                      <a:pt x="3870" y="10244"/>
                    </a:lnTo>
                    <a:lnTo>
                      <a:pt x="1146" y="6745"/>
                    </a:lnTo>
                    <a:lnTo>
                      <a:pt x="745" y="5627"/>
                    </a:lnTo>
                    <a:lnTo>
                      <a:pt x="519" y="4048"/>
                    </a:lnTo>
                    <a:lnTo>
                      <a:pt x="0" y="2787"/>
                    </a:lnTo>
                    <a:lnTo>
                      <a:pt x="551" y="2049"/>
                    </a:lnTo>
                    <a:lnTo>
                      <a:pt x="3857" y="37"/>
                    </a:lnTo>
                    <a:lnTo>
                      <a:pt x="4660" y="0"/>
                    </a:lnTo>
                    <a:lnTo>
                      <a:pt x="5204" y="192"/>
                    </a:lnTo>
                    <a:lnTo>
                      <a:pt x="5569" y="520"/>
                    </a:lnTo>
                    <a:lnTo>
                      <a:pt x="6885" y="240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8" name="Freeform 72">
                <a:extLst>
                  <a:ext uri="{FF2B5EF4-FFF2-40B4-BE49-F238E27FC236}">
                    <a16:creationId xmlns:a16="http://schemas.microsoft.com/office/drawing/2014/main" id="{EBA8021B-6089-5318-3051-1B4BAA92EEE8}"/>
                  </a:ext>
                </a:extLst>
              </p:cNvPr>
              <p:cNvSpPr>
                <a:spLocks noChangeAspect="1"/>
              </p:cNvSpPr>
              <p:nvPr>
                <p:custDataLst>
                  <p:tags r:id="rId69"/>
                </p:custDataLst>
              </p:nvPr>
            </p:nvSpPr>
            <p:spPr>
              <a:xfrm>
                <a:off x="5276955" y="5091991"/>
                <a:ext cx="17513" cy="17939"/>
              </a:xfrm>
              <a:custGeom>
                <a:avLst/>
                <a:gdLst/>
                <a:ahLst/>
                <a:cxnLst/>
                <a:rect l="0" t="0" r="0" b="0"/>
                <a:pathLst>
                  <a:path w="17981" h="18419">
                    <a:moveTo>
                      <a:pt x="13623" y="11193"/>
                    </a:moveTo>
                    <a:lnTo>
                      <a:pt x="16155" y="10146"/>
                    </a:lnTo>
                    <a:lnTo>
                      <a:pt x="16469" y="10291"/>
                    </a:lnTo>
                    <a:lnTo>
                      <a:pt x="16612" y="10452"/>
                    </a:lnTo>
                    <a:lnTo>
                      <a:pt x="16760" y="10731"/>
                    </a:lnTo>
                    <a:lnTo>
                      <a:pt x="17253" y="12368"/>
                    </a:lnTo>
                    <a:lnTo>
                      <a:pt x="17980" y="13876"/>
                    </a:lnTo>
                    <a:lnTo>
                      <a:pt x="14798" y="16474"/>
                    </a:lnTo>
                    <a:lnTo>
                      <a:pt x="11437" y="18418"/>
                    </a:lnTo>
                    <a:lnTo>
                      <a:pt x="4452" y="11910"/>
                    </a:lnTo>
                    <a:lnTo>
                      <a:pt x="3672" y="10701"/>
                    </a:lnTo>
                    <a:lnTo>
                      <a:pt x="3243" y="9239"/>
                    </a:lnTo>
                    <a:lnTo>
                      <a:pt x="3114" y="6202"/>
                    </a:lnTo>
                    <a:lnTo>
                      <a:pt x="3072" y="5937"/>
                    </a:lnTo>
                    <a:lnTo>
                      <a:pt x="2890" y="5590"/>
                    </a:lnTo>
                    <a:lnTo>
                      <a:pt x="2733" y="5390"/>
                    </a:lnTo>
                    <a:lnTo>
                      <a:pt x="516" y="4088"/>
                    </a:lnTo>
                    <a:lnTo>
                      <a:pt x="211" y="3735"/>
                    </a:lnTo>
                    <a:lnTo>
                      <a:pt x="14" y="3202"/>
                    </a:lnTo>
                    <a:lnTo>
                      <a:pt x="0" y="2865"/>
                    </a:lnTo>
                    <a:lnTo>
                      <a:pt x="112" y="1517"/>
                    </a:lnTo>
                    <a:lnTo>
                      <a:pt x="241" y="958"/>
                    </a:lnTo>
                    <a:lnTo>
                      <a:pt x="1103" y="0"/>
                    </a:lnTo>
                    <a:lnTo>
                      <a:pt x="4575" y="464"/>
                    </a:lnTo>
                    <a:lnTo>
                      <a:pt x="4766" y="613"/>
                    </a:lnTo>
                    <a:lnTo>
                      <a:pt x="4922" y="813"/>
                    </a:lnTo>
                    <a:lnTo>
                      <a:pt x="5007" y="1057"/>
                    </a:lnTo>
                    <a:lnTo>
                      <a:pt x="5182" y="2343"/>
                    </a:lnTo>
                    <a:lnTo>
                      <a:pt x="5269" y="2645"/>
                    </a:lnTo>
                    <a:lnTo>
                      <a:pt x="5417" y="2934"/>
                    </a:lnTo>
                    <a:lnTo>
                      <a:pt x="6141" y="3850"/>
                    </a:lnTo>
                    <a:lnTo>
                      <a:pt x="8283" y="5105"/>
                    </a:lnTo>
                    <a:lnTo>
                      <a:pt x="10341" y="7610"/>
                    </a:lnTo>
                    <a:lnTo>
                      <a:pt x="11457" y="10127"/>
                    </a:lnTo>
                    <a:lnTo>
                      <a:pt x="12233" y="10961"/>
                    </a:lnTo>
                    <a:lnTo>
                      <a:pt x="12504" y="1109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39" name="Freeform 73">
                <a:extLst>
                  <a:ext uri="{FF2B5EF4-FFF2-40B4-BE49-F238E27FC236}">
                    <a16:creationId xmlns:a16="http://schemas.microsoft.com/office/drawing/2014/main" id="{6B7B3D2F-1A91-24E0-71C0-95ADA09E4EF3}"/>
                  </a:ext>
                </a:extLst>
              </p:cNvPr>
              <p:cNvSpPr>
                <a:spLocks noChangeAspect="1"/>
              </p:cNvSpPr>
              <p:nvPr>
                <p:custDataLst>
                  <p:tags r:id="rId70"/>
                </p:custDataLst>
              </p:nvPr>
            </p:nvSpPr>
            <p:spPr>
              <a:xfrm>
                <a:off x="5271806" y="5123597"/>
                <a:ext cx="29773" cy="21542"/>
              </a:xfrm>
              <a:custGeom>
                <a:avLst/>
                <a:gdLst/>
                <a:ahLst/>
                <a:cxnLst/>
                <a:rect l="0" t="0" r="0" b="0"/>
                <a:pathLst>
                  <a:path w="30569" h="22118">
                    <a:moveTo>
                      <a:pt x="27064" y="6502"/>
                    </a:moveTo>
                    <a:lnTo>
                      <a:pt x="25903" y="8918"/>
                    </a:lnTo>
                    <a:lnTo>
                      <a:pt x="25873" y="9068"/>
                    </a:lnTo>
                    <a:lnTo>
                      <a:pt x="25880" y="9225"/>
                    </a:lnTo>
                    <a:lnTo>
                      <a:pt x="25936" y="9361"/>
                    </a:lnTo>
                    <a:lnTo>
                      <a:pt x="26052" y="9474"/>
                    </a:lnTo>
                    <a:lnTo>
                      <a:pt x="28370" y="10137"/>
                    </a:lnTo>
                    <a:lnTo>
                      <a:pt x="29139" y="12255"/>
                    </a:lnTo>
                    <a:lnTo>
                      <a:pt x="30484" y="14543"/>
                    </a:lnTo>
                    <a:lnTo>
                      <a:pt x="30531" y="14758"/>
                    </a:lnTo>
                    <a:lnTo>
                      <a:pt x="30568" y="15172"/>
                    </a:lnTo>
                    <a:lnTo>
                      <a:pt x="30547" y="15390"/>
                    </a:lnTo>
                    <a:lnTo>
                      <a:pt x="30494" y="15590"/>
                    </a:lnTo>
                    <a:lnTo>
                      <a:pt x="30381" y="15813"/>
                    </a:lnTo>
                    <a:lnTo>
                      <a:pt x="29986" y="16336"/>
                    </a:lnTo>
                    <a:lnTo>
                      <a:pt x="29468" y="16745"/>
                    </a:lnTo>
                    <a:lnTo>
                      <a:pt x="28450" y="17167"/>
                    </a:lnTo>
                    <a:lnTo>
                      <a:pt x="27686" y="18132"/>
                    </a:lnTo>
                    <a:lnTo>
                      <a:pt x="26895" y="19049"/>
                    </a:lnTo>
                    <a:lnTo>
                      <a:pt x="26484" y="19236"/>
                    </a:lnTo>
                    <a:lnTo>
                      <a:pt x="25273" y="19213"/>
                    </a:lnTo>
                    <a:lnTo>
                      <a:pt x="23886" y="18289"/>
                    </a:lnTo>
                    <a:lnTo>
                      <a:pt x="22480" y="17890"/>
                    </a:lnTo>
                    <a:lnTo>
                      <a:pt x="19321" y="18441"/>
                    </a:lnTo>
                    <a:lnTo>
                      <a:pt x="17966" y="19452"/>
                    </a:lnTo>
                    <a:lnTo>
                      <a:pt x="12482" y="20722"/>
                    </a:lnTo>
                    <a:lnTo>
                      <a:pt x="11253" y="20135"/>
                    </a:lnTo>
                    <a:lnTo>
                      <a:pt x="10766" y="20157"/>
                    </a:lnTo>
                    <a:lnTo>
                      <a:pt x="10460" y="20349"/>
                    </a:lnTo>
                    <a:lnTo>
                      <a:pt x="9979" y="20904"/>
                    </a:lnTo>
                    <a:lnTo>
                      <a:pt x="9641" y="21512"/>
                    </a:lnTo>
                    <a:lnTo>
                      <a:pt x="9388" y="21782"/>
                    </a:lnTo>
                    <a:lnTo>
                      <a:pt x="9076" y="21973"/>
                    </a:lnTo>
                    <a:lnTo>
                      <a:pt x="8533" y="22117"/>
                    </a:lnTo>
                    <a:lnTo>
                      <a:pt x="7392" y="21852"/>
                    </a:lnTo>
                    <a:lnTo>
                      <a:pt x="6747" y="21368"/>
                    </a:lnTo>
                    <a:lnTo>
                      <a:pt x="5447" y="19866"/>
                    </a:lnTo>
                    <a:lnTo>
                      <a:pt x="5275" y="19201"/>
                    </a:lnTo>
                    <a:lnTo>
                      <a:pt x="4869" y="18252"/>
                    </a:lnTo>
                    <a:lnTo>
                      <a:pt x="3903" y="17051"/>
                    </a:lnTo>
                    <a:lnTo>
                      <a:pt x="2556" y="14484"/>
                    </a:lnTo>
                    <a:lnTo>
                      <a:pt x="1961" y="11902"/>
                    </a:lnTo>
                    <a:lnTo>
                      <a:pt x="1784" y="10112"/>
                    </a:lnTo>
                    <a:lnTo>
                      <a:pt x="1551" y="9313"/>
                    </a:lnTo>
                    <a:lnTo>
                      <a:pt x="1421" y="8172"/>
                    </a:lnTo>
                    <a:lnTo>
                      <a:pt x="1145" y="7088"/>
                    </a:lnTo>
                    <a:lnTo>
                      <a:pt x="973" y="4320"/>
                    </a:lnTo>
                    <a:lnTo>
                      <a:pt x="900" y="4046"/>
                    </a:lnTo>
                    <a:lnTo>
                      <a:pt x="0" y="2091"/>
                    </a:lnTo>
                    <a:lnTo>
                      <a:pt x="13405" y="0"/>
                    </a:lnTo>
                    <a:lnTo>
                      <a:pt x="14170" y="301"/>
                    </a:lnTo>
                    <a:lnTo>
                      <a:pt x="14855" y="863"/>
                    </a:lnTo>
                    <a:lnTo>
                      <a:pt x="15986" y="2974"/>
                    </a:lnTo>
                    <a:lnTo>
                      <a:pt x="16635" y="3706"/>
                    </a:lnTo>
                    <a:lnTo>
                      <a:pt x="21717" y="633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0" name="Freeform 74">
                <a:extLst>
                  <a:ext uri="{FF2B5EF4-FFF2-40B4-BE49-F238E27FC236}">
                    <a16:creationId xmlns:a16="http://schemas.microsoft.com/office/drawing/2014/main" id="{5719EAA6-053A-FB37-501C-BD1CA91A0DE8}"/>
                  </a:ext>
                </a:extLst>
              </p:cNvPr>
              <p:cNvSpPr>
                <a:spLocks noChangeAspect="1"/>
              </p:cNvSpPr>
              <p:nvPr>
                <p:custDataLst>
                  <p:tags r:id="rId71"/>
                </p:custDataLst>
              </p:nvPr>
            </p:nvSpPr>
            <p:spPr>
              <a:xfrm>
                <a:off x="5329341" y="5050581"/>
                <a:ext cx="31377" cy="30828"/>
              </a:xfrm>
              <a:custGeom>
                <a:avLst/>
                <a:gdLst/>
                <a:ahLst/>
                <a:cxnLst/>
                <a:rect l="0" t="0" r="0" b="0"/>
                <a:pathLst>
                  <a:path w="32216" h="31652">
                    <a:moveTo>
                      <a:pt x="15927" y="9044"/>
                    </a:moveTo>
                    <a:lnTo>
                      <a:pt x="18652" y="8256"/>
                    </a:lnTo>
                    <a:lnTo>
                      <a:pt x="22371" y="3188"/>
                    </a:lnTo>
                    <a:lnTo>
                      <a:pt x="30934" y="2016"/>
                    </a:lnTo>
                    <a:lnTo>
                      <a:pt x="31545" y="3695"/>
                    </a:lnTo>
                    <a:lnTo>
                      <a:pt x="32215" y="9036"/>
                    </a:lnTo>
                    <a:lnTo>
                      <a:pt x="29418" y="10848"/>
                    </a:lnTo>
                    <a:lnTo>
                      <a:pt x="29315" y="11002"/>
                    </a:lnTo>
                    <a:lnTo>
                      <a:pt x="28901" y="11951"/>
                    </a:lnTo>
                    <a:lnTo>
                      <a:pt x="28852" y="12210"/>
                    </a:lnTo>
                    <a:lnTo>
                      <a:pt x="28552" y="19085"/>
                    </a:lnTo>
                    <a:lnTo>
                      <a:pt x="27248" y="24902"/>
                    </a:lnTo>
                    <a:lnTo>
                      <a:pt x="27207" y="26208"/>
                    </a:lnTo>
                    <a:lnTo>
                      <a:pt x="27151" y="26449"/>
                    </a:lnTo>
                    <a:lnTo>
                      <a:pt x="27052" y="26672"/>
                    </a:lnTo>
                    <a:lnTo>
                      <a:pt x="26659" y="27184"/>
                    </a:lnTo>
                    <a:lnTo>
                      <a:pt x="26319" y="27400"/>
                    </a:lnTo>
                    <a:lnTo>
                      <a:pt x="25495" y="27639"/>
                    </a:lnTo>
                    <a:lnTo>
                      <a:pt x="23259" y="27572"/>
                    </a:lnTo>
                    <a:lnTo>
                      <a:pt x="22108" y="28164"/>
                    </a:lnTo>
                    <a:lnTo>
                      <a:pt x="21838" y="28554"/>
                    </a:lnTo>
                    <a:lnTo>
                      <a:pt x="21630" y="29216"/>
                    </a:lnTo>
                    <a:lnTo>
                      <a:pt x="21181" y="29832"/>
                    </a:lnTo>
                    <a:lnTo>
                      <a:pt x="20794" y="30089"/>
                    </a:lnTo>
                    <a:lnTo>
                      <a:pt x="20653" y="30114"/>
                    </a:lnTo>
                    <a:lnTo>
                      <a:pt x="19072" y="29581"/>
                    </a:lnTo>
                    <a:lnTo>
                      <a:pt x="18637" y="29623"/>
                    </a:lnTo>
                    <a:lnTo>
                      <a:pt x="14812" y="31651"/>
                    </a:lnTo>
                    <a:lnTo>
                      <a:pt x="14249" y="28398"/>
                    </a:lnTo>
                    <a:lnTo>
                      <a:pt x="13834" y="27311"/>
                    </a:lnTo>
                    <a:lnTo>
                      <a:pt x="13436" y="26838"/>
                    </a:lnTo>
                    <a:lnTo>
                      <a:pt x="11529" y="26309"/>
                    </a:lnTo>
                    <a:lnTo>
                      <a:pt x="11146" y="26021"/>
                    </a:lnTo>
                    <a:lnTo>
                      <a:pt x="9529" y="24105"/>
                    </a:lnTo>
                    <a:lnTo>
                      <a:pt x="9376" y="23993"/>
                    </a:lnTo>
                    <a:lnTo>
                      <a:pt x="8640" y="23773"/>
                    </a:lnTo>
                    <a:lnTo>
                      <a:pt x="8309" y="23789"/>
                    </a:lnTo>
                    <a:lnTo>
                      <a:pt x="7778" y="23993"/>
                    </a:lnTo>
                    <a:lnTo>
                      <a:pt x="7205" y="24476"/>
                    </a:lnTo>
                    <a:lnTo>
                      <a:pt x="6081" y="26548"/>
                    </a:lnTo>
                    <a:lnTo>
                      <a:pt x="5725" y="26822"/>
                    </a:lnTo>
                    <a:lnTo>
                      <a:pt x="2553" y="27590"/>
                    </a:lnTo>
                    <a:lnTo>
                      <a:pt x="2621" y="21301"/>
                    </a:lnTo>
                    <a:lnTo>
                      <a:pt x="1138" y="15840"/>
                    </a:lnTo>
                    <a:lnTo>
                      <a:pt x="1071" y="10842"/>
                    </a:lnTo>
                    <a:lnTo>
                      <a:pt x="1848" y="7703"/>
                    </a:lnTo>
                    <a:lnTo>
                      <a:pt x="1872" y="6910"/>
                    </a:lnTo>
                    <a:lnTo>
                      <a:pt x="1601" y="5738"/>
                    </a:lnTo>
                    <a:lnTo>
                      <a:pt x="1227" y="4994"/>
                    </a:lnTo>
                    <a:lnTo>
                      <a:pt x="225" y="3670"/>
                    </a:lnTo>
                    <a:lnTo>
                      <a:pt x="53" y="3294"/>
                    </a:lnTo>
                    <a:lnTo>
                      <a:pt x="0" y="3068"/>
                    </a:lnTo>
                    <a:lnTo>
                      <a:pt x="9" y="2613"/>
                    </a:lnTo>
                    <a:lnTo>
                      <a:pt x="216" y="1684"/>
                    </a:lnTo>
                    <a:lnTo>
                      <a:pt x="334" y="1471"/>
                    </a:lnTo>
                    <a:lnTo>
                      <a:pt x="2124" y="0"/>
                    </a:lnTo>
                    <a:lnTo>
                      <a:pt x="2977" y="203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1" name="Freeform 75">
                <a:extLst>
                  <a:ext uri="{FF2B5EF4-FFF2-40B4-BE49-F238E27FC236}">
                    <a16:creationId xmlns:a16="http://schemas.microsoft.com/office/drawing/2014/main" id="{860F1BBA-1C11-1FB7-05DD-78127CAF3411}"/>
                  </a:ext>
                </a:extLst>
              </p:cNvPr>
              <p:cNvSpPr>
                <a:spLocks noChangeAspect="1"/>
              </p:cNvSpPr>
              <p:nvPr>
                <p:custDataLst>
                  <p:tags r:id="rId72"/>
                </p:custDataLst>
              </p:nvPr>
            </p:nvSpPr>
            <p:spPr>
              <a:xfrm>
                <a:off x="5239614" y="5105194"/>
                <a:ext cx="38864" cy="38967"/>
              </a:xfrm>
              <a:custGeom>
                <a:avLst/>
                <a:gdLst/>
                <a:ahLst/>
                <a:cxnLst/>
                <a:rect l="0" t="0" r="0" b="0"/>
                <a:pathLst>
                  <a:path w="39903" h="40009">
                    <a:moveTo>
                      <a:pt x="39902" y="5225"/>
                    </a:moveTo>
                    <a:lnTo>
                      <a:pt x="39637" y="5632"/>
                    </a:lnTo>
                    <a:lnTo>
                      <a:pt x="38086" y="8982"/>
                    </a:lnTo>
                    <a:lnTo>
                      <a:pt x="37725" y="9472"/>
                    </a:lnTo>
                    <a:lnTo>
                      <a:pt x="37401" y="9665"/>
                    </a:lnTo>
                    <a:lnTo>
                      <a:pt x="33536" y="9879"/>
                    </a:lnTo>
                    <a:lnTo>
                      <a:pt x="33005" y="10259"/>
                    </a:lnTo>
                    <a:lnTo>
                      <a:pt x="32733" y="10666"/>
                    </a:lnTo>
                    <a:lnTo>
                      <a:pt x="32330" y="12147"/>
                    </a:lnTo>
                    <a:lnTo>
                      <a:pt x="32284" y="13048"/>
                    </a:lnTo>
                    <a:lnTo>
                      <a:pt x="32335" y="13648"/>
                    </a:lnTo>
                    <a:lnTo>
                      <a:pt x="33003" y="15396"/>
                    </a:lnTo>
                    <a:lnTo>
                      <a:pt x="33022" y="16245"/>
                    </a:lnTo>
                    <a:lnTo>
                      <a:pt x="32633" y="18891"/>
                    </a:lnTo>
                    <a:lnTo>
                      <a:pt x="33052" y="20986"/>
                    </a:lnTo>
                    <a:lnTo>
                      <a:pt x="31498" y="20681"/>
                    </a:lnTo>
                    <a:lnTo>
                      <a:pt x="30838" y="20829"/>
                    </a:lnTo>
                    <a:lnTo>
                      <a:pt x="28113" y="23619"/>
                    </a:lnTo>
                    <a:lnTo>
                      <a:pt x="24788" y="24686"/>
                    </a:lnTo>
                    <a:lnTo>
                      <a:pt x="24237" y="24641"/>
                    </a:lnTo>
                    <a:lnTo>
                      <a:pt x="21026" y="22531"/>
                    </a:lnTo>
                    <a:lnTo>
                      <a:pt x="20493" y="22456"/>
                    </a:lnTo>
                    <a:lnTo>
                      <a:pt x="19973" y="22549"/>
                    </a:lnTo>
                    <a:lnTo>
                      <a:pt x="19452" y="22897"/>
                    </a:lnTo>
                    <a:lnTo>
                      <a:pt x="19312" y="23081"/>
                    </a:lnTo>
                    <a:lnTo>
                      <a:pt x="19244" y="23223"/>
                    </a:lnTo>
                    <a:lnTo>
                      <a:pt x="19156" y="23601"/>
                    </a:lnTo>
                    <a:lnTo>
                      <a:pt x="19331" y="25234"/>
                    </a:lnTo>
                    <a:lnTo>
                      <a:pt x="20356" y="28122"/>
                    </a:lnTo>
                    <a:lnTo>
                      <a:pt x="20636" y="31756"/>
                    </a:lnTo>
                    <a:lnTo>
                      <a:pt x="20272" y="37176"/>
                    </a:lnTo>
                    <a:lnTo>
                      <a:pt x="20153" y="37684"/>
                    </a:lnTo>
                    <a:lnTo>
                      <a:pt x="18994" y="40008"/>
                    </a:lnTo>
                    <a:lnTo>
                      <a:pt x="17667" y="36974"/>
                    </a:lnTo>
                    <a:lnTo>
                      <a:pt x="12158" y="34954"/>
                    </a:lnTo>
                    <a:lnTo>
                      <a:pt x="8641" y="35068"/>
                    </a:lnTo>
                    <a:lnTo>
                      <a:pt x="8527" y="34569"/>
                    </a:lnTo>
                    <a:lnTo>
                      <a:pt x="2514" y="29891"/>
                    </a:lnTo>
                    <a:lnTo>
                      <a:pt x="0" y="29633"/>
                    </a:lnTo>
                    <a:lnTo>
                      <a:pt x="1312" y="27561"/>
                    </a:lnTo>
                    <a:lnTo>
                      <a:pt x="1855" y="26116"/>
                    </a:lnTo>
                    <a:lnTo>
                      <a:pt x="3799" y="23265"/>
                    </a:lnTo>
                    <a:lnTo>
                      <a:pt x="6209" y="21501"/>
                    </a:lnTo>
                    <a:lnTo>
                      <a:pt x="6450" y="21096"/>
                    </a:lnTo>
                    <a:lnTo>
                      <a:pt x="6484" y="20878"/>
                    </a:lnTo>
                    <a:lnTo>
                      <a:pt x="6421" y="20703"/>
                    </a:lnTo>
                    <a:lnTo>
                      <a:pt x="6199" y="20553"/>
                    </a:lnTo>
                    <a:lnTo>
                      <a:pt x="2912" y="20637"/>
                    </a:lnTo>
                    <a:lnTo>
                      <a:pt x="2455" y="20479"/>
                    </a:lnTo>
                    <a:lnTo>
                      <a:pt x="1927" y="20086"/>
                    </a:lnTo>
                    <a:lnTo>
                      <a:pt x="1524" y="19590"/>
                    </a:lnTo>
                    <a:lnTo>
                      <a:pt x="1410" y="19378"/>
                    </a:lnTo>
                    <a:lnTo>
                      <a:pt x="1370" y="19152"/>
                    </a:lnTo>
                    <a:lnTo>
                      <a:pt x="1367" y="18925"/>
                    </a:lnTo>
                    <a:lnTo>
                      <a:pt x="1401" y="18706"/>
                    </a:lnTo>
                    <a:lnTo>
                      <a:pt x="1750" y="17941"/>
                    </a:lnTo>
                    <a:lnTo>
                      <a:pt x="3337" y="15837"/>
                    </a:lnTo>
                    <a:lnTo>
                      <a:pt x="4275" y="15282"/>
                    </a:lnTo>
                    <a:lnTo>
                      <a:pt x="15595" y="12911"/>
                    </a:lnTo>
                    <a:lnTo>
                      <a:pt x="13750" y="9534"/>
                    </a:lnTo>
                    <a:lnTo>
                      <a:pt x="16705" y="6362"/>
                    </a:lnTo>
                    <a:lnTo>
                      <a:pt x="26025" y="5583"/>
                    </a:lnTo>
                    <a:lnTo>
                      <a:pt x="28675" y="4645"/>
                    </a:lnTo>
                    <a:lnTo>
                      <a:pt x="31510" y="931"/>
                    </a:lnTo>
                    <a:lnTo>
                      <a:pt x="33945" y="20"/>
                    </a:lnTo>
                    <a:lnTo>
                      <a:pt x="33987" y="0"/>
                    </a:lnTo>
                    <a:lnTo>
                      <a:pt x="36522" y="107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2" name="Freeform 76">
                <a:extLst>
                  <a:ext uri="{FF2B5EF4-FFF2-40B4-BE49-F238E27FC236}">
                    <a16:creationId xmlns:a16="http://schemas.microsoft.com/office/drawing/2014/main" id="{254F2B57-D397-5013-A8B6-DC4E6D815FFD}"/>
                  </a:ext>
                </a:extLst>
              </p:cNvPr>
              <p:cNvSpPr>
                <a:spLocks noChangeAspect="1"/>
              </p:cNvSpPr>
              <p:nvPr>
                <p:custDataLst>
                  <p:tags r:id="rId73"/>
                </p:custDataLst>
              </p:nvPr>
            </p:nvSpPr>
            <p:spPr>
              <a:xfrm>
                <a:off x="5273052" y="5141021"/>
                <a:ext cx="31294" cy="25706"/>
              </a:xfrm>
              <a:custGeom>
                <a:avLst/>
                <a:gdLst/>
                <a:ahLst/>
                <a:cxnLst/>
                <a:rect l="0" t="0" r="0" b="0"/>
                <a:pathLst>
                  <a:path w="32131" h="26393">
                    <a:moveTo>
                      <a:pt x="25205" y="1346"/>
                    </a:moveTo>
                    <a:lnTo>
                      <a:pt x="25616" y="1159"/>
                    </a:lnTo>
                    <a:lnTo>
                      <a:pt x="26407" y="242"/>
                    </a:lnTo>
                    <a:lnTo>
                      <a:pt x="29553" y="3869"/>
                    </a:lnTo>
                    <a:lnTo>
                      <a:pt x="30053" y="4814"/>
                    </a:lnTo>
                    <a:lnTo>
                      <a:pt x="30112" y="5010"/>
                    </a:lnTo>
                    <a:lnTo>
                      <a:pt x="30202" y="5637"/>
                    </a:lnTo>
                    <a:lnTo>
                      <a:pt x="31658" y="10332"/>
                    </a:lnTo>
                    <a:lnTo>
                      <a:pt x="31774" y="11521"/>
                    </a:lnTo>
                    <a:lnTo>
                      <a:pt x="32056" y="12546"/>
                    </a:lnTo>
                    <a:lnTo>
                      <a:pt x="32130" y="14855"/>
                    </a:lnTo>
                    <a:lnTo>
                      <a:pt x="31704" y="16188"/>
                    </a:lnTo>
                    <a:lnTo>
                      <a:pt x="31557" y="16364"/>
                    </a:lnTo>
                    <a:lnTo>
                      <a:pt x="30859" y="16751"/>
                    </a:lnTo>
                    <a:lnTo>
                      <a:pt x="28528" y="16564"/>
                    </a:lnTo>
                    <a:lnTo>
                      <a:pt x="27449" y="17020"/>
                    </a:lnTo>
                    <a:lnTo>
                      <a:pt x="26649" y="17897"/>
                    </a:lnTo>
                    <a:lnTo>
                      <a:pt x="25983" y="19410"/>
                    </a:lnTo>
                    <a:lnTo>
                      <a:pt x="25902" y="19927"/>
                    </a:lnTo>
                    <a:lnTo>
                      <a:pt x="25958" y="24696"/>
                    </a:lnTo>
                    <a:lnTo>
                      <a:pt x="25907" y="24946"/>
                    </a:lnTo>
                    <a:lnTo>
                      <a:pt x="25835" y="25128"/>
                    </a:lnTo>
                    <a:lnTo>
                      <a:pt x="25602" y="25435"/>
                    </a:lnTo>
                    <a:lnTo>
                      <a:pt x="25027" y="25836"/>
                    </a:lnTo>
                    <a:lnTo>
                      <a:pt x="19868" y="26392"/>
                    </a:lnTo>
                    <a:lnTo>
                      <a:pt x="16025" y="19109"/>
                    </a:lnTo>
                    <a:lnTo>
                      <a:pt x="13563" y="19015"/>
                    </a:lnTo>
                    <a:lnTo>
                      <a:pt x="6401" y="23688"/>
                    </a:lnTo>
                    <a:lnTo>
                      <a:pt x="6316" y="14247"/>
                    </a:lnTo>
                    <a:lnTo>
                      <a:pt x="0" y="6668"/>
                    </a:lnTo>
                    <a:lnTo>
                      <a:pt x="1254" y="4735"/>
                    </a:lnTo>
                    <a:lnTo>
                      <a:pt x="1558" y="4504"/>
                    </a:lnTo>
                    <a:lnTo>
                      <a:pt x="1723" y="4318"/>
                    </a:lnTo>
                    <a:lnTo>
                      <a:pt x="2101" y="3808"/>
                    </a:lnTo>
                    <a:lnTo>
                      <a:pt x="2986" y="2878"/>
                    </a:lnTo>
                    <a:lnTo>
                      <a:pt x="3450" y="2502"/>
                    </a:lnTo>
                    <a:lnTo>
                      <a:pt x="4168" y="1976"/>
                    </a:lnTo>
                    <a:lnTo>
                      <a:pt x="5468" y="3478"/>
                    </a:lnTo>
                    <a:lnTo>
                      <a:pt x="6113" y="3962"/>
                    </a:lnTo>
                    <a:lnTo>
                      <a:pt x="7254" y="4227"/>
                    </a:lnTo>
                    <a:lnTo>
                      <a:pt x="7797" y="4083"/>
                    </a:lnTo>
                    <a:lnTo>
                      <a:pt x="8109" y="3892"/>
                    </a:lnTo>
                    <a:lnTo>
                      <a:pt x="8362" y="3622"/>
                    </a:lnTo>
                    <a:lnTo>
                      <a:pt x="8700" y="3014"/>
                    </a:lnTo>
                    <a:lnTo>
                      <a:pt x="9181" y="2459"/>
                    </a:lnTo>
                    <a:lnTo>
                      <a:pt x="9487" y="2267"/>
                    </a:lnTo>
                    <a:lnTo>
                      <a:pt x="9974" y="2245"/>
                    </a:lnTo>
                    <a:lnTo>
                      <a:pt x="11203" y="2832"/>
                    </a:lnTo>
                    <a:lnTo>
                      <a:pt x="16687" y="1562"/>
                    </a:lnTo>
                    <a:lnTo>
                      <a:pt x="18042" y="551"/>
                    </a:lnTo>
                    <a:lnTo>
                      <a:pt x="21201" y="0"/>
                    </a:lnTo>
                    <a:lnTo>
                      <a:pt x="22607" y="399"/>
                    </a:lnTo>
                    <a:lnTo>
                      <a:pt x="23994" y="132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3" name="Freeform 77">
                <a:extLst>
                  <a:ext uri="{FF2B5EF4-FFF2-40B4-BE49-F238E27FC236}">
                    <a16:creationId xmlns:a16="http://schemas.microsoft.com/office/drawing/2014/main" id="{9F12C42A-29D5-03F1-1E3F-914D17DC4BCA}"/>
                  </a:ext>
                </a:extLst>
              </p:cNvPr>
              <p:cNvSpPr>
                <a:spLocks noChangeAspect="1"/>
              </p:cNvSpPr>
              <p:nvPr>
                <p:custDataLst>
                  <p:tags r:id="rId74"/>
                </p:custDataLst>
              </p:nvPr>
            </p:nvSpPr>
            <p:spPr>
              <a:xfrm>
                <a:off x="5310313" y="5081858"/>
                <a:ext cx="21405" cy="23667"/>
              </a:xfrm>
              <a:custGeom>
                <a:avLst/>
                <a:gdLst/>
                <a:ahLst/>
                <a:cxnLst/>
                <a:rect l="0" t="0" r="0" b="0"/>
                <a:pathLst>
                  <a:path w="21977" h="24300">
                    <a:moveTo>
                      <a:pt x="21976" y="15244"/>
                    </a:moveTo>
                    <a:lnTo>
                      <a:pt x="19299" y="16165"/>
                    </a:lnTo>
                    <a:lnTo>
                      <a:pt x="18883" y="16481"/>
                    </a:lnTo>
                    <a:lnTo>
                      <a:pt x="18702" y="16807"/>
                    </a:lnTo>
                    <a:lnTo>
                      <a:pt x="18643" y="17126"/>
                    </a:lnTo>
                    <a:lnTo>
                      <a:pt x="18668" y="19456"/>
                    </a:lnTo>
                    <a:lnTo>
                      <a:pt x="18841" y="20634"/>
                    </a:lnTo>
                    <a:lnTo>
                      <a:pt x="18863" y="21502"/>
                    </a:lnTo>
                    <a:lnTo>
                      <a:pt x="18446" y="23084"/>
                    </a:lnTo>
                    <a:lnTo>
                      <a:pt x="18320" y="23299"/>
                    </a:lnTo>
                    <a:lnTo>
                      <a:pt x="17792" y="23848"/>
                    </a:lnTo>
                    <a:lnTo>
                      <a:pt x="17222" y="24172"/>
                    </a:lnTo>
                    <a:lnTo>
                      <a:pt x="16644" y="24299"/>
                    </a:lnTo>
                    <a:lnTo>
                      <a:pt x="15035" y="24139"/>
                    </a:lnTo>
                    <a:lnTo>
                      <a:pt x="13435" y="23109"/>
                    </a:lnTo>
                    <a:lnTo>
                      <a:pt x="12106" y="21039"/>
                    </a:lnTo>
                    <a:lnTo>
                      <a:pt x="11877" y="18284"/>
                    </a:lnTo>
                    <a:lnTo>
                      <a:pt x="8502" y="17852"/>
                    </a:lnTo>
                    <a:lnTo>
                      <a:pt x="5801" y="16677"/>
                    </a:lnTo>
                    <a:lnTo>
                      <a:pt x="1372" y="14220"/>
                    </a:lnTo>
                    <a:lnTo>
                      <a:pt x="1486" y="14156"/>
                    </a:lnTo>
                    <a:lnTo>
                      <a:pt x="1622" y="14051"/>
                    </a:lnTo>
                    <a:lnTo>
                      <a:pt x="1702" y="13908"/>
                    </a:lnTo>
                    <a:lnTo>
                      <a:pt x="1756" y="13748"/>
                    </a:lnTo>
                    <a:lnTo>
                      <a:pt x="1761" y="13591"/>
                    </a:lnTo>
                    <a:lnTo>
                      <a:pt x="1702" y="13376"/>
                    </a:lnTo>
                    <a:lnTo>
                      <a:pt x="1621" y="13241"/>
                    </a:lnTo>
                    <a:lnTo>
                      <a:pt x="1465" y="13050"/>
                    </a:lnTo>
                    <a:lnTo>
                      <a:pt x="947" y="12621"/>
                    </a:lnTo>
                    <a:lnTo>
                      <a:pt x="570" y="12204"/>
                    </a:lnTo>
                    <a:lnTo>
                      <a:pt x="258" y="11695"/>
                    </a:lnTo>
                    <a:lnTo>
                      <a:pt x="0" y="11184"/>
                    </a:lnTo>
                    <a:lnTo>
                      <a:pt x="720" y="9726"/>
                    </a:lnTo>
                    <a:lnTo>
                      <a:pt x="917" y="7485"/>
                    </a:lnTo>
                    <a:lnTo>
                      <a:pt x="1085" y="7121"/>
                    </a:lnTo>
                    <a:lnTo>
                      <a:pt x="1397" y="6829"/>
                    </a:lnTo>
                    <a:lnTo>
                      <a:pt x="3110" y="5838"/>
                    </a:lnTo>
                    <a:lnTo>
                      <a:pt x="4010" y="4965"/>
                    </a:lnTo>
                    <a:lnTo>
                      <a:pt x="7999" y="4764"/>
                    </a:lnTo>
                    <a:lnTo>
                      <a:pt x="9104" y="4336"/>
                    </a:lnTo>
                    <a:lnTo>
                      <a:pt x="9999" y="3611"/>
                    </a:lnTo>
                    <a:lnTo>
                      <a:pt x="11383" y="1786"/>
                    </a:lnTo>
                    <a:lnTo>
                      <a:pt x="13998" y="0"/>
                    </a:lnTo>
                    <a:lnTo>
                      <a:pt x="14573" y="3687"/>
                    </a:lnTo>
                    <a:lnTo>
                      <a:pt x="18078" y="11186"/>
                    </a:lnTo>
                    <a:lnTo>
                      <a:pt x="18379" y="11566"/>
                    </a:lnTo>
                    <a:lnTo>
                      <a:pt x="19159" y="12181"/>
                    </a:lnTo>
                    <a:lnTo>
                      <a:pt x="20378" y="12713"/>
                    </a:lnTo>
                    <a:lnTo>
                      <a:pt x="20708" y="130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4" name="Freeform 78">
                <a:extLst>
                  <a:ext uri="{FF2B5EF4-FFF2-40B4-BE49-F238E27FC236}">
                    <a16:creationId xmlns:a16="http://schemas.microsoft.com/office/drawing/2014/main" id="{38E089DD-36D0-DDF8-A010-3C9556A7514E}"/>
                  </a:ext>
                </a:extLst>
              </p:cNvPr>
              <p:cNvSpPr>
                <a:spLocks noChangeAspect="1"/>
              </p:cNvSpPr>
              <p:nvPr>
                <p:custDataLst>
                  <p:tags r:id="rId75"/>
                </p:custDataLst>
              </p:nvPr>
            </p:nvSpPr>
            <p:spPr>
              <a:xfrm>
                <a:off x="5313779" y="5043431"/>
                <a:ext cx="18116" cy="35101"/>
              </a:xfrm>
              <a:custGeom>
                <a:avLst/>
                <a:gdLst/>
                <a:ahLst/>
                <a:cxnLst/>
                <a:rect l="0" t="0" r="0" b="0"/>
                <a:pathLst>
                  <a:path w="18600" h="36039">
                    <a:moveTo>
                      <a:pt x="18102" y="7341"/>
                    </a:moveTo>
                    <a:lnTo>
                      <a:pt x="16312" y="8812"/>
                    </a:lnTo>
                    <a:lnTo>
                      <a:pt x="16194" y="9025"/>
                    </a:lnTo>
                    <a:lnTo>
                      <a:pt x="15987" y="9954"/>
                    </a:lnTo>
                    <a:lnTo>
                      <a:pt x="15978" y="10409"/>
                    </a:lnTo>
                    <a:lnTo>
                      <a:pt x="16031" y="10635"/>
                    </a:lnTo>
                    <a:lnTo>
                      <a:pt x="16203" y="11011"/>
                    </a:lnTo>
                    <a:lnTo>
                      <a:pt x="17205" y="12335"/>
                    </a:lnTo>
                    <a:lnTo>
                      <a:pt x="17579" y="13079"/>
                    </a:lnTo>
                    <a:lnTo>
                      <a:pt x="17850" y="14251"/>
                    </a:lnTo>
                    <a:lnTo>
                      <a:pt x="17826" y="15044"/>
                    </a:lnTo>
                    <a:lnTo>
                      <a:pt x="17049" y="18183"/>
                    </a:lnTo>
                    <a:lnTo>
                      <a:pt x="17116" y="23181"/>
                    </a:lnTo>
                    <a:lnTo>
                      <a:pt x="18599" y="28642"/>
                    </a:lnTo>
                    <a:lnTo>
                      <a:pt x="18531" y="34931"/>
                    </a:lnTo>
                    <a:lnTo>
                      <a:pt x="10370" y="36038"/>
                    </a:lnTo>
                    <a:lnTo>
                      <a:pt x="7832" y="33581"/>
                    </a:lnTo>
                    <a:lnTo>
                      <a:pt x="7051" y="33313"/>
                    </a:lnTo>
                    <a:lnTo>
                      <a:pt x="3952" y="33818"/>
                    </a:lnTo>
                    <a:lnTo>
                      <a:pt x="3194" y="33518"/>
                    </a:lnTo>
                    <a:lnTo>
                      <a:pt x="1189" y="31519"/>
                    </a:lnTo>
                    <a:lnTo>
                      <a:pt x="0" y="28434"/>
                    </a:lnTo>
                    <a:lnTo>
                      <a:pt x="541" y="27005"/>
                    </a:lnTo>
                    <a:lnTo>
                      <a:pt x="752" y="26520"/>
                    </a:lnTo>
                    <a:lnTo>
                      <a:pt x="929" y="25841"/>
                    </a:lnTo>
                    <a:lnTo>
                      <a:pt x="1122" y="25376"/>
                    </a:lnTo>
                    <a:lnTo>
                      <a:pt x="1282" y="24717"/>
                    </a:lnTo>
                    <a:lnTo>
                      <a:pt x="1615" y="23949"/>
                    </a:lnTo>
                    <a:lnTo>
                      <a:pt x="1840" y="23504"/>
                    </a:lnTo>
                    <a:lnTo>
                      <a:pt x="1972" y="23191"/>
                    </a:lnTo>
                    <a:lnTo>
                      <a:pt x="2198" y="22756"/>
                    </a:lnTo>
                    <a:lnTo>
                      <a:pt x="2330" y="22433"/>
                    </a:lnTo>
                    <a:lnTo>
                      <a:pt x="2914" y="21260"/>
                    </a:lnTo>
                    <a:lnTo>
                      <a:pt x="3040" y="20937"/>
                    </a:lnTo>
                    <a:lnTo>
                      <a:pt x="3416" y="20188"/>
                    </a:lnTo>
                    <a:lnTo>
                      <a:pt x="3997" y="19330"/>
                    </a:lnTo>
                    <a:lnTo>
                      <a:pt x="4220" y="18864"/>
                    </a:lnTo>
                    <a:lnTo>
                      <a:pt x="4908" y="17695"/>
                    </a:lnTo>
                    <a:lnTo>
                      <a:pt x="4898" y="17349"/>
                    </a:lnTo>
                    <a:lnTo>
                      <a:pt x="4916" y="17081"/>
                    </a:lnTo>
                    <a:lnTo>
                      <a:pt x="4953" y="16813"/>
                    </a:lnTo>
                    <a:lnTo>
                      <a:pt x="5045" y="16413"/>
                    </a:lnTo>
                    <a:lnTo>
                      <a:pt x="5070" y="16165"/>
                    </a:lnTo>
                    <a:lnTo>
                      <a:pt x="5058" y="15919"/>
                    </a:lnTo>
                    <a:lnTo>
                      <a:pt x="5010" y="15694"/>
                    </a:lnTo>
                    <a:lnTo>
                      <a:pt x="4829" y="15239"/>
                    </a:lnTo>
                    <a:lnTo>
                      <a:pt x="4730" y="14828"/>
                    </a:lnTo>
                    <a:lnTo>
                      <a:pt x="4647" y="13972"/>
                    </a:lnTo>
                    <a:lnTo>
                      <a:pt x="4673" y="13744"/>
                    </a:lnTo>
                    <a:lnTo>
                      <a:pt x="4744" y="13424"/>
                    </a:lnTo>
                    <a:lnTo>
                      <a:pt x="4792" y="13264"/>
                    </a:lnTo>
                    <a:lnTo>
                      <a:pt x="4917" y="13059"/>
                    </a:lnTo>
                    <a:lnTo>
                      <a:pt x="5074" y="12865"/>
                    </a:lnTo>
                    <a:lnTo>
                      <a:pt x="5256" y="12688"/>
                    </a:lnTo>
                    <a:lnTo>
                      <a:pt x="5688" y="12351"/>
                    </a:lnTo>
                    <a:lnTo>
                      <a:pt x="5880" y="12124"/>
                    </a:lnTo>
                    <a:lnTo>
                      <a:pt x="6713" y="11312"/>
                    </a:lnTo>
                    <a:lnTo>
                      <a:pt x="7045" y="10922"/>
                    </a:lnTo>
                    <a:lnTo>
                      <a:pt x="7177" y="10718"/>
                    </a:lnTo>
                    <a:lnTo>
                      <a:pt x="7527" y="9950"/>
                    </a:lnTo>
                    <a:lnTo>
                      <a:pt x="7572" y="9730"/>
                    </a:lnTo>
                    <a:lnTo>
                      <a:pt x="7604" y="9491"/>
                    </a:lnTo>
                    <a:lnTo>
                      <a:pt x="7630" y="8759"/>
                    </a:lnTo>
                    <a:lnTo>
                      <a:pt x="7675" y="8539"/>
                    </a:lnTo>
                    <a:lnTo>
                      <a:pt x="7908" y="7106"/>
                    </a:lnTo>
                    <a:lnTo>
                      <a:pt x="7923" y="6631"/>
                    </a:lnTo>
                    <a:lnTo>
                      <a:pt x="7924" y="5879"/>
                    </a:lnTo>
                    <a:lnTo>
                      <a:pt x="7949" y="5365"/>
                    </a:lnTo>
                    <a:lnTo>
                      <a:pt x="7998" y="5104"/>
                    </a:lnTo>
                    <a:lnTo>
                      <a:pt x="8135" y="4644"/>
                    </a:lnTo>
                    <a:lnTo>
                      <a:pt x="8213" y="4462"/>
                    </a:lnTo>
                    <a:lnTo>
                      <a:pt x="8438" y="4035"/>
                    </a:lnTo>
                    <a:lnTo>
                      <a:pt x="10572" y="0"/>
                    </a:lnTo>
                    <a:lnTo>
                      <a:pt x="11207" y="305"/>
                    </a:lnTo>
                    <a:lnTo>
                      <a:pt x="16424" y="343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5" name="Freeform 79">
                <a:extLst>
                  <a:ext uri="{FF2B5EF4-FFF2-40B4-BE49-F238E27FC236}">
                    <a16:creationId xmlns:a16="http://schemas.microsoft.com/office/drawing/2014/main" id="{A2263BBF-A02E-5C2C-B6C2-95EA47484856}"/>
                  </a:ext>
                </a:extLst>
              </p:cNvPr>
              <p:cNvSpPr>
                <a:spLocks noChangeAspect="1"/>
              </p:cNvSpPr>
              <p:nvPr>
                <p:custDataLst>
                  <p:tags r:id="rId76"/>
                </p:custDataLst>
              </p:nvPr>
            </p:nvSpPr>
            <p:spPr>
              <a:xfrm>
                <a:off x="5271058" y="5102233"/>
                <a:ext cx="28293" cy="27698"/>
              </a:xfrm>
              <a:custGeom>
                <a:avLst/>
                <a:gdLst/>
                <a:ahLst/>
                <a:cxnLst/>
                <a:rect l="0" t="0" r="0" b="0"/>
                <a:pathLst>
                  <a:path w="29049" h="28438">
                    <a:moveTo>
                      <a:pt x="27832" y="28437"/>
                    </a:moveTo>
                    <a:lnTo>
                      <a:pt x="22485" y="28271"/>
                    </a:lnTo>
                    <a:lnTo>
                      <a:pt x="17403" y="25641"/>
                    </a:lnTo>
                    <a:lnTo>
                      <a:pt x="16754" y="24909"/>
                    </a:lnTo>
                    <a:lnTo>
                      <a:pt x="15623" y="22798"/>
                    </a:lnTo>
                    <a:lnTo>
                      <a:pt x="14938" y="22236"/>
                    </a:lnTo>
                    <a:lnTo>
                      <a:pt x="14173" y="21935"/>
                    </a:lnTo>
                    <a:lnTo>
                      <a:pt x="768" y="24026"/>
                    </a:lnTo>
                    <a:lnTo>
                      <a:pt x="349" y="21931"/>
                    </a:lnTo>
                    <a:lnTo>
                      <a:pt x="738" y="19285"/>
                    </a:lnTo>
                    <a:lnTo>
                      <a:pt x="719" y="18436"/>
                    </a:lnTo>
                    <a:lnTo>
                      <a:pt x="51" y="16688"/>
                    </a:lnTo>
                    <a:lnTo>
                      <a:pt x="0" y="16088"/>
                    </a:lnTo>
                    <a:lnTo>
                      <a:pt x="46" y="15187"/>
                    </a:lnTo>
                    <a:lnTo>
                      <a:pt x="449" y="13706"/>
                    </a:lnTo>
                    <a:lnTo>
                      <a:pt x="721" y="13299"/>
                    </a:lnTo>
                    <a:lnTo>
                      <a:pt x="1252" y="12919"/>
                    </a:lnTo>
                    <a:lnTo>
                      <a:pt x="5117" y="12705"/>
                    </a:lnTo>
                    <a:lnTo>
                      <a:pt x="5441" y="12512"/>
                    </a:lnTo>
                    <a:lnTo>
                      <a:pt x="5802" y="12022"/>
                    </a:lnTo>
                    <a:lnTo>
                      <a:pt x="7353" y="8672"/>
                    </a:lnTo>
                    <a:lnTo>
                      <a:pt x="7618" y="8265"/>
                    </a:lnTo>
                    <a:lnTo>
                      <a:pt x="8296" y="9104"/>
                    </a:lnTo>
                    <a:lnTo>
                      <a:pt x="11123" y="10219"/>
                    </a:lnTo>
                    <a:lnTo>
                      <a:pt x="15613" y="8986"/>
                    </a:lnTo>
                    <a:lnTo>
                      <a:pt x="17492" y="7902"/>
                    </a:lnTo>
                    <a:lnTo>
                      <a:pt x="20853" y="5958"/>
                    </a:lnTo>
                    <a:lnTo>
                      <a:pt x="24035" y="3360"/>
                    </a:lnTo>
                    <a:lnTo>
                      <a:pt x="25733" y="1977"/>
                    </a:lnTo>
                    <a:lnTo>
                      <a:pt x="27440" y="0"/>
                    </a:lnTo>
                    <a:lnTo>
                      <a:pt x="29048" y="6070"/>
                    </a:lnTo>
                    <a:lnTo>
                      <a:pt x="28610" y="7415"/>
                    </a:lnTo>
                    <a:lnTo>
                      <a:pt x="28169" y="8266"/>
                    </a:lnTo>
                    <a:lnTo>
                      <a:pt x="24729" y="12131"/>
                    </a:lnTo>
                    <a:lnTo>
                      <a:pt x="24545" y="12683"/>
                    </a:lnTo>
                    <a:lnTo>
                      <a:pt x="24505" y="13021"/>
                    </a:lnTo>
                    <a:lnTo>
                      <a:pt x="24509" y="13376"/>
                    </a:lnTo>
                    <a:lnTo>
                      <a:pt x="24562" y="13729"/>
                    </a:lnTo>
                    <a:lnTo>
                      <a:pt x="25078" y="14930"/>
                    </a:lnTo>
                    <a:lnTo>
                      <a:pt x="25595" y="16804"/>
                    </a:lnTo>
                    <a:lnTo>
                      <a:pt x="25982" y="17319"/>
                    </a:lnTo>
                    <a:lnTo>
                      <a:pt x="26847" y="17922"/>
                    </a:lnTo>
                    <a:lnTo>
                      <a:pt x="26978" y="18083"/>
                    </a:lnTo>
                    <a:lnTo>
                      <a:pt x="27090" y="18384"/>
                    </a:lnTo>
                    <a:lnTo>
                      <a:pt x="27745" y="280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6" name="Freeform 80">
                <a:extLst>
                  <a:ext uri="{FF2B5EF4-FFF2-40B4-BE49-F238E27FC236}">
                    <a16:creationId xmlns:a16="http://schemas.microsoft.com/office/drawing/2014/main" id="{8887D8F3-AD56-7FF9-0508-0C3A22BD6CA8}"/>
                  </a:ext>
                </a:extLst>
              </p:cNvPr>
              <p:cNvSpPr>
                <a:spLocks noChangeAspect="1"/>
              </p:cNvSpPr>
              <p:nvPr>
                <p:custDataLst>
                  <p:tags r:id="rId77"/>
                </p:custDataLst>
              </p:nvPr>
            </p:nvSpPr>
            <p:spPr>
              <a:xfrm>
                <a:off x="5278030" y="5087916"/>
                <a:ext cx="23216" cy="17590"/>
              </a:xfrm>
              <a:custGeom>
                <a:avLst/>
                <a:gdLst/>
                <a:ahLst/>
                <a:cxnLst/>
                <a:rect l="0" t="0" r="0" b="0"/>
                <a:pathLst>
                  <a:path w="23837" h="18060">
                    <a:moveTo>
                      <a:pt x="23836" y="10581"/>
                    </a:moveTo>
                    <a:lnTo>
                      <a:pt x="20323" y="14647"/>
                    </a:lnTo>
                    <a:lnTo>
                      <a:pt x="20282" y="14699"/>
                    </a:lnTo>
                    <a:lnTo>
                      <a:pt x="18575" y="16676"/>
                    </a:lnTo>
                    <a:lnTo>
                      <a:pt x="16877" y="18059"/>
                    </a:lnTo>
                    <a:lnTo>
                      <a:pt x="16150" y="16551"/>
                    </a:lnTo>
                    <a:lnTo>
                      <a:pt x="15657" y="14914"/>
                    </a:lnTo>
                    <a:lnTo>
                      <a:pt x="15509" y="14635"/>
                    </a:lnTo>
                    <a:lnTo>
                      <a:pt x="15366" y="14474"/>
                    </a:lnTo>
                    <a:lnTo>
                      <a:pt x="15052" y="14329"/>
                    </a:lnTo>
                    <a:lnTo>
                      <a:pt x="12520" y="15376"/>
                    </a:lnTo>
                    <a:lnTo>
                      <a:pt x="11401" y="15279"/>
                    </a:lnTo>
                    <a:lnTo>
                      <a:pt x="11130" y="15144"/>
                    </a:lnTo>
                    <a:lnTo>
                      <a:pt x="10354" y="14310"/>
                    </a:lnTo>
                    <a:lnTo>
                      <a:pt x="9238" y="11793"/>
                    </a:lnTo>
                    <a:lnTo>
                      <a:pt x="7180" y="9288"/>
                    </a:lnTo>
                    <a:lnTo>
                      <a:pt x="5038" y="8033"/>
                    </a:lnTo>
                    <a:lnTo>
                      <a:pt x="4314" y="7117"/>
                    </a:lnTo>
                    <a:lnTo>
                      <a:pt x="4166" y="6828"/>
                    </a:lnTo>
                    <a:lnTo>
                      <a:pt x="4079" y="6526"/>
                    </a:lnTo>
                    <a:lnTo>
                      <a:pt x="3904" y="5240"/>
                    </a:lnTo>
                    <a:lnTo>
                      <a:pt x="3819" y="4996"/>
                    </a:lnTo>
                    <a:lnTo>
                      <a:pt x="3663" y="4796"/>
                    </a:lnTo>
                    <a:lnTo>
                      <a:pt x="3472" y="4647"/>
                    </a:lnTo>
                    <a:lnTo>
                      <a:pt x="0" y="4183"/>
                    </a:lnTo>
                    <a:lnTo>
                      <a:pt x="1027" y="3217"/>
                    </a:lnTo>
                    <a:lnTo>
                      <a:pt x="1394" y="2074"/>
                    </a:lnTo>
                    <a:lnTo>
                      <a:pt x="1503" y="1891"/>
                    </a:lnTo>
                    <a:lnTo>
                      <a:pt x="1665" y="1805"/>
                    </a:lnTo>
                    <a:lnTo>
                      <a:pt x="2065" y="1806"/>
                    </a:lnTo>
                    <a:lnTo>
                      <a:pt x="2906" y="2173"/>
                    </a:lnTo>
                    <a:lnTo>
                      <a:pt x="3521" y="2728"/>
                    </a:lnTo>
                    <a:lnTo>
                      <a:pt x="5363" y="3474"/>
                    </a:lnTo>
                    <a:lnTo>
                      <a:pt x="5816" y="3433"/>
                    </a:lnTo>
                    <a:lnTo>
                      <a:pt x="6171" y="3259"/>
                    </a:lnTo>
                    <a:lnTo>
                      <a:pt x="6561" y="2904"/>
                    </a:lnTo>
                    <a:lnTo>
                      <a:pt x="7517" y="1448"/>
                    </a:lnTo>
                    <a:lnTo>
                      <a:pt x="9568" y="0"/>
                    </a:lnTo>
                    <a:lnTo>
                      <a:pt x="14279" y="0"/>
                    </a:lnTo>
                    <a:lnTo>
                      <a:pt x="15048" y="281"/>
                    </a:lnTo>
                    <a:lnTo>
                      <a:pt x="15655" y="785"/>
                    </a:lnTo>
                    <a:lnTo>
                      <a:pt x="16163" y="1541"/>
                    </a:lnTo>
                    <a:lnTo>
                      <a:pt x="16972" y="3373"/>
                    </a:lnTo>
                    <a:lnTo>
                      <a:pt x="21726" y="8169"/>
                    </a:lnTo>
                    <a:lnTo>
                      <a:pt x="22264" y="8371"/>
                    </a:lnTo>
                    <a:lnTo>
                      <a:pt x="22831" y="838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7" name="Freeform 81">
                <a:extLst>
                  <a:ext uri="{FF2B5EF4-FFF2-40B4-BE49-F238E27FC236}">
                    <a16:creationId xmlns:a16="http://schemas.microsoft.com/office/drawing/2014/main" id="{0DD46578-717F-A442-C96D-6DF53118BC1E}"/>
                  </a:ext>
                </a:extLst>
              </p:cNvPr>
              <p:cNvSpPr>
                <a:spLocks noChangeAspect="1"/>
              </p:cNvSpPr>
              <p:nvPr>
                <p:custDataLst>
                  <p:tags r:id="rId78"/>
                </p:custDataLst>
              </p:nvPr>
            </p:nvSpPr>
            <p:spPr>
              <a:xfrm>
                <a:off x="5115229" y="4317295"/>
                <a:ext cx="262293" cy="363196"/>
              </a:xfrm>
              <a:custGeom>
                <a:avLst/>
                <a:gdLst/>
                <a:ahLst/>
                <a:cxnLst/>
                <a:rect l="0" t="0" r="0" b="0"/>
                <a:pathLst>
                  <a:path w="269305" h="372905">
                    <a:moveTo>
                      <a:pt x="115310" y="605"/>
                    </a:moveTo>
                    <a:lnTo>
                      <a:pt x="125691" y="6502"/>
                    </a:lnTo>
                    <a:lnTo>
                      <a:pt x="132644" y="15198"/>
                    </a:lnTo>
                    <a:lnTo>
                      <a:pt x="141244" y="15346"/>
                    </a:lnTo>
                    <a:lnTo>
                      <a:pt x="141482" y="18093"/>
                    </a:lnTo>
                    <a:lnTo>
                      <a:pt x="135630" y="26764"/>
                    </a:lnTo>
                    <a:lnTo>
                      <a:pt x="139316" y="39661"/>
                    </a:lnTo>
                    <a:lnTo>
                      <a:pt x="138283" y="48852"/>
                    </a:lnTo>
                    <a:lnTo>
                      <a:pt x="144311" y="53564"/>
                    </a:lnTo>
                    <a:lnTo>
                      <a:pt x="145914" y="56673"/>
                    </a:lnTo>
                    <a:lnTo>
                      <a:pt x="149730" y="58511"/>
                    </a:lnTo>
                    <a:lnTo>
                      <a:pt x="151101" y="62183"/>
                    </a:lnTo>
                    <a:lnTo>
                      <a:pt x="156664" y="67339"/>
                    </a:lnTo>
                    <a:lnTo>
                      <a:pt x="159368" y="66993"/>
                    </a:lnTo>
                    <a:lnTo>
                      <a:pt x="165667" y="60951"/>
                    </a:lnTo>
                    <a:lnTo>
                      <a:pt x="161406" y="56478"/>
                    </a:lnTo>
                    <a:lnTo>
                      <a:pt x="160836" y="53737"/>
                    </a:lnTo>
                    <a:lnTo>
                      <a:pt x="167786" y="34920"/>
                    </a:lnTo>
                    <a:lnTo>
                      <a:pt x="170834" y="32649"/>
                    </a:lnTo>
                    <a:lnTo>
                      <a:pt x="175482" y="33482"/>
                    </a:lnTo>
                    <a:lnTo>
                      <a:pt x="180852" y="31857"/>
                    </a:lnTo>
                    <a:lnTo>
                      <a:pt x="184133" y="29719"/>
                    </a:lnTo>
                    <a:lnTo>
                      <a:pt x="184577" y="29421"/>
                    </a:lnTo>
                    <a:lnTo>
                      <a:pt x="185627" y="28529"/>
                    </a:lnTo>
                    <a:lnTo>
                      <a:pt x="185645" y="28512"/>
                    </a:lnTo>
                    <a:lnTo>
                      <a:pt x="203160" y="41554"/>
                    </a:lnTo>
                    <a:lnTo>
                      <a:pt x="207600" y="43292"/>
                    </a:lnTo>
                    <a:lnTo>
                      <a:pt x="211955" y="44069"/>
                    </a:lnTo>
                    <a:lnTo>
                      <a:pt x="216095" y="45696"/>
                    </a:lnTo>
                    <a:lnTo>
                      <a:pt x="219937" y="49828"/>
                    </a:lnTo>
                    <a:lnTo>
                      <a:pt x="220784" y="52650"/>
                    </a:lnTo>
                    <a:lnTo>
                      <a:pt x="221482" y="56537"/>
                    </a:lnTo>
                    <a:lnTo>
                      <a:pt x="222268" y="59968"/>
                    </a:lnTo>
                    <a:lnTo>
                      <a:pt x="223639" y="61408"/>
                    </a:lnTo>
                    <a:lnTo>
                      <a:pt x="225748" y="62017"/>
                    </a:lnTo>
                    <a:lnTo>
                      <a:pt x="232559" y="66397"/>
                    </a:lnTo>
                    <a:lnTo>
                      <a:pt x="230971" y="69095"/>
                    </a:lnTo>
                    <a:lnTo>
                      <a:pt x="235088" y="71903"/>
                    </a:lnTo>
                    <a:lnTo>
                      <a:pt x="238896" y="76997"/>
                    </a:lnTo>
                    <a:lnTo>
                      <a:pt x="241766" y="82919"/>
                    </a:lnTo>
                    <a:lnTo>
                      <a:pt x="243017" y="88055"/>
                    </a:lnTo>
                    <a:lnTo>
                      <a:pt x="264359" y="138650"/>
                    </a:lnTo>
                    <a:lnTo>
                      <a:pt x="268342" y="152886"/>
                    </a:lnTo>
                    <a:lnTo>
                      <a:pt x="269304" y="169216"/>
                    </a:lnTo>
                    <a:lnTo>
                      <a:pt x="265591" y="189424"/>
                    </a:lnTo>
                    <a:lnTo>
                      <a:pt x="264370" y="192152"/>
                    </a:lnTo>
                    <a:lnTo>
                      <a:pt x="261872" y="193360"/>
                    </a:lnTo>
                    <a:lnTo>
                      <a:pt x="257370" y="194549"/>
                    </a:lnTo>
                    <a:lnTo>
                      <a:pt x="253747" y="197169"/>
                    </a:lnTo>
                    <a:lnTo>
                      <a:pt x="234307" y="219139"/>
                    </a:lnTo>
                    <a:lnTo>
                      <a:pt x="230137" y="221128"/>
                    </a:lnTo>
                    <a:lnTo>
                      <a:pt x="227122" y="223758"/>
                    </a:lnTo>
                    <a:lnTo>
                      <a:pt x="210374" y="251504"/>
                    </a:lnTo>
                    <a:lnTo>
                      <a:pt x="205809" y="256962"/>
                    </a:lnTo>
                    <a:lnTo>
                      <a:pt x="200496" y="259451"/>
                    </a:lnTo>
                    <a:lnTo>
                      <a:pt x="197060" y="262142"/>
                    </a:lnTo>
                    <a:lnTo>
                      <a:pt x="194188" y="267621"/>
                    </a:lnTo>
                    <a:lnTo>
                      <a:pt x="194805" y="272246"/>
                    </a:lnTo>
                    <a:lnTo>
                      <a:pt x="201831" y="272430"/>
                    </a:lnTo>
                    <a:lnTo>
                      <a:pt x="213639" y="268994"/>
                    </a:lnTo>
                    <a:lnTo>
                      <a:pt x="216715" y="270055"/>
                    </a:lnTo>
                    <a:lnTo>
                      <a:pt x="223394" y="275136"/>
                    </a:lnTo>
                    <a:lnTo>
                      <a:pt x="226604" y="276187"/>
                    </a:lnTo>
                    <a:lnTo>
                      <a:pt x="232268" y="279682"/>
                    </a:lnTo>
                    <a:lnTo>
                      <a:pt x="245083" y="297564"/>
                    </a:lnTo>
                    <a:lnTo>
                      <a:pt x="251048" y="304119"/>
                    </a:lnTo>
                    <a:lnTo>
                      <a:pt x="254984" y="300863"/>
                    </a:lnTo>
                    <a:lnTo>
                      <a:pt x="258256" y="300206"/>
                    </a:lnTo>
                    <a:lnTo>
                      <a:pt x="258248" y="300234"/>
                    </a:lnTo>
                    <a:lnTo>
                      <a:pt x="257763" y="301950"/>
                    </a:lnTo>
                    <a:lnTo>
                      <a:pt x="255067" y="311543"/>
                    </a:lnTo>
                    <a:lnTo>
                      <a:pt x="259112" y="316423"/>
                    </a:lnTo>
                    <a:lnTo>
                      <a:pt x="258655" y="318790"/>
                    </a:lnTo>
                    <a:lnTo>
                      <a:pt x="241616" y="332954"/>
                    </a:lnTo>
                    <a:lnTo>
                      <a:pt x="235258" y="332253"/>
                    </a:lnTo>
                    <a:lnTo>
                      <a:pt x="229931" y="332188"/>
                    </a:lnTo>
                    <a:lnTo>
                      <a:pt x="218245" y="339361"/>
                    </a:lnTo>
                    <a:lnTo>
                      <a:pt x="209693" y="340736"/>
                    </a:lnTo>
                    <a:lnTo>
                      <a:pt x="208054" y="342735"/>
                    </a:lnTo>
                    <a:lnTo>
                      <a:pt x="209634" y="354143"/>
                    </a:lnTo>
                    <a:lnTo>
                      <a:pt x="207769" y="359553"/>
                    </a:lnTo>
                    <a:lnTo>
                      <a:pt x="204267" y="363006"/>
                    </a:lnTo>
                    <a:lnTo>
                      <a:pt x="196821" y="363569"/>
                    </a:lnTo>
                    <a:lnTo>
                      <a:pt x="185168" y="360158"/>
                    </a:lnTo>
                    <a:lnTo>
                      <a:pt x="184719" y="360022"/>
                    </a:lnTo>
                    <a:lnTo>
                      <a:pt x="177599" y="363563"/>
                    </a:lnTo>
                    <a:lnTo>
                      <a:pt x="173256" y="363017"/>
                    </a:lnTo>
                    <a:lnTo>
                      <a:pt x="165125" y="368499"/>
                    </a:lnTo>
                    <a:lnTo>
                      <a:pt x="159750" y="366517"/>
                    </a:lnTo>
                    <a:lnTo>
                      <a:pt x="154515" y="367707"/>
                    </a:lnTo>
                    <a:lnTo>
                      <a:pt x="150467" y="362417"/>
                    </a:lnTo>
                    <a:lnTo>
                      <a:pt x="136142" y="366428"/>
                    </a:lnTo>
                    <a:lnTo>
                      <a:pt x="123592" y="360821"/>
                    </a:lnTo>
                    <a:lnTo>
                      <a:pt x="103885" y="371877"/>
                    </a:lnTo>
                    <a:lnTo>
                      <a:pt x="96106" y="372309"/>
                    </a:lnTo>
                    <a:lnTo>
                      <a:pt x="88787" y="370088"/>
                    </a:lnTo>
                    <a:lnTo>
                      <a:pt x="83332" y="372904"/>
                    </a:lnTo>
                    <a:lnTo>
                      <a:pt x="79024" y="370811"/>
                    </a:lnTo>
                    <a:lnTo>
                      <a:pt x="77894" y="366926"/>
                    </a:lnTo>
                    <a:lnTo>
                      <a:pt x="82046" y="367603"/>
                    </a:lnTo>
                    <a:lnTo>
                      <a:pt x="92428" y="362920"/>
                    </a:lnTo>
                    <a:lnTo>
                      <a:pt x="99020" y="357324"/>
                    </a:lnTo>
                    <a:lnTo>
                      <a:pt x="99996" y="353032"/>
                    </a:lnTo>
                    <a:lnTo>
                      <a:pt x="76434" y="345209"/>
                    </a:lnTo>
                    <a:lnTo>
                      <a:pt x="73687" y="339473"/>
                    </a:lnTo>
                    <a:lnTo>
                      <a:pt x="64838" y="333887"/>
                    </a:lnTo>
                    <a:lnTo>
                      <a:pt x="59274" y="334647"/>
                    </a:lnTo>
                    <a:lnTo>
                      <a:pt x="54429" y="332391"/>
                    </a:lnTo>
                    <a:lnTo>
                      <a:pt x="44723" y="332460"/>
                    </a:lnTo>
                    <a:lnTo>
                      <a:pt x="44526" y="332012"/>
                    </a:lnTo>
                    <a:lnTo>
                      <a:pt x="41184" y="324319"/>
                    </a:lnTo>
                    <a:lnTo>
                      <a:pt x="37853" y="309570"/>
                    </a:lnTo>
                    <a:lnTo>
                      <a:pt x="34377" y="305992"/>
                    </a:lnTo>
                    <a:lnTo>
                      <a:pt x="29754" y="294057"/>
                    </a:lnTo>
                    <a:lnTo>
                      <a:pt x="26046" y="287522"/>
                    </a:lnTo>
                    <a:lnTo>
                      <a:pt x="19046" y="285873"/>
                    </a:lnTo>
                    <a:lnTo>
                      <a:pt x="19016" y="281408"/>
                    </a:lnTo>
                    <a:lnTo>
                      <a:pt x="16532" y="276839"/>
                    </a:lnTo>
                    <a:lnTo>
                      <a:pt x="20341" y="263831"/>
                    </a:lnTo>
                    <a:lnTo>
                      <a:pt x="19601" y="261094"/>
                    </a:lnTo>
                    <a:lnTo>
                      <a:pt x="15515" y="258068"/>
                    </a:lnTo>
                    <a:lnTo>
                      <a:pt x="14752" y="251478"/>
                    </a:lnTo>
                    <a:lnTo>
                      <a:pt x="9863" y="241930"/>
                    </a:lnTo>
                    <a:lnTo>
                      <a:pt x="10728" y="234459"/>
                    </a:lnTo>
                    <a:lnTo>
                      <a:pt x="16171" y="229470"/>
                    </a:lnTo>
                    <a:lnTo>
                      <a:pt x="20064" y="222535"/>
                    </a:lnTo>
                    <a:lnTo>
                      <a:pt x="31414" y="216989"/>
                    </a:lnTo>
                    <a:lnTo>
                      <a:pt x="29452" y="209221"/>
                    </a:lnTo>
                    <a:lnTo>
                      <a:pt x="25573" y="204471"/>
                    </a:lnTo>
                    <a:lnTo>
                      <a:pt x="27407" y="199203"/>
                    </a:lnTo>
                    <a:lnTo>
                      <a:pt x="24695" y="194841"/>
                    </a:lnTo>
                    <a:lnTo>
                      <a:pt x="26151" y="191189"/>
                    </a:lnTo>
                    <a:lnTo>
                      <a:pt x="24994" y="182618"/>
                    </a:lnTo>
                    <a:lnTo>
                      <a:pt x="25779" y="174941"/>
                    </a:lnTo>
                    <a:lnTo>
                      <a:pt x="18393" y="174800"/>
                    </a:lnTo>
                    <a:lnTo>
                      <a:pt x="17290" y="174319"/>
                    </a:lnTo>
                    <a:lnTo>
                      <a:pt x="16731" y="171257"/>
                    </a:lnTo>
                    <a:lnTo>
                      <a:pt x="19675" y="163161"/>
                    </a:lnTo>
                    <a:lnTo>
                      <a:pt x="25234" y="162216"/>
                    </a:lnTo>
                    <a:lnTo>
                      <a:pt x="28322" y="158163"/>
                    </a:lnTo>
                    <a:lnTo>
                      <a:pt x="34683" y="158132"/>
                    </a:lnTo>
                    <a:lnTo>
                      <a:pt x="36316" y="152654"/>
                    </a:lnTo>
                    <a:lnTo>
                      <a:pt x="40565" y="145886"/>
                    </a:lnTo>
                    <a:lnTo>
                      <a:pt x="39948" y="143262"/>
                    </a:lnTo>
                    <a:lnTo>
                      <a:pt x="38589" y="142683"/>
                    </a:lnTo>
                    <a:lnTo>
                      <a:pt x="35985" y="147352"/>
                    </a:lnTo>
                    <a:lnTo>
                      <a:pt x="30749" y="143625"/>
                    </a:lnTo>
                    <a:lnTo>
                      <a:pt x="24918" y="144069"/>
                    </a:lnTo>
                    <a:lnTo>
                      <a:pt x="20706" y="148696"/>
                    </a:lnTo>
                    <a:lnTo>
                      <a:pt x="8613" y="147310"/>
                    </a:lnTo>
                    <a:lnTo>
                      <a:pt x="9850" y="130260"/>
                    </a:lnTo>
                    <a:lnTo>
                      <a:pt x="13929" y="117479"/>
                    </a:lnTo>
                    <a:lnTo>
                      <a:pt x="14554" y="113235"/>
                    </a:lnTo>
                    <a:lnTo>
                      <a:pt x="13946" y="110244"/>
                    </a:lnTo>
                    <a:lnTo>
                      <a:pt x="9859" y="98189"/>
                    </a:lnTo>
                    <a:lnTo>
                      <a:pt x="8731" y="96571"/>
                    </a:lnTo>
                    <a:lnTo>
                      <a:pt x="7204" y="95621"/>
                    </a:lnTo>
                    <a:lnTo>
                      <a:pt x="5954" y="94344"/>
                    </a:lnTo>
                    <a:lnTo>
                      <a:pt x="5687" y="91785"/>
                    </a:lnTo>
                    <a:lnTo>
                      <a:pt x="6552" y="87642"/>
                    </a:lnTo>
                    <a:lnTo>
                      <a:pt x="6784" y="85499"/>
                    </a:lnTo>
                    <a:lnTo>
                      <a:pt x="6468" y="83496"/>
                    </a:lnTo>
                    <a:lnTo>
                      <a:pt x="3176" y="76684"/>
                    </a:lnTo>
                    <a:lnTo>
                      <a:pt x="804" y="73058"/>
                    </a:lnTo>
                    <a:lnTo>
                      <a:pt x="0" y="68998"/>
                    </a:lnTo>
                    <a:lnTo>
                      <a:pt x="817" y="64205"/>
                    </a:lnTo>
                    <a:lnTo>
                      <a:pt x="7626" y="55609"/>
                    </a:lnTo>
                    <a:lnTo>
                      <a:pt x="11674" y="50674"/>
                    </a:lnTo>
                    <a:lnTo>
                      <a:pt x="12988" y="40210"/>
                    </a:lnTo>
                    <a:lnTo>
                      <a:pt x="41236" y="42404"/>
                    </a:lnTo>
                    <a:lnTo>
                      <a:pt x="42771" y="44359"/>
                    </a:lnTo>
                    <a:lnTo>
                      <a:pt x="42952" y="48916"/>
                    </a:lnTo>
                    <a:lnTo>
                      <a:pt x="40588" y="57826"/>
                    </a:lnTo>
                    <a:lnTo>
                      <a:pt x="42485" y="61149"/>
                    </a:lnTo>
                    <a:lnTo>
                      <a:pt x="44874" y="62338"/>
                    </a:lnTo>
                    <a:lnTo>
                      <a:pt x="52730" y="62652"/>
                    </a:lnTo>
                    <a:lnTo>
                      <a:pt x="66453" y="57938"/>
                    </a:lnTo>
                    <a:lnTo>
                      <a:pt x="75564" y="53525"/>
                    </a:lnTo>
                    <a:lnTo>
                      <a:pt x="75939" y="51810"/>
                    </a:lnTo>
                    <a:lnTo>
                      <a:pt x="74333" y="48261"/>
                    </a:lnTo>
                    <a:lnTo>
                      <a:pt x="76895" y="41472"/>
                    </a:lnTo>
                    <a:lnTo>
                      <a:pt x="90360" y="38555"/>
                    </a:lnTo>
                    <a:lnTo>
                      <a:pt x="92960" y="35893"/>
                    </a:lnTo>
                    <a:lnTo>
                      <a:pt x="92583" y="32836"/>
                    </a:lnTo>
                    <a:lnTo>
                      <a:pt x="89694" y="30392"/>
                    </a:lnTo>
                    <a:lnTo>
                      <a:pt x="72444" y="29979"/>
                    </a:lnTo>
                    <a:lnTo>
                      <a:pt x="72253" y="28484"/>
                    </a:lnTo>
                    <a:lnTo>
                      <a:pt x="85478" y="17290"/>
                    </a:lnTo>
                    <a:lnTo>
                      <a:pt x="100194" y="20596"/>
                    </a:lnTo>
                    <a:lnTo>
                      <a:pt x="105829" y="19498"/>
                    </a:lnTo>
                    <a:lnTo>
                      <a:pt x="113721" y="9591"/>
                    </a:lnTo>
                    <a:lnTo>
                      <a:pt x="113090" y="2503"/>
                    </a:lnTo>
                    <a:lnTo>
                      <a:pt x="114240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8" name="Freeform 104">
                <a:extLst>
                  <a:ext uri="{FF2B5EF4-FFF2-40B4-BE49-F238E27FC236}">
                    <a16:creationId xmlns:a16="http://schemas.microsoft.com/office/drawing/2014/main" id="{8E716995-3732-40BB-3A22-26EF9AE2EEF5}"/>
                  </a:ext>
                </a:extLst>
              </p:cNvPr>
              <p:cNvSpPr>
                <a:spLocks noChangeAspect="1"/>
              </p:cNvSpPr>
              <p:nvPr>
                <p:custDataLst>
                  <p:tags r:id="rId79"/>
                </p:custDataLst>
              </p:nvPr>
            </p:nvSpPr>
            <p:spPr>
              <a:xfrm>
                <a:off x="4224813" y="4884579"/>
                <a:ext cx="259227" cy="170675"/>
              </a:xfrm>
              <a:custGeom>
                <a:avLst/>
                <a:gdLst/>
                <a:ahLst/>
                <a:cxnLst/>
                <a:rect l="0" t="0" r="0" b="0"/>
                <a:pathLst>
                  <a:path w="266157" h="175237">
                    <a:moveTo>
                      <a:pt x="232752" y="7018"/>
                    </a:moveTo>
                    <a:lnTo>
                      <a:pt x="237841" y="7044"/>
                    </a:lnTo>
                    <a:lnTo>
                      <a:pt x="242975" y="1145"/>
                    </a:lnTo>
                    <a:lnTo>
                      <a:pt x="251054" y="3845"/>
                    </a:lnTo>
                    <a:lnTo>
                      <a:pt x="251699" y="6275"/>
                    </a:lnTo>
                    <a:lnTo>
                      <a:pt x="249391" y="13175"/>
                    </a:lnTo>
                    <a:lnTo>
                      <a:pt x="250101" y="14559"/>
                    </a:lnTo>
                    <a:lnTo>
                      <a:pt x="260197" y="18940"/>
                    </a:lnTo>
                    <a:lnTo>
                      <a:pt x="261756" y="21068"/>
                    </a:lnTo>
                    <a:lnTo>
                      <a:pt x="262193" y="26704"/>
                    </a:lnTo>
                    <a:lnTo>
                      <a:pt x="266156" y="31691"/>
                    </a:lnTo>
                    <a:lnTo>
                      <a:pt x="265755" y="35718"/>
                    </a:lnTo>
                    <a:lnTo>
                      <a:pt x="258682" y="42820"/>
                    </a:lnTo>
                    <a:lnTo>
                      <a:pt x="253481" y="51921"/>
                    </a:lnTo>
                    <a:lnTo>
                      <a:pt x="252932" y="58600"/>
                    </a:lnTo>
                    <a:lnTo>
                      <a:pt x="255517" y="67424"/>
                    </a:lnTo>
                    <a:lnTo>
                      <a:pt x="254592" y="70382"/>
                    </a:lnTo>
                    <a:lnTo>
                      <a:pt x="251974" y="71931"/>
                    </a:lnTo>
                    <a:lnTo>
                      <a:pt x="250025" y="73483"/>
                    </a:lnTo>
                    <a:lnTo>
                      <a:pt x="248379" y="84569"/>
                    </a:lnTo>
                    <a:lnTo>
                      <a:pt x="249620" y="92786"/>
                    </a:lnTo>
                    <a:lnTo>
                      <a:pt x="247144" y="98895"/>
                    </a:lnTo>
                    <a:lnTo>
                      <a:pt x="239890" y="105969"/>
                    </a:lnTo>
                    <a:lnTo>
                      <a:pt x="236377" y="117204"/>
                    </a:lnTo>
                    <a:lnTo>
                      <a:pt x="228498" y="129560"/>
                    </a:lnTo>
                    <a:lnTo>
                      <a:pt x="223927" y="123930"/>
                    </a:lnTo>
                    <a:lnTo>
                      <a:pt x="212628" y="123764"/>
                    </a:lnTo>
                    <a:lnTo>
                      <a:pt x="208604" y="126482"/>
                    </a:lnTo>
                    <a:lnTo>
                      <a:pt x="210003" y="133281"/>
                    </a:lnTo>
                    <a:lnTo>
                      <a:pt x="208407" y="137199"/>
                    </a:lnTo>
                    <a:lnTo>
                      <a:pt x="205708" y="137715"/>
                    </a:lnTo>
                    <a:lnTo>
                      <a:pt x="201381" y="134822"/>
                    </a:lnTo>
                    <a:lnTo>
                      <a:pt x="196951" y="138167"/>
                    </a:lnTo>
                    <a:lnTo>
                      <a:pt x="196502" y="138499"/>
                    </a:lnTo>
                    <a:lnTo>
                      <a:pt x="186327" y="136408"/>
                    </a:lnTo>
                    <a:lnTo>
                      <a:pt x="182948" y="140093"/>
                    </a:lnTo>
                    <a:lnTo>
                      <a:pt x="178803" y="140799"/>
                    </a:lnTo>
                    <a:lnTo>
                      <a:pt x="175614" y="144928"/>
                    </a:lnTo>
                    <a:lnTo>
                      <a:pt x="175576" y="149487"/>
                    </a:lnTo>
                    <a:lnTo>
                      <a:pt x="172508" y="153487"/>
                    </a:lnTo>
                    <a:lnTo>
                      <a:pt x="171000" y="160897"/>
                    </a:lnTo>
                    <a:lnTo>
                      <a:pt x="164147" y="170841"/>
                    </a:lnTo>
                    <a:lnTo>
                      <a:pt x="162996" y="170131"/>
                    </a:lnTo>
                    <a:lnTo>
                      <a:pt x="160158" y="173525"/>
                    </a:lnTo>
                    <a:lnTo>
                      <a:pt x="158205" y="174936"/>
                    </a:lnTo>
                    <a:lnTo>
                      <a:pt x="155501" y="175236"/>
                    </a:lnTo>
                    <a:lnTo>
                      <a:pt x="146144" y="174071"/>
                    </a:lnTo>
                    <a:lnTo>
                      <a:pt x="133371" y="166755"/>
                    </a:lnTo>
                    <a:lnTo>
                      <a:pt x="129931" y="169080"/>
                    </a:lnTo>
                    <a:lnTo>
                      <a:pt x="111236" y="171689"/>
                    </a:lnTo>
                    <a:lnTo>
                      <a:pt x="106138" y="169637"/>
                    </a:lnTo>
                    <a:lnTo>
                      <a:pt x="99790" y="164441"/>
                    </a:lnTo>
                    <a:lnTo>
                      <a:pt x="94170" y="157637"/>
                    </a:lnTo>
                    <a:lnTo>
                      <a:pt x="91227" y="150571"/>
                    </a:lnTo>
                    <a:lnTo>
                      <a:pt x="100969" y="152053"/>
                    </a:lnTo>
                    <a:lnTo>
                      <a:pt x="105254" y="151533"/>
                    </a:lnTo>
                    <a:lnTo>
                      <a:pt x="107550" y="148173"/>
                    </a:lnTo>
                    <a:lnTo>
                      <a:pt x="103221" y="148398"/>
                    </a:lnTo>
                    <a:lnTo>
                      <a:pt x="98871" y="147269"/>
                    </a:lnTo>
                    <a:lnTo>
                      <a:pt x="95266" y="144517"/>
                    </a:lnTo>
                    <a:lnTo>
                      <a:pt x="93130" y="139934"/>
                    </a:lnTo>
                    <a:lnTo>
                      <a:pt x="93863" y="139105"/>
                    </a:lnTo>
                    <a:lnTo>
                      <a:pt x="95283" y="136497"/>
                    </a:lnTo>
                    <a:lnTo>
                      <a:pt x="96484" y="132968"/>
                    </a:lnTo>
                    <a:lnTo>
                      <a:pt x="96481" y="129534"/>
                    </a:lnTo>
                    <a:lnTo>
                      <a:pt x="94889" y="126870"/>
                    </a:lnTo>
                    <a:lnTo>
                      <a:pt x="93363" y="128030"/>
                    </a:lnTo>
                    <a:lnTo>
                      <a:pt x="91471" y="132078"/>
                    </a:lnTo>
                    <a:lnTo>
                      <a:pt x="90117" y="133365"/>
                    </a:lnTo>
                    <a:lnTo>
                      <a:pt x="88169" y="136447"/>
                    </a:lnTo>
                    <a:lnTo>
                      <a:pt x="86695" y="137236"/>
                    </a:lnTo>
                    <a:lnTo>
                      <a:pt x="84297" y="136612"/>
                    </a:lnTo>
                    <a:lnTo>
                      <a:pt x="82300" y="134780"/>
                    </a:lnTo>
                    <a:lnTo>
                      <a:pt x="80299" y="131924"/>
                    </a:lnTo>
                    <a:lnTo>
                      <a:pt x="75726" y="132635"/>
                    </a:lnTo>
                    <a:lnTo>
                      <a:pt x="74851" y="135280"/>
                    </a:lnTo>
                    <a:lnTo>
                      <a:pt x="76677" y="138944"/>
                    </a:lnTo>
                    <a:lnTo>
                      <a:pt x="80150" y="142616"/>
                    </a:lnTo>
                    <a:lnTo>
                      <a:pt x="71979" y="146896"/>
                    </a:lnTo>
                    <a:lnTo>
                      <a:pt x="62949" y="147119"/>
                    </a:lnTo>
                    <a:lnTo>
                      <a:pt x="45159" y="144429"/>
                    </a:lnTo>
                    <a:lnTo>
                      <a:pt x="38232" y="145047"/>
                    </a:lnTo>
                    <a:lnTo>
                      <a:pt x="29719" y="147218"/>
                    </a:lnTo>
                    <a:lnTo>
                      <a:pt x="29712" y="147219"/>
                    </a:lnTo>
                    <a:lnTo>
                      <a:pt x="29783" y="146808"/>
                    </a:lnTo>
                    <a:lnTo>
                      <a:pt x="30212" y="143460"/>
                    </a:lnTo>
                    <a:lnTo>
                      <a:pt x="30321" y="137024"/>
                    </a:lnTo>
                    <a:lnTo>
                      <a:pt x="30440" y="129921"/>
                    </a:lnTo>
                    <a:lnTo>
                      <a:pt x="30537" y="124177"/>
                    </a:lnTo>
                    <a:lnTo>
                      <a:pt x="29994" y="119410"/>
                    </a:lnTo>
                    <a:lnTo>
                      <a:pt x="27761" y="114969"/>
                    </a:lnTo>
                    <a:lnTo>
                      <a:pt x="24669" y="111875"/>
                    </a:lnTo>
                    <a:lnTo>
                      <a:pt x="21538" y="111483"/>
                    </a:lnTo>
                    <a:lnTo>
                      <a:pt x="18187" y="111423"/>
                    </a:lnTo>
                    <a:lnTo>
                      <a:pt x="15459" y="111711"/>
                    </a:lnTo>
                    <a:lnTo>
                      <a:pt x="12291" y="113006"/>
                    </a:lnTo>
                    <a:lnTo>
                      <a:pt x="10185" y="113648"/>
                    </a:lnTo>
                    <a:lnTo>
                      <a:pt x="7042" y="113589"/>
                    </a:lnTo>
                    <a:lnTo>
                      <a:pt x="3904" y="113531"/>
                    </a:lnTo>
                    <a:lnTo>
                      <a:pt x="1402" y="112803"/>
                    </a:lnTo>
                    <a:lnTo>
                      <a:pt x="163" y="111762"/>
                    </a:lnTo>
                    <a:lnTo>
                      <a:pt x="0" y="109390"/>
                    </a:lnTo>
                    <a:lnTo>
                      <a:pt x="2156" y="106380"/>
                    </a:lnTo>
                    <a:lnTo>
                      <a:pt x="7830" y="105470"/>
                    </a:lnTo>
                    <a:lnTo>
                      <a:pt x="10363" y="103819"/>
                    </a:lnTo>
                    <a:lnTo>
                      <a:pt x="10631" y="100784"/>
                    </a:lnTo>
                    <a:lnTo>
                      <a:pt x="10253" y="98408"/>
                    </a:lnTo>
                    <a:lnTo>
                      <a:pt x="6760" y="94947"/>
                    </a:lnTo>
                    <a:lnTo>
                      <a:pt x="6589" y="92930"/>
                    </a:lnTo>
                    <a:lnTo>
                      <a:pt x="8742" y="89239"/>
                    </a:lnTo>
                    <a:lnTo>
                      <a:pt x="18107" y="79924"/>
                    </a:lnTo>
                    <a:lnTo>
                      <a:pt x="22943" y="78657"/>
                    </a:lnTo>
                    <a:lnTo>
                      <a:pt x="27341" y="78398"/>
                    </a:lnTo>
                    <a:lnTo>
                      <a:pt x="32752" y="79498"/>
                    </a:lnTo>
                    <a:lnTo>
                      <a:pt x="40751" y="76247"/>
                    </a:lnTo>
                    <a:lnTo>
                      <a:pt x="59729" y="65387"/>
                    </a:lnTo>
                    <a:lnTo>
                      <a:pt x="65224" y="61070"/>
                    </a:lnTo>
                    <a:lnTo>
                      <a:pt x="65274" y="57674"/>
                    </a:lnTo>
                    <a:lnTo>
                      <a:pt x="62612" y="54258"/>
                    </a:lnTo>
                    <a:lnTo>
                      <a:pt x="58520" y="48095"/>
                    </a:lnTo>
                    <a:lnTo>
                      <a:pt x="55908" y="41953"/>
                    </a:lnTo>
                    <a:lnTo>
                      <a:pt x="54538" y="36167"/>
                    </a:lnTo>
                    <a:lnTo>
                      <a:pt x="50617" y="31237"/>
                    </a:lnTo>
                    <a:lnTo>
                      <a:pt x="51179" y="30704"/>
                    </a:lnTo>
                    <a:lnTo>
                      <a:pt x="65212" y="31614"/>
                    </a:lnTo>
                    <a:lnTo>
                      <a:pt x="85619" y="35367"/>
                    </a:lnTo>
                    <a:lnTo>
                      <a:pt x="95414" y="35500"/>
                    </a:lnTo>
                    <a:lnTo>
                      <a:pt x="103085" y="34909"/>
                    </a:lnTo>
                    <a:lnTo>
                      <a:pt x="109916" y="34305"/>
                    </a:lnTo>
                    <a:lnTo>
                      <a:pt x="118016" y="34404"/>
                    </a:lnTo>
                    <a:lnTo>
                      <a:pt x="126528" y="34504"/>
                    </a:lnTo>
                    <a:lnTo>
                      <a:pt x="134233" y="31137"/>
                    </a:lnTo>
                    <a:lnTo>
                      <a:pt x="144139" y="20168"/>
                    </a:lnTo>
                    <a:lnTo>
                      <a:pt x="154017" y="12667"/>
                    </a:lnTo>
                    <a:lnTo>
                      <a:pt x="165117" y="7226"/>
                    </a:lnTo>
                    <a:lnTo>
                      <a:pt x="168089" y="6563"/>
                    </a:lnTo>
                    <a:lnTo>
                      <a:pt x="173603" y="9374"/>
                    </a:lnTo>
                    <a:lnTo>
                      <a:pt x="178281" y="10105"/>
                    </a:lnTo>
                    <a:lnTo>
                      <a:pt x="184658" y="10157"/>
                    </a:lnTo>
                    <a:lnTo>
                      <a:pt x="188948" y="5355"/>
                    </a:lnTo>
                    <a:lnTo>
                      <a:pt x="194923" y="1936"/>
                    </a:lnTo>
                    <a:lnTo>
                      <a:pt x="197486" y="583"/>
                    </a:lnTo>
                    <a:lnTo>
                      <a:pt x="202587" y="1310"/>
                    </a:lnTo>
                    <a:lnTo>
                      <a:pt x="205558" y="1330"/>
                    </a:lnTo>
                    <a:lnTo>
                      <a:pt x="209815" y="1358"/>
                    </a:lnTo>
                    <a:lnTo>
                      <a:pt x="213650" y="0"/>
                    </a:lnTo>
                    <a:lnTo>
                      <a:pt x="219590" y="1419"/>
                    </a:lnTo>
                    <a:lnTo>
                      <a:pt x="226380" y="282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49" name="Freeform 105">
                <a:extLst>
                  <a:ext uri="{FF2B5EF4-FFF2-40B4-BE49-F238E27FC236}">
                    <a16:creationId xmlns:a16="http://schemas.microsoft.com/office/drawing/2014/main" id="{95F5EADE-F2EC-CA96-61B0-34C6AA7D900E}"/>
                  </a:ext>
                </a:extLst>
              </p:cNvPr>
              <p:cNvSpPr>
                <a:spLocks noChangeAspect="1"/>
              </p:cNvSpPr>
              <p:nvPr>
                <p:custDataLst>
                  <p:tags r:id="rId80"/>
                </p:custDataLst>
              </p:nvPr>
            </p:nvSpPr>
            <p:spPr>
              <a:xfrm>
                <a:off x="4242365" y="4723898"/>
                <a:ext cx="239751" cy="195257"/>
              </a:xfrm>
              <a:custGeom>
                <a:avLst/>
                <a:gdLst/>
                <a:ahLst/>
                <a:cxnLst/>
                <a:rect l="0" t="0" r="0" b="0"/>
                <a:pathLst>
                  <a:path w="246160" h="200477">
                    <a:moveTo>
                      <a:pt x="208810" y="28621"/>
                    </a:moveTo>
                    <a:lnTo>
                      <a:pt x="219627" y="26664"/>
                    </a:lnTo>
                    <a:lnTo>
                      <a:pt x="224625" y="21169"/>
                    </a:lnTo>
                    <a:lnTo>
                      <a:pt x="229413" y="22040"/>
                    </a:lnTo>
                    <a:lnTo>
                      <a:pt x="226511" y="34118"/>
                    </a:lnTo>
                    <a:lnTo>
                      <a:pt x="221646" y="37392"/>
                    </a:lnTo>
                    <a:lnTo>
                      <a:pt x="220898" y="45464"/>
                    </a:lnTo>
                    <a:lnTo>
                      <a:pt x="230377" y="52080"/>
                    </a:lnTo>
                    <a:lnTo>
                      <a:pt x="236286" y="66536"/>
                    </a:lnTo>
                    <a:lnTo>
                      <a:pt x="237170" y="73547"/>
                    </a:lnTo>
                    <a:lnTo>
                      <a:pt x="241897" y="73881"/>
                    </a:lnTo>
                    <a:lnTo>
                      <a:pt x="246159" y="79935"/>
                    </a:lnTo>
                    <a:lnTo>
                      <a:pt x="243748" y="83006"/>
                    </a:lnTo>
                    <a:lnTo>
                      <a:pt x="234075" y="84768"/>
                    </a:lnTo>
                    <a:lnTo>
                      <a:pt x="227622" y="90802"/>
                    </a:lnTo>
                    <a:lnTo>
                      <a:pt x="227488" y="93771"/>
                    </a:lnTo>
                    <a:lnTo>
                      <a:pt x="231165" y="98555"/>
                    </a:lnTo>
                    <a:lnTo>
                      <a:pt x="230880" y="103124"/>
                    </a:lnTo>
                    <a:lnTo>
                      <a:pt x="234571" y="108015"/>
                    </a:lnTo>
                    <a:lnTo>
                      <a:pt x="233395" y="110349"/>
                    </a:lnTo>
                    <a:lnTo>
                      <a:pt x="226683" y="114033"/>
                    </a:lnTo>
                    <a:lnTo>
                      <a:pt x="225557" y="118273"/>
                    </a:lnTo>
                    <a:lnTo>
                      <a:pt x="226886" y="120113"/>
                    </a:lnTo>
                    <a:lnTo>
                      <a:pt x="225050" y="122375"/>
                    </a:lnTo>
                    <a:lnTo>
                      <a:pt x="224636" y="135146"/>
                    </a:lnTo>
                    <a:lnTo>
                      <a:pt x="222385" y="144375"/>
                    </a:lnTo>
                    <a:lnTo>
                      <a:pt x="223694" y="157627"/>
                    </a:lnTo>
                    <a:lnTo>
                      <a:pt x="221527" y="164960"/>
                    </a:lnTo>
                    <a:lnTo>
                      <a:pt x="224954" y="166121"/>
                    </a:lnTo>
                    <a:lnTo>
                      <a:pt x="219820" y="172020"/>
                    </a:lnTo>
                    <a:lnTo>
                      <a:pt x="214731" y="171994"/>
                    </a:lnTo>
                    <a:lnTo>
                      <a:pt x="208359" y="167805"/>
                    </a:lnTo>
                    <a:lnTo>
                      <a:pt x="201569" y="166395"/>
                    </a:lnTo>
                    <a:lnTo>
                      <a:pt x="195629" y="164976"/>
                    </a:lnTo>
                    <a:lnTo>
                      <a:pt x="191794" y="166334"/>
                    </a:lnTo>
                    <a:lnTo>
                      <a:pt x="187537" y="166306"/>
                    </a:lnTo>
                    <a:lnTo>
                      <a:pt x="184566" y="166286"/>
                    </a:lnTo>
                    <a:lnTo>
                      <a:pt x="179465" y="165559"/>
                    </a:lnTo>
                    <a:lnTo>
                      <a:pt x="176902" y="166912"/>
                    </a:lnTo>
                    <a:lnTo>
                      <a:pt x="170927" y="170331"/>
                    </a:lnTo>
                    <a:lnTo>
                      <a:pt x="166637" y="175133"/>
                    </a:lnTo>
                    <a:lnTo>
                      <a:pt x="160260" y="175081"/>
                    </a:lnTo>
                    <a:lnTo>
                      <a:pt x="155582" y="174350"/>
                    </a:lnTo>
                    <a:lnTo>
                      <a:pt x="150068" y="171539"/>
                    </a:lnTo>
                    <a:lnTo>
                      <a:pt x="147096" y="172202"/>
                    </a:lnTo>
                    <a:lnTo>
                      <a:pt x="135996" y="177643"/>
                    </a:lnTo>
                    <a:lnTo>
                      <a:pt x="126118" y="185144"/>
                    </a:lnTo>
                    <a:lnTo>
                      <a:pt x="116212" y="196113"/>
                    </a:lnTo>
                    <a:lnTo>
                      <a:pt x="108507" y="199480"/>
                    </a:lnTo>
                    <a:lnTo>
                      <a:pt x="99995" y="199380"/>
                    </a:lnTo>
                    <a:lnTo>
                      <a:pt x="91895" y="199281"/>
                    </a:lnTo>
                    <a:lnTo>
                      <a:pt x="85064" y="199885"/>
                    </a:lnTo>
                    <a:lnTo>
                      <a:pt x="77393" y="200476"/>
                    </a:lnTo>
                    <a:lnTo>
                      <a:pt x="67598" y="200343"/>
                    </a:lnTo>
                    <a:lnTo>
                      <a:pt x="47191" y="196590"/>
                    </a:lnTo>
                    <a:lnTo>
                      <a:pt x="33158" y="195680"/>
                    </a:lnTo>
                    <a:lnTo>
                      <a:pt x="32596" y="196213"/>
                    </a:lnTo>
                    <a:lnTo>
                      <a:pt x="32429" y="196004"/>
                    </a:lnTo>
                    <a:lnTo>
                      <a:pt x="27044" y="193883"/>
                    </a:lnTo>
                    <a:lnTo>
                      <a:pt x="21430" y="192783"/>
                    </a:lnTo>
                    <a:lnTo>
                      <a:pt x="17711" y="191023"/>
                    </a:lnTo>
                    <a:lnTo>
                      <a:pt x="15243" y="188947"/>
                    </a:lnTo>
                    <a:lnTo>
                      <a:pt x="13218" y="185862"/>
                    </a:lnTo>
                    <a:lnTo>
                      <a:pt x="10522" y="185133"/>
                    </a:lnTo>
                    <a:lnTo>
                      <a:pt x="6564" y="185064"/>
                    </a:lnTo>
                    <a:lnTo>
                      <a:pt x="3231" y="185005"/>
                    </a:lnTo>
                    <a:lnTo>
                      <a:pt x="329" y="183946"/>
                    </a:lnTo>
                    <a:lnTo>
                      <a:pt x="0" y="179202"/>
                    </a:lnTo>
                    <a:lnTo>
                      <a:pt x="303" y="173443"/>
                    </a:lnTo>
                    <a:lnTo>
                      <a:pt x="977" y="170285"/>
                    </a:lnTo>
                    <a:lnTo>
                      <a:pt x="1024" y="170039"/>
                    </a:lnTo>
                    <a:lnTo>
                      <a:pt x="1301" y="169116"/>
                    </a:lnTo>
                    <a:lnTo>
                      <a:pt x="1308" y="169094"/>
                    </a:lnTo>
                    <a:lnTo>
                      <a:pt x="6010" y="172949"/>
                    </a:lnTo>
                    <a:lnTo>
                      <a:pt x="5681" y="161656"/>
                    </a:lnTo>
                    <a:lnTo>
                      <a:pt x="14711" y="157398"/>
                    </a:lnTo>
                    <a:lnTo>
                      <a:pt x="43710" y="158944"/>
                    </a:lnTo>
                    <a:lnTo>
                      <a:pt x="46436" y="157960"/>
                    </a:lnTo>
                    <a:lnTo>
                      <a:pt x="47992" y="156024"/>
                    </a:lnTo>
                    <a:lnTo>
                      <a:pt x="49157" y="153416"/>
                    </a:lnTo>
                    <a:lnTo>
                      <a:pt x="50756" y="151169"/>
                    </a:lnTo>
                    <a:lnTo>
                      <a:pt x="57724" y="149081"/>
                    </a:lnTo>
                    <a:lnTo>
                      <a:pt x="62433" y="145977"/>
                    </a:lnTo>
                    <a:lnTo>
                      <a:pt x="67042" y="141768"/>
                    </a:lnTo>
                    <a:lnTo>
                      <a:pt x="74143" y="133503"/>
                    </a:lnTo>
                    <a:lnTo>
                      <a:pt x="77527" y="131310"/>
                    </a:lnTo>
                    <a:lnTo>
                      <a:pt x="81410" y="130289"/>
                    </a:lnTo>
                    <a:lnTo>
                      <a:pt x="86188" y="130071"/>
                    </a:lnTo>
                    <a:lnTo>
                      <a:pt x="90540" y="128806"/>
                    </a:lnTo>
                    <a:lnTo>
                      <a:pt x="118593" y="105073"/>
                    </a:lnTo>
                    <a:lnTo>
                      <a:pt x="132365" y="85755"/>
                    </a:lnTo>
                    <a:lnTo>
                      <a:pt x="139374" y="72424"/>
                    </a:lnTo>
                    <a:lnTo>
                      <a:pt x="142569" y="63828"/>
                    </a:lnTo>
                    <a:lnTo>
                      <a:pt x="144788" y="47713"/>
                    </a:lnTo>
                    <a:lnTo>
                      <a:pt x="146830" y="38980"/>
                    </a:lnTo>
                    <a:lnTo>
                      <a:pt x="149469" y="31139"/>
                    </a:lnTo>
                    <a:lnTo>
                      <a:pt x="152170" y="25722"/>
                    </a:lnTo>
                    <a:lnTo>
                      <a:pt x="150970" y="22199"/>
                    </a:lnTo>
                    <a:lnTo>
                      <a:pt x="150500" y="17562"/>
                    </a:lnTo>
                    <a:lnTo>
                      <a:pt x="150881" y="13057"/>
                    </a:lnTo>
                    <a:lnTo>
                      <a:pt x="152310" y="9836"/>
                    </a:lnTo>
                    <a:lnTo>
                      <a:pt x="154186" y="9464"/>
                    </a:lnTo>
                    <a:lnTo>
                      <a:pt x="159253" y="12213"/>
                    </a:lnTo>
                    <a:lnTo>
                      <a:pt x="161671" y="12778"/>
                    </a:lnTo>
                    <a:lnTo>
                      <a:pt x="165733" y="11288"/>
                    </a:lnTo>
                    <a:lnTo>
                      <a:pt x="177758" y="2473"/>
                    </a:lnTo>
                    <a:lnTo>
                      <a:pt x="177762" y="1857"/>
                    </a:lnTo>
                    <a:lnTo>
                      <a:pt x="177771" y="1849"/>
                    </a:lnTo>
                    <a:lnTo>
                      <a:pt x="182389" y="1013"/>
                    </a:lnTo>
                    <a:lnTo>
                      <a:pt x="196254" y="0"/>
                    </a:lnTo>
                    <a:lnTo>
                      <a:pt x="202824" y="2902"/>
                    </a:lnTo>
                    <a:lnTo>
                      <a:pt x="205180" y="8977"/>
                    </a:lnTo>
                    <a:lnTo>
                      <a:pt x="204012" y="1988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0" name="Freeform 106">
                <a:extLst>
                  <a:ext uri="{FF2B5EF4-FFF2-40B4-BE49-F238E27FC236}">
                    <a16:creationId xmlns:a16="http://schemas.microsoft.com/office/drawing/2014/main" id="{49393D9B-493A-A48D-038B-4A0AEA1560E7}"/>
                  </a:ext>
                </a:extLst>
              </p:cNvPr>
              <p:cNvSpPr>
                <a:spLocks noChangeAspect="1"/>
              </p:cNvSpPr>
              <p:nvPr>
                <p:custDataLst>
                  <p:tags r:id="rId81"/>
                </p:custDataLst>
              </p:nvPr>
            </p:nvSpPr>
            <p:spPr>
              <a:xfrm>
                <a:off x="4100184" y="4886216"/>
                <a:ext cx="188204" cy="191240"/>
              </a:xfrm>
              <a:custGeom>
                <a:avLst/>
                <a:gdLst/>
                <a:ahLst/>
                <a:cxnLst/>
                <a:rect l="0" t="0" r="0" b="0"/>
                <a:pathLst>
                  <a:path w="193235" h="196352">
                    <a:moveTo>
                      <a:pt x="146310" y="17289"/>
                    </a:moveTo>
                    <a:lnTo>
                      <a:pt x="149212" y="18348"/>
                    </a:lnTo>
                    <a:lnTo>
                      <a:pt x="152545" y="18407"/>
                    </a:lnTo>
                    <a:lnTo>
                      <a:pt x="156503" y="18476"/>
                    </a:lnTo>
                    <a:lnTo>
                      <a:pt x="159199" y="19205"/>
                    </a:lnTo>
                    <a:lnTo>
                      <a:pt x="161224" y="22290"/>
                    </a:lnTo>
                    <a:lnTo>
                      <a:pt x="163692" y="24366"/>
                    </a:lnTo>
                    <a:lnTo>
                      <a:pt x="167411" y="26126"/>
                    </a:lnTo>
                    <a:lnTo>
                      <a:pt x="173025" y="27226"/>
                    </a:lnTo>
                    <a:lnTo>
                      <a:pt x="178410" y="29347"/>
                    </a:lnTo>
                    <a:lnTo>
                      <a:pt x="178577" y="29556"/>
                    </a:lnTo>
                    <a:lnTo>
                      <a:pt x="182498" y="34486"/>
                    </a:lnTo>
                    <a:lnTo>
                      <a:pt x="183868" y="40272"/>
                    </a:lnTo>
                    <a:lnTo>
                      <a:pt x="186480" y="46414"/>
                    </a:lnTo>
                    <a:lnTo>
                      <a:pt x="190572" y="52577"/>
                    </a:lnTo>
                    <a:lnTo>
                      <a:pt x="193234" y="55993"/>
                    </a:lnTo>
                    <a:lnTo>
                      <a:pt x="193184" y="59389"/>
                    </a:lnTo>
                    <a:lnTo>
                      <a:pt x="187689" y="63706"/>
                    </a:lnTo>
                    <a:lnTo>
                      <a:pt x="168711" y="74566"/>
                    </a:lnTo>
                    <a:lnTo>
                      <a:pt x="160712" y="77817"/>
                    </a:lnTo>
                    <a:lnTo>
                      <a:pt x="155301" y="76717"/>
                    </a:lnTo>
                    <a:lnTo>
                      <a:pt x="150903" y="76976"/>
                    </a:lnTo>
                    <a:lnTo>
                      <a:pt x="146067" y="78243"/>
                    </a:lnTo>
                    <a:lnTo>
                      <a:pt x="136702" y="87558"/>
                    </a:lnTo>
                    <a:lnTo>
                      <a:pt x="134549" y="91249"/>
                    </a:lnTo>
                    <a:lnTo>
                      <a:pt x="134720" y="93266"/>
                    </a:lnTo>
                    <a:lnTo>
                      <a:pt x="138213" y="96727"/>
                    </a:lnTo>
                    <a:lnTo>
                      <a:pt x="138591" y="99103"/>
                    </a:lnTo>
                    <a:lnTo>
                      <a:pt x="138323" y="102138"/>
                    </a:lnTo>
                    <a:lnTo>
                      <a:pt x="135790" y="103789"/>
                    </a:lnTo>
                    <a:lnTo>
                      <a:pt x="130116" y="104699"/>
                    </a:lnTo>
                    <a:lnTo>
                      <a:pt x="127960" y="107709"/>
                    </a:lnTo>
                    <a:lnTo>
                      <a:pt x="128123" y="110081"/>
                    </a:lnTo>
                    <a:lnTo>
                      <a:pt x="129362" y="111122"/>
                    </a:lnTo>
                    <a:lnTo>
                      <a:pt x="131864" y="111850"/>
                    </a:lnTo>
                    <a:lnTo>
                      <a:pt x="135002" y="111908"/>
                    </a:lnTo>
                    <a:lnTo>
                      <a:pt x="138145" y="111967"/>
                    </a:lnTo>
                    <a:lnTo>
                      <a:pt x="140251" y="111325"/>
                    </a:lnTo>
                    <a:lnTo>
                      <a:pt x="143419" y="110030"/>
                    </a:lnTo>
                    <a:lnTo>
                      <a:pt x="146147" y="109742"/>
                    </a:lnTo>
                    <a:lnTo>
                      <a:pt x="149498" y="109802"/>
                    </a:lnTo>
                    <a:lnTo>
                      <a:pt x="152629" y="110194"/>
                    </a:lnTo>
                    <a:lnTo>
                      <a:pt x="155721" y="113288"/>
                    </a:lnTo>
                    <a:lnTo>
                      <a:pt x="157954" y="117729"/>
                    </a:lnTo>
                    <a:lnTo>
                      <a:pt x="158497" y="122496"/>
                    </a:lnTo>
                    <a:lnTo>
                      <a:pt x="158400" y="128240"/>
                    </a:lnTo>
                    <a:lnTo>
                      <a:pt x="158281" y="135343"/>
                    </a:lnTo>
                    <a:lnTo>
                      <a:pt x="158172" y="141779"/>
                    </a:lnTo>
                    <a:lnTo>
                      <a:pt x="157743" y="145127"/>
                    </a:lnTo>
                    <a:lnTo>
                      <a:pt x="157672" y="145538"/>
                    </a:lnTo>
                    <a:lnTo>
                      <a:pt x="156217" y="145916"/>
                    </a:lnTo>
                    <a:lnTo>
                      <a:pt x="148347" y="151390"/>
                    </a:lnTo>
                    <a:lnTo>
                      <a:pt x="147691" y="160829"/>
                    </a:lnTo>
                    <a:lnTo>
                      <a:pt x="145514" y="161210"/>
                    </a:lnTo>
                    <a:lnTo>
                      <a:pt x="144982" y="161853"/>
                    </a:lnTo>
                    <a:lnTo>
                      <a:pt x="144956" y="163345"/>
                    </a:lnTo>
                    <a:lnTo>
                      <a:pt x="144356" y="166226"/>
                    </a:lnTo>
                    <a:lnTo>
                      <a:pt x="139813" y="176963"/>
                    </a:lnTo>
                    <a:lnTo>
                      <a:pt x="137666" y="176177"/>
                    </a:lnTo>
                    <a:lnTo>
                      <a:pt x="134512" y="173367"/>
                    </a:lnTo>
                    <a:lnTo>
                      <a:pt x="132850" y="174549"/>
                    </a:lnTo>
                    <a:lnTo>
                      <a:pt x="128661" y="178714"/>
                    </a:lnTo>
                    <a:lnTo>
                      <a:pt x="107537" y="177789"/>
                    </a:lnTo>
                    <a:lnTo>
                      <a:pt x="103911" y="178555"/>
                    </a:lnTo>
                    <a:lnTo>
                      <a:pt x="100193" y="181029"/>
                    </a:lnTo>
                    <a:lnTo>
                      <a:pt x="98040" y="183844"/>
                    </a:lnTo>
                    <a:lnTo>
                      <a:pt x="96089" y="187194"/>
                    </a:lnTo>
                    <a:lnTo>
                      <a:pt x="93888" y="189914"/>
                    </a:lnTo>
                    <a:lnTo>
                      <a:pt x="89356" y="191809"/>
                    </a:lnTo>
                    <a:lnTo>
                      <a:pt x="87310" y="195434"/>
                    </a:lnTo>
                    <a:lnTo>
                      <a:pt x="85145" y="196351"/>
                    </a:lnTo>
                    <a:lnTo>
                      <a:pt x="83966" y="195906"/>
                    </a:lnTo>
                    <a:lnTo>
                      <a:pt x="81534" y="193880"/>
                    </a:lnTo>
                    <a:lnTo>
                      <a:pt x="66183" y="188471"/>
                    </a:lnTo>
                    <a:lnTo>
                      <a:pt x="60540" y="184192"/>
                    </a:lnTo>
                    <a:lnTo>
                      <a:pt x="62802" y="180218"/>
                    </a:lnTo>
                    <a:lnTo>
                      <a:pt x="59515" y="172695"/>
                    </a:lnTo>
                    <a:lnTo>
                      <a:pt x="47892" y="169454"/>
                    </a:lnTo>
                    <a:lnTo>
                      <a:pt x="43453" y="164109"/>
                    </a:lnTo>
                    <a:lnTo>
                      <a:pt x="45008" y="161520"/>
                    </a:lnTo>
                    <a:lnTo>
                      <a:pt x="63152" y="164570"/>
                    </a:lnTo>
                    <a:lnTo>
                      <a:pt x="62680" y="163253"/>
                    </a:lnTo>
                    <a:lnTo>
                      <a:pt x="62128" y="160349"/>
                    </a:lnTo>
                    <a:lnTo>
                      <a:pt x="61654" y="159079"/>
                    </a:lnTo>
                    <a:lnTo>
                      <a:pt x="65155" y="159066"/>
                    </a:lnTo>
                    <a:lnTo>
                      <a:pt x="71298" y="161319"/>
                    </a:lnTo>
                    <a:lnTo>
                      <a:pt x="74688" y="161984"/>
                    </a:lnTo>
                    <a:lnTo>
                      <a:pt x="77925" y="161263"/>
                    </a:lnTo>
                    <a:lnTo>
                      <a:pt x="85977" y="156774"/>
                    </a:lnTo>
                    <a:lnTo>
                      <a:pt x="97485" y="154638"/>
                    </a:lnTo>
                    <a:lnTo>
                      <a:pt x="103337" y="150780"/>
                    </a:lnTo>
                    <a:lnTo>
                      <a:pt x="105767" y="150238"/>
                    </a:lnTo>
                    <a:lnTo>
                      <a:pt x="108865" y="152026"/>
                    </a:lnTo>
                    <a:lnTo>
                      <a:pt x="108911" y="149648"/>
                    </a:lnTo>
                    <a:lnTo>
                      <a:pt x="102284" y="142751"/>
                    </a:lnTo>
                    <a:lnTo>
                      <a:pt x="101142" y="133447"/>
                    </a:lnTo>
                    <a:lnTo>
                      <a:pt x="105195" y="125758"/>
                    </a:lnTo>
                    <a:lnTo>
                      <a:pt x="114273" y="123686"/>
                    </a:lnTo>
                    <a:lnTo>
                      <a:pt x="114328" y="120842"/>
                    </a:lnTo>
                    <a:lnTo>
                      <a:pt x="111530" y="122698"/>
                    </a:lnTo>
                    <a:lnTo>
                      <a:pt x="104625" y="125404"/>
                    </a:lnTo>
                    <a:lnTo>
                      <a:pt x="91285" y="126371"/>
                    </a:lnTo>
                    <a:lnTo>
                      <a:pt x="88341" y="128111"/>
                    </a:lnTo>
                    <a:lnTo>
                      <a:pt x="92209" y="128177"/>
                    </a:lnTo>
                    <a:lnTo>
                      <a:pt x="95025" y="129822"/>
                    </a:lnTo>
                    <a:lnTo>
                      <a:pt x="96051" y="133311"/>
                    </a:lnTo>
                    <a:lnTo>
                      <a:pt x="94588" y="138940"/>
                    </a:lnTo>
                    <a:lnTo>
                      <a:pt x="97877" y="142024"/>
                    </a:lnTo>
                    <a:lnTo>
                      <a:pt x="96942" y="146295"/>
                    </a:lnTo>
                    <a:lnTo>
                      <a:pt x="93338" y="150028"/>
                    </a:lnTo>
                    <a:lnTo>
                      <a:pt x="74862" y="153966"/>
                    </a:lnTo>
                    <a:lnTo>
                      <a:pt x="69712" y="154038"/>
                    </a:lnTo>
                    <a:lnTo>
                      <a:pt x="36824" y="148790"/>
                    </a:lnTo>
                    <a:lnTo>
                      <a:pt x="32604" y="150319"/>
                    </a:lnTo>
                    <a:lnTo>
                      <a:pt x="34806" y="156577"/>
                    </a:lnTo>
                    <a:lnTo>
                      <a:pt x="31969" y="159818"/>
                    </a:lnTo>
                    <a:lnTo>
                      <a:pt x="28599" y="159595"/>
                    </a:lnTo>
                    <a:lnTo>
                      <a:pt x="29220" y="155459"/>
                    </a:lnTo>
                    <a:lnTo>
                      <a:pt x="29278" y="153082"/>
                    </a:lnTo>
                    <a:lnTo>
                      <a:pt x="17788" y="143744"/>
                    </a:lnTo>
                    <a:lnTo>
                      <a:pt x="13239" y="142227"/>
                    </a:lnTo>
                    <a:lnTo>
                      <a:pt x="18297" y="142264"/>
                    </a:lnTo>
                    <a:lnTo>
                      <a:pt x="21675" y="141666"/>
                    </a:lnTo>
                    <a:lnTo>
                      <a:pt x="24341" y="139805"/>
                    </a:lnTo>
                    <a:lnTo>
                      <a:pt x="27210" y="135959"/>
                    </a:lnTo>
                    <a:lnTo>
                      <a:pt x="30679" y="132750"/>
                    </a:lnTo>
                    <a:lnTo>
                      <a:pt x="38667" y="131344"/>
                    </a:lnTo>
                    <a:lnTo>
                      <a:pt x="42789" y="129672"/>
                    </a:lnTo>
                    <a:lnTo>
                      <a:pt x="46593" y="125939"/>
                    </a:lnTo>
                    <a:lnTo>
                      <a:pt x="47428" y="122306"/>
                    </a:lnTo>
                    <a:lnTo>
                      <a:pt x="46422" y="112688"/>
                    </a:lnTo>
                    <a:lnTo>
                      <a:pt x="46302" y="106715"/>
                    </a:lnTo>
                    <a:lnTo>
                      <a:pt x="45465" y="101004"/>
                    </a:lnTo>
                    <a:lnTo>
                      <a:pt x="43598" y="96249"/>
                    </a:lnTo>
                    <a:lnTo>
                      <a:pt x="40424" y="93126"/>
                    </a:lnTo>
                    <a:lnTo>
                      <a:pt x="38748" y="95697"/>
                    </a:lnTo>
                    <a:lnTo>
                      <a:pt x="34611" y="91925"/>
                    </a:lnTo>
                    <a:lnTo>
                      <a:pt x="25350" y="90388"/>
                    </a:lnTo>
                    <a:lnTo>
                      <a:pt x="21216" y="87424"/>
                    </a:lnTo>
                    <a:lnTo>
                      <a:pt x="17793" y="89870"/>
                    </a:lnTo>
                    <a:lnTo>
                      <a:pt x="4609" y="92217"/>
                    </a:lnTo>
                    <a:lnTo>
                      <a:pt x="0" y="92095"/>
                    </a:lnTo>
                    <a:lnTo>
                      <a:pt x="1611" y="90753"/>
                    </a:lnTo>
                    <a:lnTo>
                      <a:pt x="3269" y="89817"/>
                    </a:lnTo>
                    <a:lnTo>
                      <a:pt x="3343" y="86960"/>
                    </a:lnTo>
                    <a:lnTo>
                      <a:pt x="2599" y="85275"/>
                    </a:lnTo>
                    <a:lnTo>
                      <a:pt x="2190" y="84037"/>
                    </a:lnTo>
                    <a:lnTo>
                      <a:pt x="2787" y="82870"/>
                    </a:lnTo>
                    <a:lnTo>
                      <a:pt x="5097" y="81532"/>
                    </a:lnTo>
                    <a:lnTo>
                      <a:pt x="5158" y="79186"/>
                    </a:lnTo>
                    <a:lnTo>
                      <a:pt x="3444" y="74242"/>
                    </a:lnTo>
                    <a:lnTo>
                      <a:pt x="5718" y="72017"/>
                    </a:lnTo>
                    <a:lnTo>
                      <a:pt x="14241" y="71586"/>
                    </a:lnTo>
                    <a:lnTo>
                      <a:pt x="18676" y="70021"/>
                    </a:lnTo>
                    <a:lnTo>
                      <a:pt x="25934" y="62852"/>
                    </a:lnTo>
                    <a:lnTo>
                      <a:pt x="29042" y="61282"/>
                    </a:lnTo>
                    <a:lnTo>
                      <a:pt x="36314" y="60375"/>
                    </a:lnTo>
                    <a:lnTo>
                      <a:pt x="46021" y="56987"/>
                    </a:lnTo>
                    <a:lnTo>
                      <a:pt x="53588" y="50637"/>
                    </a:lnTo>
                    <a:lnTo>
                      <a:pt x="54525" y="40786"/>
                    </a:lnTo>
                    <a:lnTo>
                      <a:pt x="57875" y="40865"/>
                    </a:lnTo>
                    <a:lnTo>
                      <a:pt x="57929" y="38503"/>
                    </a:lnTo>
                    <a:lnTo>
                      <a:pt x="55172" y="35981"/>
                    </a:lnTo>
                    <a:lnTo>
                      <a:pt x="55595" y="33426"/>
                    </a:lnTo>
                    <a:lnTo>
                      <a:pt x="58223" y="31514"/>
                    </a:lnTo>
                    <a:lnTo>
                      <a:pt x="62126" y="30779"/>
                    </a:lnTo>
                    <a:lnTo>
                      <a:pt x="68488" y="31345"/>
                    </a:lnTo>
                    <a:lnTo>
                      <a:pt x="71188" y="32199"/>
                    </a:lnTo>
                    <a:lnTo>
                      <a:pt x="83576" y="39283"/>
                    </a:lnTo>
                    <a:lnTo>
                      <a:pt x="88094" y="39397"/>
                    </a:lnTo>
                    <a:lnTo>
                      <a:pt x="94938" y="36728"/>
                    </a:lnTo>
                    <a:lnTo>
                      <a:pt x="93439" y="31473"/>
                    </a:lnTo>
                    <a:lnTo>
                      <a:pt x="97872" y="32359"/>
                    </a:lnTo>
                    <a:lnTo>
                      <a:pt x="106832" y="36151"/>
                    </a:lnTo>
                    <a:lnTo>
                      <a:pt x="111935" y="37078"/>
                    </a:lnTo>
                    <a:lnTo>
                      <a:pt x="114120" y="35536"/>
                    </a:lnTo>
                    <a:lnTo>
                      <a:pt x="113820" y="31799"/>
                    </a:lnTo>
                    <a:lnTo>
                      <a:pt x="112862" y="27442"/>
                    </a:lnTo>
                    <a:lnTo>
                      <a:pt x="112996" y="24040"/>
                    </a:lnTo>
                    <a:lnTo>
                      <a:pt x="114813" y="22584"/>
                    </a:lnTo>
                    <a:lnTo>
                      <a:pt x="122690" y="21386"/>
                    </a:lnTo>
                    <a:lnTo>
                      <a:pt x="127312" y="18257"/>
                    </a:lnTo>
                    <a:lnTo>
                      <a:pt x="130774" y="14126"/>
                    </a:lnTo>
                    <a:lnTo>
                      <a:pt x="136702" y="4708"/>
                    </a:lnTo>
                    <a:lnTo>
                      <a:pt x="141106" y="0"/>
                    </a:lnTo>
                    <a:lnTo>
                      <a:pt x="144334" y="12"/>
                    </a:lnTo>
                    <a:lnTo>
                      <a:pt x="147289" y="2437"/>
                    </a:lnTo>
                    <a:lnTo>
                      <a:pt x="147282" y="2459"/>
                    </a:lnTo>
                    <a:lnTo>
                      <a:pt x="147005" y="3382"/>
                    </a:lnTo>
                    <a:lnTo>
                      <a:pt x="146958" y="3628"/>
                    </a:lnTo>
                    <a:lnTo>
                      <a:pt x="146284" y="6786"/>
                    </a:lnTo>
                    <a:lnTo>
                      <a:pt x="145981" y="1254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1" name="Freeform 107">
                <a:extLst>
                  <a:ext uri="{FF2B5EF4-FFF2-40B4-BE49-F238E27FC236}">
                    <a16:creationId xmlns:a16="http://schemas.microsoft.com/office/drawing/2014/main" id="{05A837A3-5575-78AF-7007-840007A0D0F9}"/>
                  </a:ext>
                </a:extLst>
              </p:cNvPr>
              <p:cNvSpPr>
                <a:spLocks noChangeAspect="1"/>
              </p:cNvSpPr>
              <p:nvPr>
                <p:custDataLst>
                  <p:tags r:id="rId82"/>
                </p:custDataLst>
              </p:nvPr>
            </p:nvSpPr>
            <p:spPr>
              <a:xfrm>
                <a:off x="4586700" y="4397030"/>
                <a:ext cx="57925" cy="54974"/>
              </a:xfrm>
              <a:custGeom>
                <a:avLst/>
                <a:gdLst/>
                <a:ahLst/>
                <a:cxnLst/>
                <a:rect l="0" t="0" r="0" b="0"/>
                <a:pathLst>
                  <a:path w="59473" h="56444">
                    <a:moveTo>
                      <a:pt x="59472" y="49464"/>
                    </a:moveTo>
                    <a:lnTo>
                      <a:pt x="59468" y="49476"/>
                    </a:lnTo>
                    <a:lnTo>
                      <a:pt x="59044" y="50496"/>
                    </a:lnTo>
                    <a:lnTo>
                      <a:pt x="57540" y="53992"/>
                    </a:lnTo>
                    <a:lnTo>
                      <a:pt x="55259" y="55400"/>
                    </a:lnTo>
                    <a:lnTo>
                      <a:pt x="48507" y="52679"/>
                    </a:lnTo>
                    <a:lnTo>
                      <a:pt x="36917" y="53914"/>
                    </a:lnTo>
                    <a:lnTo>
                      <a:pt x="27439" y="49405"/>
                    </a:lnTo>
                    <a:lnTo>
                      <a:pt x="20789" y="56443"/>
                    </a:lnTo>
                    <a:lnTo>
                      <a:pt x="17279" y="50476"/>
                    </a:lnTo>
                    <a:lnTo>
                      <a:pt x="11701" y="38653"/>
                    </a:lnTo>
                    <a:lnTo>
                      <a:pt x="3417" y="27818"/>
                    </a:lnTo>
                    <a:lnTo>
                      <a:pt x="279" y="22092"/>
                    </a:lnTo>
                    <a:lnTo>
                      <a:pt x="0" y="16170"/>
                    </a:lnTo>
                    <a:lnTo>
                      <a:pt x="2453" y="12353"/>
                    </a:lnTo>
                    <a:lnTo>
                      <a:pt x="6598" y="10036"/>
                    </a:lnTo>
                    <a:lnTo>
                      <a:pt x="16305" y="8504"/>
                    </a:lnTo>
                    <a:lnTo>
                      <a:pt x="20950" y="6680"/>
                    </a:lnTo>
                    <a:lnTo>
                      <a:pt x="29108" y="0"/>
                    </a:lnTo>
                    <a:lnTo>
                      <a:pt x="34279" y="362"/>
                    </a:lnTo>
                    <a:lnTo>
                      <a:pt x="39634" y="6844"/>
                    </a:lnTo>
                    <a:lnTo>
                      <a:pt x="53363" y="42206"/>
                    </a:lnTo>
                    <a:lnTo>
                      <a:pt x="57469" y="476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2" name="Freeform 108">
                <a:extLst>
                  <a:ext uri="{FF2B5EF4-FFF2-40B4-BE49-F238E27FC236}">
                    <a16:creationId xmlns:a16="http://schemas.microsoft.com/office/drawing/2014/main" id="{85349443-DDD8-1D21-1AE7-2A4003F78C0A}"/>
                  </a:ext>
                </a:extLst>
              </p:cNvPr>
              <p:cNvSpPr>
                <a:spLocks noChangeAspect="1"/>
              </p:cNvSpPr>
              <p:nvPr>
                <p:custDataLst>
                  <p:tags r:id="rId83"/>
                </p:custDataLst>
              </p:nvPr>
            </p:nvSpPr>
            <p:spPr>
              <a:xfrm>
                <a:off x="3986289" y="5329651"/>
                <a:ext cx="368063" cy="355262"/>
              </a:xfrm>
              <a:custGeom>
                <a:avLst/>
                <a:gdLst/>
                <a:ahLst/>
                <a:cxnLst/>
                <a:rect l="0" t="0" r="0" b="0"/>
                <a:pathLst>
                  <a:path w="377902" h="364759">
                    <a:moveTo>
                      <a:pt x="324705" y="62871"/>
                    </a:moveTo>
                    <a:lnTo>
                      <a:pt x="327566" y="58776"/>
                    </a:lnTo>
                    <a:lnTo>
                      <a:pt x="331834" y="61162"/>
                    </a:lnTo>
                    <a:lnTo>
                      <a:pt x="331451" y="69860"/>
                    </a:lnTo>
                    <a:lnTo>
                      <a:pt x="335105" y="78396"/>
                    </a:lnTo>
                    <a:lnTo>
                      <a:pt x="335373" y="88680"/>
                    </a:lnTo>
                    <a:lnTo>
                      <a:pt x="338679" y="94031"/>
                    </a:lnTo>
                    <a:lnTo>
                      <a:pt x="341401" y="107753"/>
                    </a:lnTo>
                    <a:lnTo>
                      <a:pt x="350764" y="114452"/>
                    </a:lnTo>
                    <a:lnTo>
                      <a:pt x="349293" y="128858"/>
                    </a:lnTo>
                    <a:lnTo>
                      <a:pt x="353172" y="131886"/>
                    </a:lnTo>
                    <a:lnTo>
                      <a:pt x="356073" y="137645"/>
                    </a:lnTo>
                    <a:lnTo>
                      <a:pt x="356582" y="146233"/>
                    </a:lnTo>
                    <a:lnTo>
                      <a:pt x="369574" y="149778"/>
                    </a:lnTo>
                    <a:lnTo>
                      <a:pt x="371572" y="152662"/>
                    </a:lnTo>
                    <a:lnTo>
                      <a:pt x="372727" y="157983"/>
                    </a:lnTo>
                    <a:lnTo>
                      <a:pt x="377901" y="160160"/>
                    </a:lnTo>
                    <a:lnTo>
                      <a:pt x="377807" y="163129"/>
                    </a:lnTo>
                    <a:lnTo>
                      <a:pt x="376030" y="164807"/>
                    </a:lnTo>
                    <a:lnTo>
                      <a:pt x="369211" y="164622"/>
                    </a:lnTo>
                    <a:lnTo>
                      <a:pt x="368557" y="168749"/>
                    </a:lnTo>
                    <a:lnTo>
                      <a:pt x="365897" y="173870"/>
                    </a:lnTo>
                    <a:lnTo>
                      <a:pt x="364417" y="176831"/>
                    </a:lnTo>
                    <a:lnTo>
                      <a:pt x="365997" y="179061"/>
                    </a:lnTo>
                    <a:lnTo>
                      <a:pt x="367444" y="176235"/>
                    </a:lnTo>
                    <a:lnTo>
                      <a:pt x="370063" y="175949"/>
                    </a:lnTo>
                    <a:lnTo>
                      <a:pt x="372467" y="181185"/>
                    </a:lnTo>
                    <a:lnTo>
                      <a:pt x="372200" y="182218"/>
                    </a:lnTo>
                    <a:lnTo>
                      <a:pt x="370307" y="184947"/>
                    </a:lnTo>
                    <a:lnTo>
                      <a:pt x="367825" y="186256"/>
                    </a:lnTo>
                    <a:lnTo>
                      <a:pt x="364854" y="186098"/>
                    </a:lnTo>
                    <a:lnTo>
                      <a:pt x="364828" y="188460"/>
                    </a:lnTo>
                    <a:lnTo>
                      <a:pt x="368340" y="190891"/>
                    </a:lnTo>
                    <a:lnTo>
                      <a:pt x="369289" y="194771"/>
                    </a:lnTo>
                    <a:lnTo>
                      <a:pt x="368373" y="198816"/>
                    </a:lnTo>
                    <a:lnTo>
                      <a:pt x="366198" y="201744"/>
                    </a:lnTo>
                    <a:lnTo>
                      <a:pt x="363032" y="202733"/>
                    </a:lnTo>
                    <a:lnTo>
                      <a:pt x="351231" y="201568"/>
                    </a:lnTo>
                    <a:lnTo>
                      <a:pt x="355278" y="207520"/>
                    </a:lnTo>
                    <a:lnTo>
                      <a:pt x="369164" y="205443"/>
                    </a:lnTo>
                    <a:lnTo>
                      <a:pt x="374587" y="209651"/>
                    </a:lnTo>
                    <a:lnTo>
                      <a:pt x="366086" y="211934"/>
                    </a:lnTo>
                    <a:lnTo>
                      <a:pt x="366057" y="214544"/>
                    </a:lnTo>
                    <a:lnTo>
                      <a:pt x="368108" y="214008"/>
                    </a:lnTo>
                    <a:lnTo>
                      <a:pt x="372876" y="214620"/>
                    </a:lnTo>
                    <a:lnTo>
                      <a:pt x="371029" y="217443"/>
                    </a:lnTo>
                    <a:lnTo>
                      <a:pt x="377850" y="217517"/>
                    </a:lnTo>
                    <a:lnTo>
                      <a:pt x="377825" y="219894"/>
                    </a:lnTo>
                    <a:lnTo>
                      <a:pt x="375064" y="220859"/>
                    </a:lnTo>
                    <a:lnTo>
                      <a:pt x="373415" y="222876"/>
                    </a:lnTo>
                    <a:lnTo>
                      <a:pt x="373109" y="225483"/>
                    </a:lnTo>
                    <a:lnTo>
                      <a:pt x="374392" y="228153"/>
                    </a:lnTo>
                    <a:lnTo>
                      <a:pt x="374367" y="230515"/>
                    </a:lnTo>
                    <a:lnTo>
                      <a:pt x="369185" y="230116"/>
                    </a:lnTo>
                    <a:lnTo>
                      <a:pt x="366623" y="225411"/>
                    </a:lnTo>
                    <a:lnTo>
                      <a:pt x="364389" y="219978"/>
                    </a:lnTo>
                    <a:lnTo>
                      <a:pt x="360208" y="217320"/>
                    </a:lnTo>
                    <a:lnTo>
                      <a:pt x="339449" y="211612"/>
                    </a:lnTo>
                    <a:lnTo>
                      <a:pt x="328219" y="212676"/>
                    </a:lnTo>
                    <a:lnTo>
                      <a:pt x="310375" y="223612"/>
                    </a:lnTo>
                    <a:lnTo>
                      <a:pt x="300767" y="227199"/>
                    </a:lnTo>
                    <a:lnTo>
                      <a:pt x="260578" y="228909"/>
                    </a:lnTo>
                    <a:lnTo>
                      <a:pt x="260628" y="229530"/>
                    </a:lnTo>
                    <a:lnTo>
                      <a:pt x="259844" y="230604"/>
                    </a:lnTo>
                    <a:lnTo>
                      <a:pt x="258587" y="231515"/>
                    </a:lnTo>
                    <a:lnTo>
                      <a:pt x="257206" y="231460"/>
                    </a:lnTo>
                    <a:lnTo>
                      <a:pt x="254038" y="220977"/>
                    </a:lnTo>
                    <a:lnTo>
                      <a:pt x="252295" y="220666"/>
                    </a:lnTo>
                    <a:lnTo>
                      <a:pt x="250848" y="221619"/>
                    </a:lnTo>
                    <a:lnTo>
                      <a:pt x="249515" y="222870"/>
                    </a:lnTo>
                    <a:lnTo>
                      <a:pt x="248094" y="223481"/>
                    </a:lnTo>
                    <a:lnTo>
                      <a:pt x="243150" y="223856"/>
                    </a:lnTo>
                    <a:lnTo>
                      <a:pt x="238105" y="225426"/>
                    </a:lnTo>
                    <a:lnTo>
                      <a:pt x="235316" y="228512"/>
                    </a:lnTo>
                    <a:lnTo>
                      <a:pt x="237144" y="233457"/>
                    </a:lnTo>
                    <a:lnTo>
                      <a:pt x="237092" y="236315"/>
                    </a:lnTo>
                    <a:lnTo>
                      <a:pt x="235376" y="237696"/>
                    </a:lnTo>
                    <a:lnTo>
                      <a:pt x="233065" y="240123"/>
                    </a:lnTo>
                    <a:lnTo>
                      <a:pt x="231006" y="242850"/>
                    </a:lnTo>
                    <a:lnTo>
                      <a:pt x="230105" y="245287"/>
                    </a:lnTo>
                    <a:lnTo>
                      <a:pt x="230420" y="247624"/>
                    </a:lnTo>
                    <a:lnTo>
                      <a:pt x="231685" y="250212"/>
                    </a:lnTo>
                    <a:lnTo>
                      <a:pt x="231655" y="251843"/>
                    </a:lnTo>
                    <a:lnTo>
                      <a:pt x="228608" y="258933"/>
                    </a:lnTo>
                    <a:lnTo>
                      <a:pt x="228150" y="261038"/>
                    </a:lnTo>
                    <a:lnTo>
                      <a:pt x="225652" y="263661"/>
                    </a:lnTo>
                    <a:lnTo>
                      <a:pt x="213566" y="261512"/>
                    </a:lnTo>
                    <a:lnTo>
                      <a:pt x="208880" y="263375"/>
                    </a:lnTo>
                    <a:lnTo>
                      <a:pt x="204221" y="268796"/>
                    </a:lnTo>
                    <a:lnTo>
                      <a:pt x="199900" y="271207"/>
                    </a:lnTo>
                    <a:lnTo>
                      <a:pt x="189432" y="274451"/>
                    </a:lnTo>
                    <a:lnTo>
                      <a:pt x="186074" y="277766"/>
                    </a:lnTo>
                    <a:lnTo>
                      <a:pt x="175473" y="295248"/>
                    </a:lnTo>
                    <a:lnTo>
                      <a:pt x="172605" y="290429"/>
                    </a:lnTo>
                    <a:lnTo>
                      <a:pt x="171474" y="276885"/>
                    </a:lnTo>
                    <a:lnTo>
                      <a:pt x="168399" y="273988"/>
                    </a:lnTo>
                    <a:lnTo>
                      <a:pt x="163529" y="275244"/>
                    </a:lnTo>
                    <a:lnTo>
                      <a:pt x="163294" y="278626"/>
                    </a:lnTo>
                    <a:lnTo>
                      <a:pt x="163625" y="282985"/>
                    </a:lnTo>
                    <a:lnTo>
                      <a:pt x="160424" y="287075"/>
                    </a:lnTo>
                    <a:lnTo>
                      <a:pt x="160370" y="289451"/>
                    </a:lnTo>
                    <a:lnTo>
                      <a:pt x="161831" y="290604"/>
                    </a:lnTo>
                    <a:lnTo>
                      <a:pt x="165423" y="295021"/>
                    </a:lnTo>
                    <a:lnTo>
                      <a:pt x="163363" y="294788"/>
                    </a:lnTo>
                    <a:lnTo>
                      <a:pt x="161732" y="295466"/>
                    </a:lnTo>
                    <a:lnTo>
                      <a:pt x="158664" y="297477"/>
                    </a:lnTo>
                    <a:lnTo>
                      <a:pt x="156291" y="299162"/>
                    </a:lnTo>
                    <a:lnTo>
                      <a:pt x="155909" y="301951"/>
                    </a:lnTo>
                    <a:lnTo>
                      <a:pt x="155998" y="305092"/>
                    </a:lnTo>
                    <a:lnTo>
                      <a:pt x="154937" y="307832"/>
                    </a:lnTo>
                    <a:lnTo>
                      <a:pt x="152724" y="309458"/>
                    </a:lnTo>
                    <a:lnTo>
                      <a:pt x="144779" y="312782"/>
                    </a:lnTo>
                    <a:lnTo>
                      <a:pt x="147557" y="312739"/>
                    </a:lnTo>
                    <a:lnTo>
                      <a:pt x="149649" y="313364"/>
                    </a:lnTo>
                    <a:lnTo>
                      <a:pt x="153083" y="315590"/>
                    </a:lnTo>
                    <a:lnTo>
                      <a:pt x="154297" y="315788"/>
                    </a:lnTo>
                    <a:lnTo>
                      <a:pt x="157145" y="315312"/>
                    </a:lnTo>
                    <a:lnTo>
                      <a:pt x="158254" y="315710"/>
                    </a:lnTo>
                    <a:lnTo>
                      <a:pt x="158786" y="317385"/>
                    </a:lnTo>
                    <a:lnTo>
                      <a:pt x="159541" y="322483"/>
                    </a:lnTo>
                    <a:lnTo>
                      <a:pt x="160515" y="323578"/>
                    </a:lnTo>
                    <a:lnTo>
                      <a:pt x="161512" y="326817"/>
                    </a:lnTo>
                    <a:lnTo>
                      <a:pt x="158168" y="333779"/>
                    </a:lnTo>
                    <a:lnTo>
                      <a:pt x="150911" y="344224"/>
                    </a:lnTo>
                    <a:lnTo>
                      <a:pt x="148630" y="344697"/>
                    </a:lnTo>
                    <a:lnTo>
                      <a:pt x="143703" y="343647"/>
                    </a:lnTo>
                    <a:lnTo>
                      <a:pt x="140694" y="343980"/>
                    </a:lnTo>
                    <a:lnTo>
                      <a:pt x="138980" y="345398"/>
                    </a:lnTo>
                    <a:lnTo>
                      <a:pt x="131485" y="353855"/>
                    </a:lnTo>
                    <a:lnTo>
                      <a:pt x="128419" y="362729"/>
                    </a:lnTo>
                    <a:lnTo>
                      <a:pt x="127529" y="364758"/>
                    </a:lnTo>
                    <a:lnTo>
                      <a:pt x="125348" y="363849"/>
                    </a:lnTo>
                    <a:lnTo>
                      <a:pt x="122875" y="361736"/>
                    </a:lnTo>
                    <a:lnTo>
                      <a:pt x="115694" y="353302"/>
                    </a:lnTo>
                    <a:lnTo>
                      <a:pt x="114549" y="351455"/>
                    </a:lnTo>
                    <a:lnTo>
                      <a:pt x="113565" y="348772"/>
                    </a:lnTo>
                    <a:lnTo>
                      <a:pt x="112815" y="343951"/>
                    </a:lnTo>
                    <a:lnTo>
                      <a:pt x="113081" y="340881"/>
                    </a:lnTo>
                    <a:lnTo>
                      <a:pt x="113049" y="338177"/>
                    </a:lnTo>
                    <a:lnTo>
                      <a:pt x="111404" y="334358"/>
                    </a:lnTo>
                    <a:lnTo>
                      <a:pt x="104661" y="322714"/>
                    </a:lnTo>
                    <a:lnTo>
                      <a:pt x="100870" y="317812"/>
                    </a:lnTo>
                    <a:lnTo>
                      <a:pt x="96149" y="314159"/>
                    </a:lnTo>
                    <a:lnTo>
                      <a:pt x="81567" y="306707"/>
                    </a:lnTo>
                    <a:lnTo>
                      <a:pt x="71680" y="304613"/>
                    </a:lnTo>
                    <a:lnTo>
                      <a:pt x="63629" y="299365"/>
                    </a:lnTo>
                    <a:lnTo>
                      <a:pt x="59579" y="297508"/>
                    </a:lnTo>
                    <a:lnTo>
                      <a:pt x="54465" y="297671"/>
                    </a:lnTo>
                    <a:lnTo>
                      <a:pt x="47988" y="299733"/>
                    </a:lnTo>
                    <a:lnTo>
                      <a:pt x="43198" y="303508"/>
                    </a:lnTo>
                    <a:lnTo>
                      <a:pt x="43117" y="308744"/>
                    </a:lnTo>
                    <a:lnTo>
                      <a:pt x="44392" y="315433"/>
                    </a:lnTo>
                    <a:lnTo>
                      <a:pt x="41569" y="320477"/>
                    </a:lnTo>
                    <a:lnTo>
                      <a:pt x="37072" y="323886"/>
                    </a:lnTo>
                    <a:lnTo>
                      <a:pt x="33342" y="325638"/>
                    </a:lnTo>
                    <a:lnTo>
                      <a:pt x="23177" y="328591"/>
                    </a:lnTo>
                    <a:lnTo>
                      <a:pt x="11372" y="329497"/>
                    </a:lnTo>
                    <a:lnTo>
                      <a:pt x="2214" y="325599"/>
                    </a:lnTo>
                    <a:lnTo>
                      <a:pt x="0" y="313917"/>
                    </a:lnTo>
                    <a:lnTo>
                      <a:pt x="2385" y="313699"/>
                    </a:lnTo>
                    <a:lnTo>
                      <a:pt x="4164" y="313025"/>
                    </a:lnTo>
                    <a:lnTo>
                      <a:pt x="5270" y="311491"/>
                    </a:lnTo>
                    <a:lnTo>
                      <a:pt x="5365" y="309100"/>
                    </a:lnTo>
                    <a:lnTo>
                      <a:pt x="4762" y="307262"/>
                    </a:lnTo>
                    <a:lnTo>
                      <a:pt x="4006" y="306212"/>
                    </a:lnTo>
                    <a:lnTo>
                      <a:pt x="3596" y="306215"/>
                    </a:lnTo>
                    <a:lnTo>
                      <a:pt x="2494" y="298982"/>
                    </a:lnTo>
                    <a:lnTo>
                      <a:pt x="2172" y="294915"/>
                    </a:lnTo>
                    <a:lnTo>
                      <a:pt x="3164" y="293175"/>
                    </a:lnTo>
                    <a:lnTo>
                      <a:pt x="3662" y="291917"/>
                    </a:lnTo>
                    <a:lnTo>
                      <a:pt x="8534" y="284084"/>
                    </a:lnTo>
                    <a:lnTo>
                      <a:pt x="10508" y="282810"/>
                    </a:lnTo>
                    <a:lnTo>
                      <a:pt x="17783" y="280350"/>
                    </a:lnTo>
                    <a:lnTo>
                      <a:pt x="33662" y="271747"/>
                    </a:lnTo>
                    <a:lnTo>
                      <a:pt x="42111" y="269081"/>
                    </a:lnTo>
                    <a:lnTo>
                      <a:pt x="51693" y="263273"/>
                    </a:lnTo>
                    <a:lnTo>
                      <a:pt x="57041" y="263304"/>
                    </a:lnTo>
                    <a:lnTo>
                      <a:pt x="64423" y="270791"/>
                    </a:lnTo>
                    <a:lnTo>
                      <a:pt x="69284" y="273386"/>
                    </a:lnTo>
                    <a:lnTo>
                      <a:pt x="74407" y="270421"/>
                    </a:lnTo>
                    <a:lnTo>
                      <a:pt x="78096" y="264837"/>
                    </a:lnTo>
                    <a:lnTo>
                      <a:pt x="79929" y="261111"/>
                    </a:lnTo>
                    <a:lnTo>
                      <a:pt x="80751" y="257575"/>
                    </a:lnTo>
                    <a:lnTo>
                      <a:pt x="82093" y="256182"/>
                    </a:lnTo>
                    <a:lnTo>
                      <a:pt x="90808" y="256421"/>
                    </a:lnTo>
                    <a:lnTo>
                      <a:pt x="100003" y="251586"/>
                    </a:lnTo>
                    <a:lnTo>
                      <a:pt x="128717" y="222862"/>
                    </a:lnTo>
                    <a:lnTo>
                      <a:pt x="137834" y="216794"/>
                    </a:lnTo>
                    <a:lnTo>
                      <a:pt x="141196" y="215757"/>
                    </a:lnTo>
                    <a:lnTo>
                      <a:pt x="142076" y="213821"/>
                    </a:lnTo>
                    <a:lnTo>
                      <a:pt x="142379" y="209398"/>
                    </a:lnTo>
                    <a:lnTo>
                      <a:pt x="142154" y="204623"/>
                    </a:lnTo>
                    <a:lnTo>
                      <a:pt x="140719" y="196910"/>
                    </a:lnTo>
                    <a:lnTo>
                      <a:pt x="143510" y="195066"/>
                    </a:lnTo>
                    <a:lnTo>
                      <a:pt x="147205" y="194876"/>
                    </a:lnTo>
                    <a:lnTo>
                      <a:pt x="149035" y="195092"/>
                    </a:lnTo>
                    <a:lnTo>
                      <a:pt x="166163" y="186354"/>
                    </a:lnTo>
                    <a:lnTo>
                      <a:pt x="166727" y="184191"/>
                    </a:lnTo>
                    <a:lnTo>
                      <a:pt x="169140" y="179087"/>
                    </a:lnTo>
                    <a:lnTo>
                      <a:pt x="171645" y="164302"/>
                    </a:lnTo>
                    <a:lnTo>
                      <a:pt x="172093" y="156573"/>
                    </a:lnTo>
                    <a:lnTo>
                      <a:pt x="173058" y="150021"/>
                    </a:lnTo>
                    <a:lnTo>
                      <a:pt x="175517" y="144808"/>
                    </a:lnTo>
                    <a:lnTo>
                      <a:pt x="180464" y="141048"/>
                    </a:lnTo>
                    <a:lnTo>
                      <a:pt x="185427" y="141158"/>
                    </a:lnTo>
                    <a:lnTo>
                      <a:pt x="187234" y="139891"/>
                    </a:lnTo>
                    <a:lnTo>
                      <a:pt x="190474" y="136279"/>
                    </a:lnTo>
                    <a:lnTo>
                      <a:pt x="192321" y="135852"/>
                    </a:lnTo>
                    <a:lnTo>
                      <a:pt x="193681" y="137980"/>
                    </a:lnTo>
                    <a:lnTo>
                      <a:pt x="194646" y="142445"/>
                    </a:lnTo>
                    <a:lnTo>
                      <a:pt x="195191" y="147678"/>
                    </a:lnTo>
                    <a:lnTo>
                      <a:pt x="195308" y="152033"/>
                    </a:lnTo>
                    <a:lnTo>
                      <a:pt x="196961" y="151057"/>
                    </a:lnTo>
                    <a:lnTo>
                      <a:pt x="197597" y="150464"/>
                    </a:lnTo>
                    <a:lnTo>
                      <a:pt x="198542" y="149272"/>
                    </a:lnTo>
                    <a:lnTo>
                      <a:pt x="202887" y="152067"/>
                    </a:lnTo>
                    <a:lnTo>
                      <a:pt x="212956" y="152803"/>
                    </a:lnTo>
                    <a:lnTo>
                      <a:pt x="216835" y="154839"/>
                    </a:lnTo>
                    <a:lnTo>
                      <a:pt x="214264" y="149690"/>
                    </a:lnTo>
                    <a:lnTo>
                      <a:pt x="210072" y="147056"/>
                    </a:lnTo>
                    <a:lnTo>
                      <a:pt x="202123" y="143878"/>
                    </a:lnTo>
                    <a:lnTo>
                      <a:pt x="198428" y="138873"/>
                    </a:lnTo>
                    <a:lnTo>
                      <a:pt x="198897" y="135339"/>
                    </a:lnTo>
                    <a:lnTo>
                      <a:pt x="200187" y="132182"/>
                    </a:lnTo>
                    <a:lnTo>
                      <a:pt x="198974" y="128161"/>
                    </a:lnTo>
                    <a:lnTo>
                      <a:pt x="199023" y="125785"/>
                    </a:lnTo>
                    <a:lnTo>
                      <a:pt x="205033" y="127155"/>
                    </a:lnTo>
                    <a:lnTo>
                      <a:pt x="223132" y="126276"/>
                    </a:lnTo>
                    <a:lnTo>
                      <a:pt x="230147" y="124114"/>
                    </a:lnTo>
                    <a:lnTo>
                      <a:pt x="234103" y="118596"/>
                    </a:lnTo>
                    <a:lnTo>
                      <a:pt x="237034" y="111720"/>
                    </a:lnTo>
                    <a:lnTo>
                      <a:pt x="240977" y="105516"/>
                    </a:lnTo>
                    <a:lnTo>
                      <a:pt x="239582" y="99786"/>
                    </a:lnTo>
                    <a:lnTo>
                      <a:pt x="240504" y="95717"/>
                    </a:lnTo>
                    <a:lnTo>
                      <a:pt x="242963" y="93928"/>
                    </a:lnTo>
                    <a:lnTo>
                      <a:pt x="246287" y="94969"/>
                    </a:lnTo>
                    <a:lnTo>
                      <a:pt x="263703" y="80455"/>
                    </a:lnTo>
                    <a:lnTo>
                      <a:pt x="266620" y="75766"/>
                    </a:lnTo>
                    <a:lnTo>
                      <a:pt x="268613" y="69071"/>
                    </a:lnTo>
                    <a:lnTo>
                      <a:pt x="273246" y="63945"/>
                    </a:lnTo>
                    <a:lnTo>
                      <a:pt x="283465" y="56498"/>
                    </a:lnTo>
                    <a:lnTo>
                      <a:pt x="290232" y="43306"/>
                    </a:lnTo>
                    <a:lnTo>
                      <a:pt x="289596" y="9603"/>
                    </a:lnTo>
                    <a:lnTo>
                      <a:pt x="291381" y="0"/>
                    </a:lnTo>
                    <a:lnTo>
                      <a:pt x="291392" y="1"/>
                    </a:lnTo>
                    <a:lnTo>
                      <a:pt x="313007" y="1070"/>
                    </a:lnTo>
                    <a:lnTo>
                      <a:pt x="313506" y="8508"/>
                    </a:lnTo>
                    <a:lnTo>
                      <a:pt x="316388" y="12260"/>
                    </a:lnTo>
                    <a:lnTo>
                      <a:pt x="322433" y="26458"/>
                    </a:lnTo>
                    <a:lnTo>
                      <a:pt x="321263" y="28986"/>
                    </a:lnTo>
                    <a:lnTo>
                      <a:pt x="317139" y="31691"/>
                    </a:lnTo>
                    <a:lnTo>
                      <a:pt x="316465" y="41115"/>
                    </a:lnTo>
                    <a:lnTo>
                      <a:pt x="314357" y="47558"/>
                    </a:lnTo>
                    <a:lnTo>
                      <a:pt x="307000" y="50203"/>
                    </a:lnTo>
                    <a:lnTo>
                      <a:pt x="305761" y="52523"/>
                    </a:lnTo>
                    <a:lnTo>
                      <a:pt x="308682" y="54797"/>
                    </a:lnTo>
                    <a:lnTo>
                      <a:pt x="316537" y="55128"/>
                    </a:lnTo>
                    <a:lnTo>
                      <a:pt x="323153" y="6253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3" name="Freeform 109">
                <a:extLst>
                  <a:ext uri="{FF2B5EF4-FFF2-40B4-BE49-F238E27FC236}">
                    <a16:creationId xmlns:a16="http://schemas.microsoft.com/office/drawing/2014/main" id="{856BF9AC-04AA-7AD4-1EA7-3E7A013A7E1B}"/>
                  </a:ext>
                </a:extLst>
              </p:cNvPr>
              <p:cNvSpPr>
                <a:spLocks noChangeAspect="1"/>
              </p:cNvSpPr>
              <p:nvPr>
                <p:custDataLst>
                  <p:tags r:id="rId84"/>
                </p:custDataLst>
              </p:nvPr>
            </p:nvSpPr>
            <p:spPr>
              <a:xfrm>
                <a:off x="4420005" y="4607321"/>
                <a:ext cx="220650" cy="416285"/>
              </a:xfrm>
              <a:custGeom>
                <a:avLst/>
                <a:gdLst/>
                <a:ahLst/>
                <a:cxnLst/>
                <a:rect l="0" t="0" r="0" b="0"/>
                <a:pathLst>
                  <a:path w="226548" h="427413">
                    <a:moveTo>
                      <a:pt x="159025" y="34754"/>
                    </a:moveTo>
                    <a:lnTo>
                      <a:pt x="170870" y="29311"/>
                    </a:lnTo>
                    <a:lnTo>
                      <a:pt x="182420" y="28102"/>
                    </a:lnTo>
                    <a:lnTo>
                      <a:pt x="182526" y="28091"/>
                    </a:lnTo>
                    <a:lnTo>
                      <a:pt x="182552" y="28171"/>
                    </a:lnTo>
                    <a:lnTo>
                      <a:pt x="184921" y="30728"/>
                    </a:lnTo>
                    <a:lnTo>
                      <a:pt x="188870" y="32556"/>
                    </a:lnTo>
                    <a:lnTo>
                      <a:pt x="196005" y="33116"/>
                    </a:lnTo>
                    <a:lnTo>
                      <a:pt x="197082" y="33585"/>
                    </a:lnTo>
                    <a:lnTo>
                      <a:pt x="197742" y="34311"/>
                    </a:lnTo>
                    <a:lnTo>
                      <a:pt x="199377" y="37453"/>
                    </a:lnTo>
                    <a:lnTo>
                      <a:pt x="200483" y="38671"/>
                    </a:lnTo>
                    <a:lnTo>
                      <a:pt x="201748" y="39513"/>
                    </a:lnTo>
                    <a:lnTo>
                      <a:pt x="208217" y="40367"/>
                    </a:lnTo>
                    <a:lnTo>
                      <a:pt x="213726" y="42180"/>
                    </a:lnTo>
                    <a:lnTo>
                      <a:pt x="215081" y="42962"/>
                    </a:lnTo>
                    <a:lnTo>
                      <a:pt x="215406" y="43297"/>
                    </a:lnTo>
                    <a:lnTo>
                      <a:pt x="217822" y="47536"/>
                    </a:lnTo>
                    <a:lnTo>
                      <a:pt x="218954" y="48842"/>
                    </a:lnTo>
                    <a:lnTo>
                      <a:pt x="220060" y="49802"/>
                    </a:lnTo>
                    <a:lnTo>
                      <a:pt x="224031" y="51790"/>
                    </a:lnTo>
                    <a:lnTo>
                      <a:pt x="224397" y="52794"/>
                    </a:lnTo>
                    <a:lnTo>
                      <a:pt x="224135" y="53961"/>
                    </a:lnTo>
                    <a:lnTo>
                      <a:pt x="222696" y="57101"/>
                    </a:lnTo>
                    <a:lnTo>
                      <a:pt x="221251" y="58432"/>
                    </a:lnTo>
                    <a:lnTo>
                      <a:pt x="219832" y="59280"/>
                    </a:lnTo>
                    <a:lnTo>
                      <a:pt x="215336" y="59673"/>
                    </a:lnTo>
                    <a:lnTo>
                      <a:pt x="213890" y="60057"/>
                    </a:lnTo>
                    <a:lnTo>
                      <a:pt x="212912" y="60626"/>
                    </a:lnTo>
                    <a:lnTo>
                      <a:pt x="212104" y="61559"/>
                    </a:lnTo>
                    <a:lnTo>
                      <a:pt x="211424" y="62884"/>
                    </a:lnTo>
                    <a:lnTo>
                      <a:pt x="210313" y="66454"/>
                    </a:lnTo>
                    <a:lnTo>
                      <a:pt x="208763" y="69771"/>
                    </a:lnTo>
                    <a:lnTo>
                      <a:pt x="208496" y="71253"/>
                    </a:lnTo>
                    <a:lnTo>
                      <a:pt x="208235" y="73772"/>
                    </a:lnTo>
                    <a:lnTo>
                      <a:pt x="208506" y="78548"/>
                    </a:lnTo>
                    <a:lnTo>
                      <a:pt x="207777" y="82115"/>
                    </a:lnTo>
                    <a:lnTo>
                      <a:pt x="207022" y="84113"/>
                    </a:lnTo>
                    <a:lnTo>
                      <a:pt x="205991" y="85146"/>
                    </a:lnTo>
                    <a:lnTo>
                      <a:pt x="201588" y="87796"/>
                    </a:lnTo>
                    <a:lnTo>
                      <a:pt x="200742" y="88688"/>
                    </a:lnTo>
                    <a:lnTo>
                      <a:pt x="200102" y="90182"/>
                    </a:lnTo>
                    <a:lnTo>
                      <a:pt x="199681" y="92248"/>
                    </a:lnTo>
                    <a:lnTo>
                      <a:pt x="199042" y="97462"/>
                    </a:lnTo>
                    <a:lnTo>
                      <a:pt x="198678" y="99212"/>
                    </a:lnTo>
                    <a:lnTo>
                      <a:pt x="198193" y="100478"/>
                    </a:lnTo>
                    <a:lnTo>
                      <a:pt x="196710" y="102636"/>
                    </a:lnTo>
                    <a:lnTo>
                      <a:pt x="194786" y="104343"/>
                    </a:lnTo>
                    <a:lnTo>
                      <a:pt x="188445" y="108301"/>
                    </a:lnTo>
                    <a:lnTo>
                      <a:pt x="187585" y="109174"/>
                    </a:lnTo>
                    <a:lnTo>
                      <a:pt x="186906" y="110351"/>
                    </a:lnTo>
                    <a:lnTo>
                      <a:pt x="186523" y="111992"/>
                    </a:lnTo>
                    <a:lnTo>
                      <a:pt x="186459" y="114143"/>
                    </a:lnTo>
                    <a:lnTo>
                      <a:pt x="186683" y="115870"/>
                    </a:lnTo>
                    <a:lnTo>
                      <a:pt x="187624" y="118492"/>
                    </a:lnTo>
                    <a:lnTo>
                      <a:pt x="189464" y="121751"/>
                    </a:lnTo>
                    <a:lnTo>
                      <a:pt x="190003" y="122913"/>
                    </a:lnTo>
                    <a:lnTo>
                      <a:pt x="190363" y="124156"/>
                    </a:lnTo>
                    <a:lnTo>
                      <a:pt x="190370" y="125636"/>
                    </a:lnTo>
                    <a:lnTo>
                      <a:pt x="190021" y="126912"/>
                    </a:lnTo>
                    <a:lnTo>
                      <a:pt x="188751" y="129139"/>
                    </a:lnTo>
                    <a:lnTo>
                      <a:pt x="188816" y="130203"/>
                    </a:lnTo>
                    <a:lnTo>
                      <a:pt x="189853" y="130978"/>
                    </a:lnTo>
                    <a:lnTo>
                      <a:pt x="192359" y="131076"/>
                    </a:lnTo>
                    <a:lnTo>
                      <a:pt x="194069" y="130752"/>
                    </a:lnTo>
                    <a:lnTo>
                      <a:pt x="195460" y="130144"/>
                    </a:lnTo>
                    <a:lnTo>
                      <a:pt x="196321" y="129232"/>
                    </a:lnTo>
                    <a:lnTo>
                      <a:pt x="197049" y="128122"/>
                    </a:lnTo>
                    <a:lnTo>
                      <a:pt x="198214" y="125639"/>
                    </a:lnTo>
                    <a:lnTo>
                      <a:pt x="199020" y="124677"/>
                    </a:lnTo>
                    <a:lnTo>
                      <a:pt x="199929" y="123864"/>
                    </a:lnTo>
                    <a:lnTo>
                      <a:pt x="206425" y="120186"/>
                    </a:lnTo>
                    <a:lnTo>
                      <a:pt x="210843" y="115700"/>
                    </a:lnTo>
                    <a:lnTo>
                      <a:pt x="211956" y="115111"/>
                    </a:lnTo>
                    <a:lnTo>
                      <a:pt x="213138" y="115055"/>
                    </a:lnTo>
                    <a:lnTo>
                      <a:pt x="214263" y="115424"/>
                    </a:lnTo>
                    <a:lnTo>
                      <a:pt x="220079" y="122080"/>
                    </a:lnTo>
                    <a:lnTo>
                      <a:pt x="220894" y="123674"/>
                    </a:lnTo>
                    <a:lnTo>
                      <a:pt x="221251" y="125123"/>
                    </a:lnTo>
                    <a:lnTo>
                      <a:pt x="221056" y="126566"/>
                    </a:lnTo>
                    <a:lnTo>
                      <a:pt x="219914" y="128409"/>
                    </a:lnTo>
                    <a:lnTo>
                      <a:pt x="218179" y="130522"/>
                    </a:lnTo>
                    <a:lnTo>
                      <a:pt x="212160" y="136096"/>
                    </a:lnTo>
                    <a:lnTo>
                      <a:pt x="210026" y="141301"/>
                    </a:lnTo>
                    <a:lnTo>
                      <a:pt x="208481" y="142366"/>
                    </a:lnTo>
                    <a:lnTo>
                      <a:pt x="190594" y="143600"/>
                    </a:lnTo>
                    <a:lnTo>
                      <a:pt x="188211" y="144588"/>
                    </a:lnTo>
                    <a:lnTo>
                      <a:pt x="182131" y="148928"/>
                    </a:lnTo>
                    <a:lnTo>
                      <a:pt x="171408" y="153250"/>
                    </a:lnTo>
                    <a:lnTo>
                      <a:pt x="170406" y="153985"/>
                    </a:lnTo>
                    <a:lnTo>
                      <a:pt x="168823" y="155826"/>
                    </a:lnTo>
                    <a:lnTo>
                      <a:pt x="166123" y="160434"/>
                    </a:lnTo>
                    <a:lnTo>
                      <a:pt x="165766" y="161934"/>
                    </a:lnTo>
                    <a:lnTo>
                      <a:pt x="165663" y="163436"/>
                    </a:lnTo>
                    <a:lnTo>
                      <a:pt x="165679" y="164896"/>
                    </a:lnTo>
                    <a:lnTo>
                      <a:pt x="166121" y="167905"/>
                    </a:lnTo>
                    <a:lnTo>
                      <a:pt x="166524" y="169573"/>
                    </a:lnTo>
                    <a:lnTo>
                      <a:pt x="167168" y="171426"/>
                    </a:lnTo>
                    <a:lnTo>
                      <a:pt x="167822" y="172708"/>
                    </a:lnTo>
                    <a:lnTo>
                      <a:pt x="168596" y="173830"/>
                    </a:lnTo>
                    <a:lnTo>
                      <a:pt x="169382" y="174775"/>
                    </a:lnTo>
                    <a:lnTo>
                      <a:pt x="177377" y="180049"/>
                    </a:lnTo>
                    <a:lnTo>
                      <a:pt x="183366" y="185731"/>
                    </a:lnTo>
                    <a:lnTo>
                      <a:pt x="191759" y="191666"/>
                    </a:lnTo>
                    <a:lnTo>
                      <a:pt x="197882" y="198419"/>
                    </a:lnTo>
                    <a:lnTo>
                      <a:pt x="199524" y="199842"/>
                    </a:lnTo>
                    <a:lnTo>
                      <a:pt x="225955" y="201747"/>
                    </a:lnTo>
                    <a:lnTo>
                      <a:pt x="226131" y="201759"/>
                    </a:lnTo>
                    <a:lnTo>
                      <a:pt x="226547" y="205408"/>
                    </a:lnTo>
                    <a:lnTo>
                      <a:pt x="226007" y="206804"/>
                    </a:lnTo>
                    <a:lnTo>
                      <a:pt x="224535" y="208858"/>
                    </a:lnTo>
                    <a:lnTo>
                      <a:pt x="219804" y="212066"/>
                    </a:lnTo>
                    <a:lnTo>
                      <a:pt x="218167" y="213843"/>
                    </a:lnTo>
                    <a:lnTo>
                      <a:pt x="216992" y="216396"/>
                    </a:lnTo>
                    <a:lnTo>
                      <a:pt x="216235" y="218987"/>
                    </a:lnTo>
                    <a:lnTo>
                      <a:pt x="216287" y="219659"/>
                    </a:lnTo>
                    <a:lnTo>
                      <a:pt x="216951" y="223671"/>
                    </a:lnTo>
                    <a:lnTo>
                      <a:pt x="217723" y="225316"/>
                    </a:lnTo>
                    <a:lnTo>
                      <a:pt x="218806" y="226581"/>
                    </a:lnTo>
                    <a:lnTo>
                      <a:pt x="224678" y="228291"/>
                    </a:lnTo>
                    <a:lnTo>
                      <a:pt x="225771" y="228936"/>
                    </a:lnTo>
                    <a:lnTo>
                      <a:pt x="226369" y="229959"/>
                    </a:lnTo>
                    <a:lnTo>
                      <a:pt x="226389" y="231192"/>
                    </a:lnTo>
                    <a:lnTo>
                      <a:pt x="225046" y="232859"/>
                    </a:lnTo>
                    <a:lnTo>
                      <a:pt x="223600" y="233598"/>
                    </a:lnTo>
                    <a:lnTo>
                      <a:pt x="215610" y="233964"/>
                    </a:lnTo>
                    <a:lnTo>
                      <a:pt x="213421" y="234807"/>
                    </a:lnTo>
                    <a:lnTo>
                      <a:pt x="212451" y="235503"/>
                    </a:lnTo>
                    <a:lnTo>
                      <a:pt x="211760" y="236189"/>
                    </a:lnTo>
                    <a:lnTo>
                      <a:pt x="210172" y="238804"/>
                    </a:lnTo>
                    <a:lnTo>
                      <a:pt x="209427" y="239726"/>
                    </a:lnTo>
                    <a:lnTo>
                      <a:pt x="208477" y="240560"/>
                    </a:lnTo>
                    <a:lnTo>
                      <a:pt x="205293" y="242414"/>
                    </a:lnTo>
                    <a:lnTo>
                      <a:pt x="204318" y="243267"/>
                    </a:lnTo>
                    <a:lnTo>
                      <a:pt x="203585" y="244288"/>
                    </a:lnTo>
                    <a:lnTo>
                      <a:pt x="202999" y="245633"/>
                    </a:lnTo>
                    <a:lnTo>
                      <a:pt x="201854" y="250052"/>
                    </a:lnTo>
                    <a:lnTo>
                      <a:pt x="200631" y="252327"/>
                    </a:lnTo>
                    <a:lnTo>
                      <a:pt x="191154" y="266301"/>
                    </a:lnTo>
                    <a:lnTo>
                      <a:pt x="190865" y="267920"/>
                    </a:lnTo>
                    <a:lnTo>
                      <a:pt x="191224" y="269657"/>
                    </a:lnTo>
                    <a:lnTo>
                      <a:pt x="193113" y="272086"/>
                    </a:lnTo>
                    <a:lnTo>
                      <a:pt x="194582" y="272641"/>
                    </a:lnTo>
                    <a:lnTo>
                      <a:pt x="195933" y="272596"/>
                    </a:lnTo>
                    <a:lnTo>
                      <a:pt x="197089" y="272303"/>
                    </a:lnTo>
                    <a:lnTo>
                      <a:pt x="198218" y="272722"/>
                    </a:lnTo>
                    <a:lnTo>
                      <a:pt x="198684" y="273875"/>
                    </a:lnTo>
                    <a:lnTo>
                      <a:pt x="198100" y="275981"/>
                    </a:lnTo>
                    <a:lnTo>
                      <a:pt x="197192" y="277396"/>
                    </a:lnTo>
                    <a:lnTo>
                      <a:pt x="196051" y="278477"/>
                    </a:lnTo>
                    <a:lnTo>
                      <a:pt x="189878" y="280628"/>
                    </a:lnTo>
                    <a:lnTo>
                      <a:pt x="187810" y="281861"/>
                    </a:lnTo>
                    <a:lnTo>
                      <a:pt x="187239" y="283028"/>
                    </a:lnTo>
                    <a:lnTo>
                      <a:pt x="187421" y="284508"/>
                    </a:lnTo>
                    <a:lnTo>
                      <a:pt x="189152" y="286662"/>
                    </a:lnTo>
                    <a:lnTo>
                      <a:pt x="192717" y="289044"/>
                    </a:lnTo>
                    <a:lnTo>
                      <a:pt x="192864" y="289498"/>
                    </a:lnTo>
                    <a:lnTo>
                      <a:pt x="192649" y="290101"/>
                    </a:lnTo>
                    <a:lnTo>
                      <a:pt x="191464" y="291043"/>
                    </a:lnTo>
                    <a:lnTo>
                      <a:pt x="190728" y="292124"/>
                    </a:lnTo>
                    <a:lnTo>
                      <a:pt x="189970" y="293479"/>
                    </a:lnTo>
                    <a:lnTo>
                      <a:pt x="188983" y="296759"/>
                    </a:lnTo>
                    <a:lnTo>
                      <a:pt x="187536" y="303378"/>
                    </a:lnTo>
                    <a:lnTo>
                      <a:pt x="187698" y="304306"/>
                    </a:lnTo>
                    <a:lnTo>
                      <a:pt x="188024" y="305243"/>
                    </a:lnTo>
                    <a:lnTo>
                      <a:pt x="189770" y="306025"/>
                    </a:lnTo>
                    <a:lnTo>
                      <a:pt x="191952" y="307920"/>
                    </a:lnTo>
                    <a:lnTo>
                      <a:pt x="196084" y="312489"/>
                    </a:lnTo>
                    <a:lnTo>
                      <a:pt x="196765" y="313937"/>
                    </a:lnTo>
                    <a:lnTo>
                      <a:pt x="197259" y="315721"/>
                    </a:lnTo>
                    <a:lnTo>
                      <a:pt x="197390" y="318860"/>
                    </a:lnTo>
                    <a:lnTo>
                      <a:pt x="197095" y="320844"/>
                    </a:lnTo>
                    <a:lnTo>
                      <a:pt x="197468" y="323725"/>
                    </a:lnTo>
                    <a:lnTo>
                      <a:pt x="197952" y="325825"/>
                    </a:lnTo>
                    <a:lnTo>
                      <a:pt x="204754" y="338510"/>
                    </a:lnTo>
                    <a:lnTo>
                      <a:pt x="204705" y="338632"/>
                    </a:lnTo>
                    <a:lnTo>
                      <a:pt x="202398" y="344338"/>
                    </a:lnTo>
                    <a:lnTo>
                      <a:pt x="202951" y="350169"/>
                    </a:lnTo>
                    <a:lnTo>
                      <a:pt x="201859" y="355800"/>
                    </a:lnTo>
                    <a:lnTo>
                      <a:pt x="208787" y="375720"/>
                    </a:lnTo>
                    <a:lnTo>
                      <a:pt x="201866" y="382864"/>
                    </a:lnTo>
                    <a:lnTo>
                      <a:pt x="201288" y="388058"/>
                    </a:lnTo>
                    <a:lnTo>
                      <a:pt x="196220" y="397529"/>
                    </a:lnTo>
                    <a:lnTo>
                      <a:pt x="189798" y="398830"/>
                    </a:lnTo>
                    <a:lnTo>
                      <a:pt x="185090" y="402996"/>
                    </a:lnTo>
                    <a:lnTo>
                      <a:pt x="180138" y="404613"/>
                    </a:lnTo>
                    <a:lnTo>
                      <a:pt x="178869" y="405033"/>
                    </a:lnTo>
                    <a:lnTo>
                      <a:pt x="168360" y="405483"/>
                    </a:lnTo>
                    <a:lnTo>
                      <a:pt x="152404" y="403196"/>
                    </a:lnTo>
                    <a:lnTo>
                      <a:pt x="148527" y="406283"/>
                    </a:lnTo>
                    <a:lnTo>
                      <a:pt x="148007" y="409265"/>
                    </a:lnTo>
                    <a:lnTo>
                      <a:pt x="148921" y="411375"/>
                    </a:lnTo>
                    <a:lnTo>
                      <a:pt x="138317" y="412676"/>
                    </a:lnTo>
                    <a:lnTo>
                      <a:pt x="135019" y="413093"/>
                    </a:lnTo>
                    <a:lnTo>
                      <a:pt x="132844" y="406739"/>
                    </a:lnTo>
                    <a:lnTo>
                      <a:pt x="126015" y="404396"/>
                    </a:lnTo>
                    <a:lnTo>
                      <a:pt x="121488" y="398249"/>
                    </a:lnTo>
                    <a:lnTo>
                      <a:pt x="119248" y="399099"/>
                    </a:lnTo>
                    <a:lnTo>
                      <a:pt x="117807" y="403017"/>
                    </a:lnTo>
                    <a:lnTo>
                      <a:pt x="116427" y="403551"/>
                    </a:lnTo>
                    <a:lnTo>
                      <a:pt x="114364" y="402484"/>
                    </a:lnTo>
                    <a:lnTo>
                      <a:pt x="110658" y="400589"/>
                    </a:lnTo>
                    <a:lnTo>
                      <a:pt x="107434" y="400784"/>
                    </a:lnTo>
                    <a:lnTo>
                      <a:pt x="105858" y="402598"/>
                    </a:lnTo>
                    <a:lnTo>
                      <a:pt x="105529" y="410455"/>
                    </a:lnTo>
                    <a:lnTo>
                      <a:pt x="104080" y="412565"/>
                    </a:lnTo>
                    <a:lnTo>
                      <a:pt x="92784" y="416264"/>
                    </a:lnTo>
                    <a:lnTo>
                      <a:pt x="93765" y="418496"/>
                    </a:lnTo>
                    <a:lnTo>
                      <a:pt x="93036" y="419975"/>
                    </a:lnTo>
                    <a:lnTo>
                      <a:pt x="87916" y="418902"/>
                    </a:lnTo>
                    <a:lnTo>
                      <a:pt x="85145" y="423357"/>
                    </a:lnTo>
                    <a:lnTo>
                      <a:pt x="79200" y="427412"/>
                    </a:lnTo>
                    <a:lnTo>
                      <a:pt x="77327" y="423134"/>
                    </a:lnTo>
                    <a:lnTo>
                      <a:pt x="63940" y="416632"/>
                    </a:lnTo>
                    <a:lnTo>
                      <a:pt x="52754" y="420936"/>
                    </a:lnTo>
                    <a:lnTo>
                      <a:pt x="46258" y="419004"/>
                    </a:lnTo>
                    <a:lnTo>
                      <a:pt x="43867" y="423662"/>
                    </a:lnTo>
                    <a:lnTo>
                      <a:pt x="36696" y="424794"/>
                    </a:lnTo>
                    <a:lnTo>
                      <a:pt x="28088" y="414230"/>
                    </a:lnTo>
                    <a:lnTo>
                      <a:pt x="35967" y="401874"/>
                    </a:lnTo>
                    <a:lnTo>
                      <a:pt x="39480" y="390639"/>
                    </a:lnTo>
                    <a:lnTo>
                      <a:pt x="46734" y="383565"/>
                    </a:lnTo>
                    <a:lnTo>
                      <a:pt x="49210" y="377456"/>
                    </a:lnTo>
                    <a:lnTo>
                      <a:pt x="47969" y="369239"/>
                    </a:lnTo>
                    <a:lnTo>
                      <a:pt x="49615" y="358153"/>
                    </a:lnTo>
                    <a:lnTo>
                      <a:pt x="51564" y="356601"/>
                    </a:lnTo>
                    <a:lnTo>
                      <a:pt x="54182" y="355052"/>
                    </a:lnTo>
                    <a:lnTo>
                      <a:pt x="55107" y="352094"/>
                    </a:lnTo>
                    <a:lnTo>
                      <a:pt x="52522" y="343270"/>
                    </a:lnTo>
                    <a:lnTo>
                      <a:pt x="53071" y="336591"/>
                    </a:lnTo>
                    <a:lnTo>
                      <a:pt x="58272" y="327490"/>
                    </a:lnTo>
                    <a:lnTo>
                      <a:pt x="65345" y="320388"/>
                    </a:lnTo>
                    <a:lnTo>
                      <a:pt x="65746" y="316361"/>
                    </a:lnTo>
                    <a:lnTo>
                      <a:pt x="61783" y="311374"/>
                    </a:lnTo>
                    <a:lnTo>
                      <a:pt x="61346" y="305738"/>
                    </a:lnTo>
                    <a:lnTo>
                      <a:pt x="59787" y="303610"/>
                    </a:lnTo>
                    <a:lnTo>
                      <a:pt x="49691" y="299229"/>
                    </a:lnTo>
                    <a:lnTo>
                      <a:pt x="48981" y="297845"/>
                    </a:lnTo>
                    <a:lnTo>
                      <a:pt x="51289" y="290945"/>
                    </a:lnTo>
                    <a:lnTo>
                      <a:pt x="50644" y="288515"/>
                    </a:lnTo>
                    <a:lnTo>
                      <a:pt x="42565" y="285815"/>
                    </a:lnTo>
                    <a:lnTo>
                      <a:pt x="39138" y="284654"/>
                    </a:lnTo>
                    <a:lnTo>
                      <a:pt x="41305" y="277321"/>
                    </a:lnTo>
                    <a:lnTo>
                      <a:pt x="39996" y="264069"/>
                    </a:lnTo>
                    <a:lnTo>
                      <a:pt x="42247" y="254840"/>
                    </a:lnTo>
                    <a:lnTo>
                      <a:pt x="42661" y="242069"/>
                    </a:lnTo>
                    <a:lnTo>
                      <a:pt x="44497" y="239807"/>
                    </a:lnTo>
                    <a:lnTo>
                      <a:pt x="43168" y="237967"/>
                    </a:lnTo>
                    <a:lnTo>
                      <a:pt x="44294" y="233727"/>
                    </a:lnTo>
                    <a:lnTo>
                      <a:pt x="51006" y="230043"/>
                    </a:lnTo>
                    <a:lnTo>
                      <a:pt x="52182" y="227709"/>
                    </a:lnTo>
                    <a:lnTo>
                      <a:pt x="48491" y="222818"/>
                    </a:lnTo>
                    <a:lnTo>
                      <a:pt x="48776" y="218249"/>
                    </a:lnTo>
                    <a:lnTo>
                      <a:pt x="45099" y="213465"/>
                    </a:lnTo>
                    <a:lnTo>
                      <a:pt x="45233" y="210496"/>
                    </a:lnTo>
                    <a:lnTo>
                      <a:pt x="51686" y="204462"/>
                    </a:lnTo>
                    <a:lnTo>
                      <a:pt x="61359" y="202700"/>
                    </a:lnTo>
                    <a:lnTo>
                      <a:pt x="63770" y="199629"/>
                    </a:lnTo>
                    <a:lnTo>
                      <a:pt x="59508" y="193575"/>
                    </a:lnTo>
                    <a:lnTo>
                      <a:pt x="54781" y="193241"/>
                    </a:lnTo>
                    <a:lnTo>
                      <a:pt x="53897" y="186230"/>
                    </a:lnTo>
                    <a:lnTo>
                      <a:pt x="47988" y="171774"/>
                    </a:lnTo>
                    <a:lnTo>
                      <a:pt x="38509" y="165158"/>
                    </a:lnTo>
                    <a:lnTo>
                      <a:pt x="39257" y="157086"/>
                    </a:lnTo>
                    <a:lnTo>
                      <a:pt x="44122" y="153812"/>
                    </a:lnTo>
                    <a:lnTo>
                      <a:pt x="47024" y="141734"/>
                    </a:lnTo>
                    <a:lnTo>
                      <a:pt x="42236" y="140863"/>
                    </a:lnTo>
                    <a:lnTo>
                      <a:pt x="37238" y="146358"/>
                    </a:lnTo>
                    <a:lnTo>
                      <a:pt x="26421" y="148315"/>
                    </a:lnTo>
                    <a:lnTo>
                      <a:pt x="21623" y="139581"/>
                    </a:lnTo>
                    <a:lnTo>
                      <a:pt x="22791" y="128671"/>
                    </a:lnTo>
                    <a:lnTo>
                      <a:pt x="20435" y="122596"/>
                    </a:lnTo>
                    <a:lnTo>
                      <a:pt x="13865" y="119694"/>
                    </a:lnTo>
                    <a:lnTo>
                      <a:pt x="0" y="120707"/>
                    </a:lnTo>
                    <a:lnTo>
                      <a:pt x="3641" y="115067"/>
                    </a:lnTo>
                    <a:lnTo>
                      <a:pt x="12112" y="112042"/>
                    </a:lnTo>
                    <a:lnTo>
                      <a:pt x="20931" y="103292"/>
                    </a:lnTo>
                    <a:lnTo>
                      <a:pt x="23311" y="92803"/>
                    </a:lnTo>
                    <a:lnTo>
                      <a:pt x="21993" y="87385"/>
                    </a:lnTo>
                    <a:lnTo>
                      <a:pt x="30564" y="74481"/>
                    </a:lnTo>
                    <a:lnTo>
                      <a:pt x="38410" y="76535"/>
                    </a:lnTo>
                    <a:lnTo>
                      <a:pt x="46849" y="73394"/>
                    </a:lnTo>
                    <a:lnTo>
                      <a:pt x="53361" y="74054"/>
                    </a:lnTo>
                    <a:lnTo>
                      <a:pt x="60527" y="69203"/>
                    </a:lnTo>
                    <a:lnTo>
                      <a:pt x="75893" y="66702"/>
                    </a:lnTo>
                    <a:lnTo>
                      <a:pt x="82815" y="53332"/>
                    </a:lnTo>
                    <a:lnTo>
                      <a:pt x="80851" y="40712"/>
                    </a:lnTo>
                    <a:lnTo>
                      <a:pt x="76956" y="32747"/>
                    </a:lnTo>
                    <a:lnTo>
                      <a:pt x="79285" y="22349"/>
                    </a:lnTo>
                    <a:lnTo>
                      <a:pt x="81536" y="19490"/>
                    </a:lnTo>
                    <a:lnTo>
                      <a:pt x="93157" y="14102"/>
                    </a:lnTo>
                    <a:lnTo>
                      <a:pt x="101563" y="13579"/>
                    </a:lnTo>
                    <a:lnTo>
                      <a:pt x="104770" y="9652"/>
                    </a:lnTo>
                    <a:lnTo>
                      <a:pt x="106378" y="3158"/>
                    </a:lnTo>
                    <a:lnTo>
                      <a:pt x="114188" y="5194"/>
                    </a:lnTo>
                    <a:lnTo>
                      <a:pt x="124668" y="1087"/>
                    </a:lnTo>
                    <a:lnTo>
                      <a:pt x="127457" y="0"/>
                    </a:lnTo>
                    <a:lnTo>
                      <a:pt x="128424" y="847"/>
                    </a:lnTo>
                    <a:lnTo>
                      <a:pt x="127723" y="5626"/>
                    </a:lnTo>
                    <a:lnTo>
                      <a:pt x="129001" y="7737"/>
                    </a:lnTo>
                    <a:lnTo>
                      <a:pt x="145691" y="16522"/>
                    </a:lnTo>
                    <a:lnTo>
                      <a:pt x="148196" y="19281"/>
                    </a:lnTo>
                    <a:lnTo>
                      <a:pt x="153669" y="27758"/>
                    </a:lnTo>
                    <a:lnTo>
                      <a:pt x="152969" y="32322"/>
                    </a:lnTo>
                    <a:lnTo>
                      <a:pt x="154514" y="3423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4" name="Freeform 110">
                <a:extLst>
                  <a:ext uri="{FF2B5EF4-FFF2-40B4-BE49-F238E27FC236}">
                    <a16:creationId xmlns:a16="http://schemas.microsoft.com/office/drawing/2014/main" id="{E3D48BF0-B02D-848C-52E0-79B8401F8AE8}"/>
                  </a:ext>
                </a:extLst>
              </p:cNvPr>
              <p:cNvSpPr>
                <a:spLocks noChangeAspect="1"/>
              </p:cNvSpPr>
              <p:nvPr>
                <p:custDataLst>
                  <p:tags r:id="rId85"/>
                </p:custDataLst>
              </p:nvPr>
            </p:nvSpPr>
            <p:spPr>
              <a:xfrm>
                <a:off x="4458011" y="5064356"/>
                <a:ext cx="67201" cy="82318"/>
              </a:xfrm>
              <a:custGeom>
                <a:avLst/>
                <a:gdLst/>
                <a:ahLst/>
                <a:cxnLst/>
                <a:rect l="0" t="0" r="0" b="0"/>
                <a:pathLst>
                  <a:path w="68997" h="84519">
                    <a:moveTo>
                      <a:pt x="65790" y="50195"/>
                    </a:moveTo>
                    <a:lnTo>
                      <a:pt x="64850" y="49721"/>
                    </a:lnTo>
                    <a:lnTo>
                      <a:pt x="54396" y="56617"/>
                    </a:lnTo>
                    <a:lnTo>
                      <a:pt x="55311" y="62244"/>
                    </a:lnTo>
                    <a:lnTo>
                      <a:pt x="54179" y="66584"/>
                    </a:lnTo>
                    <a:lnTo>
                      <a:pt x="55758" y="73277"/>
                    </a:lnTo>
                    <a:lnTo>
                      <a:pt x="51456" y="72313"/>
                    </a:lnTo>
                    <a:lnTo>
                      <a:pt x="49539" y="74008"/>
                    </a:lnTo>
                    <a:lnTo>
                      <a:pt x="53768" y="78682"/>
                    </a:lnTo>
                    <a:lnTo>
                      <a:pt x="42482" y="84267"/>
                    </a:lnTo>
                    <a:lnTo>
                      <a:pt x="42149" y="84405"/>
                    </a:lnTo>
                    <a:lnTo>
                      <a:pt x="41907" y="84518"/>
                    </a:lnTo>
                    <a:lnTo>
                      <a:pt x="34919" y="74853"/>
                    </a:lnTo>
                    <a:lnTo>
                      <a:pt x="21025" y="63156"/>
                    </a:lnTo>
                    <a:lnTo>
                      <a:pt x="17741" y="62834"/>
                    </a:lnTo>
                    <a:lnTo>
                      <a:pt x="13345" y="64930"/>
                    </a:lnTo>
                    <a:lnTo>
                      <a:pt x="7997" y="62205"/>
                    </a:lnTo>
                    <a:lnTo>
                      <a:pt x="3328" y="57492"/>
                    </a:lnTo>
                    <a:lnTo>
                      <a:pt x="866" y="53641"/>
                    </a:lnTo>
                    <a:lnTo>
                      <a:pt x="544" y="51947"/>
                    </a:lnTo>
                    <a:lnTo>
                      <a:pt x="964" y="51311"/>
                    </a:lnTo>
                    <a:lnTo>
                      <a:pt x="1710" y="51081"/>
                    </a:lnTo>
                    <a:lnTo>
                      <a:pt x="2350" y="50804"/>
                    </a:lnTo>
                    <a:lnTo>
                      <a:pt x="603" y="43275"/>
                    </a:lnTo>
                    <a:lnTo>
                      <a:pt x="2" y="41361"/>
                    </a:lnTo>
                    <a:lnTo>
                      <a:pt x="0" y="41355"/>
                    </a:lnTo>
                    <a:lnTo>
                      <a:pt x="14442" y="44198"/>
                    </a:lnTo>
                    <a:lnTo>
                      <a:pt x="26549" y="37884"/>
                    </a:lnTo>
                    <a:lnTo>
                      <a:pt x="23811" y="27375"/>
                    </a:lnTo>
                    <a:lnTo>
                      <a:pt x="16578" y="20659"/>
                    </a:lnTo>
                    <a:lnTo>
                      <a:pt x="16982" y="17483"/>
                    </a:lnTo>
                    <a:lnTo>
                      <a:pt x="20160" y="13980"/>
                    </a:lnTo>
                    <a:lnTo>
                      <a:pt x="21915" y="2538"/>
                    </a:lnTo>
                    <a:lnTo>
                      <a:pt x="23503" y="629"/>
                    </a:lnTo>
                    <a:lnTo>
                      <a:pt x="38915" y="2803"/>
                    </a:lnTo>
                    <a:lnTo>
                      <a:pt x="48281" y="0"/>
                    </a:lnTo>
                    <a:lnTo>
                      <a:pt x="53959" y="3236"/>
                    </a:lnTo>
                    <a:lnTo>
                      <a:pt x="62120" y="9473"/>
                    </a:lnTo>
                    <a:lnTo>
                      <a:pt x="68996" y="19859"/>
                    </a:lnTo>
                    <a:lnTo>
                      <a:pt x="67267" y="3783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5" name="Freeform 111">
                <a:extLst>
                  <a:ext uri="{FF2B5EF4-FFF2-40B4-BE49-F238E27FC236}">
                    <a16:creationId xmlns:a16="http://schemas.microsoft.com/office/drawing/2014/main" id="{5830F67F-8495-7123-F135-E61A7FFA513C}"/>
                  </a:ext>
                </a:extLst>
              </p:cNvPr>
              <p:cNvSpPr>
                <a:spLocks noChangeAspect="1"/>
              </p:cNvSpPr>
              <p:nvPr>
                <p:custDataLst>
                  <p:tags r:id="rId86"/>
                </p:custDataLst>
              </p:nvPr>
            </p:nvSpPr>
            <p:spPr>
              <a:xfrm>
                <a:off x="4554721" y="5007985"/>
                <a:ext cx="69917" cy="92926"/>
              </a:xfrm>
              <a:custGeom>
                <a:avLst/>
                <a:gdLst/>
                <a:ahLst/>
                <a:cxnLst/>
                <a:rect l="0" t="0" r="0" b="0"/>
                <a:pathLst>
                  <a:path w="71786" h="95410">
                    <a:moveTo>
                      <a:pt x="27464" y="23064"/>
                    </a:moveTo>
                    <a:lnTo>
                      <a:pt x="29336" y="20916"/>
                    </a:lnTo>
                    <a:lnTo>
                      <a:pt x="38784" y="25731"/>
                    </a:lnTo>
                    <a:lnTo>
                      <a:pt x="45677" y="31240"/>
                    </a:lnTo>
                    <a:lnTo>
                      <a:pt x="51699" y="35360"/>
                    </a:lnTo>
                    <a:lnTo>
                      <a:pt x="51955" y="35202"/>
                    </a:lnTo>
                    <a:lnTo>
                      <a:pt x="53428" y="38827"/>
                    </a:lnTo>
                    <a:lnTo>
                      <a:pt x="58155" y="40187"/>
                    </a:lnTo>
                    <a:lnTo>
                      <a:pt x="62461" y="42929"/>
                    </a:lnTo>
                    <a:lnTo>
                      <a:pt x="62923" y="47072"/>
                    </a:lnTo>
                    <a:lnTo>
                      <a:pt x="62509" y="52621"/>
                    </a:lnTo>
                    <a:lnTo>
                      <a:pt x="61678" y="58152"/>
                    </a:lnTo>
                    <a:lnTo>
                      <a:pt x="61275" y="62308"/>
                    </a:lnTo>
                    <a:lnTo>
                      <a:pt x="64745" y="67136"/>
                    </a:lnTo>
                    <a:lnTo>
                      <a:pt x="71785" y="71402"/>
                    </a:lnTo>
                    <a:lnTo>
                      <a:pt x="66921" y="74043"/>
                    </a:lnTo>
                    <a:lnTo>
                      <a:pt x="53467" y="78560"/>
                    </a:lnTo>
                    <a:lnTo>
                      <a:pt x="53260" y="78916"/>
                    </a:lnTo>
                    <a:lnTo>
                      <a:pt x="53536" y="81659"/>
                    </a:lnTo>
                    <a:lnTo>
                      <a:pt x="59575" y="87898"/>
                    </a:lnTo>
                    <a:lnTo>
                      <a:pt x="55150" y="95409"/>
                    </a:lnTo>
                    <a:lnTo>
                      <a:pt x="42291" y="91681"/>
                    </a:lnTo>
                    <a:lnTo>
                      <a:pt x="28954" y="92783"/>
                    </a:lnTo>
                    <a:lnTo>
                      <a:pt x="25397" y="94748"/>
                    </a:lnTo>
                    <a:lnTo>
                      <a:pt x="18327" y="81837"/>
                    </a:lnTo>
                    <a:lnTo>
                      <a:pt x="7687" y="55273"/>
                    </a:lnTo>
                    <a:lnTo>
                      <a:pt x="13532" y="51413"/>
                    </a:lnTo>
                    <a:lnTo>
                      <a:pt x="13940" y="44483"/>
                    </a:lnTo>
                    <a:lnTo>
                      <a:pt x="8779" y="32039"/>
                    </a:lnTo>
                    <a:lnTo>
                      <a:pt x="1876" y="9904"/>
                    </a:lnTo>
                    <a:lnTo>
                      <a:pt x="0" y="1301"/>
                    </a:lnTo>
                    <a:lnTo>
                      <a:pt x="10604" y="0"/>
                    </a:lnTo>
                    <a:lnTo>
                      <a:pt x="18066" y="8787"/>
                    </a:lnTo>
                    <a:lnTo>
                      <a:pt x="19587" y="13877"/>
                    </a:lnTo>
                    <a:lnTo>
                      <a:pt x="24076" y="2097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6" name="Freeform 112">
                <a:extLst>
                  <a:ext uri="{FF2B5EF4-FFF2-40B4-BE49-F238E27FC236}">
                    <a16:creationId xmlns:a16="http://schemas.microsoft.com/office/drawing/2014/main" id="{A41E1EDA-8FE2-B3C4-7411-018319C87020}"/>
                  </a:ext>
                </a:extLst>
              </p:cNvPr>
              <p:cNvSpPr>
                <a:spLocks noChangeAspect="1"/>
              </p:cNvSpPr>
              <p:nvPr>
                <p:custDataLst>
                  <p:tags r:id="rId87"/>
                </p:custDataLst>
              </p:nvPr>
            </p:nvSpPr>
            <p:spPr>
              <a:xfrm>
                <a:off x="4530667" y="4995201"/>
                <a:ext cx="37632" cy="66619"/>
              </a:xfrm>
              <a:custGeom>
                <a:avLst/>
                <a:gdLst/>
                <a:ahLst/>
                <a:cxnLst/>
                <a:rect l="0" t="0" r="0" b="0"/>
                <a:pathLst>
                  <a:path w="38638" h="68400">
                    <a:moveTo>
                      <a:pt x="21399" y="14844"/>
                    </a:moveTo>
                    <a:lnTo>
                      <a:pt x="24697" y="14427"/>
                    </a:lnTo>
                    <a:lnTo>
                      <a:pt x="26573" y="23030"/>
                    </a:lnTo>
                    <a:lnTo>
                      <a:pt x="33476" y="45165"/>
                    </a:lnTo>
                    <a:lnTo>
                      <a:pt x="38637" y="57609"/>
                    </a:lnTo>
                    <a:lnTo>
                      <a:pt x="38229" y="64539"/>
                    </a:lnTo>
                    <a:lnTo>
                      <a:pt x="32384" y="68399"/>
                    </a:lnTo>
                    <a:lnTo>
                      <a:pt x="32224" y="68005"/>
                    </a:lnTo>
                    <a:lnTo>
                      <a:pt x="14162" y="47952"/>
                    </a:lnTo>
                    <a:lnTo>
                      <a:pt x="0" y="27902"/>
                    </a:lnTo>
                    <a:lnTo>
                      <a:pt x="6004" y="23736"/>
                    </a:lnTo>
                    <a:lnTo>
                      <a:pt x="744" y="4235"/>
                    </a:lnTo>
                    <a:lnTo>
                      <a:pt x="2807" y="5302"/>
                    </a:lnTo>
                    <a:lnTo>
                      <a:pt x="4187" y="4768"/>
                    </a:lnTo>
                    <a:lnTo>
                      <a:pt x="5628" y="850"/>
                    </a:lnTo>
                    <a:lnTo>
                      <a:pt x="7868" y="0"/>
                    </a:lnTo>
                    <a:lnTo>
                      <a:pt x="12395" y="6147"/>
                    </a:lnTo>
                    <a:lnTo>
                      <a:pt x="19224" y="84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7" name="Freeform 113">
                <a:extLst>
                  <a:ext uri="{FF2B5EF4-FFF2-40B4-BE49-F238E27FC236}">
                    <a16:creationId xmlns:a16="http://schemas.microsoft.com/office/drawing/2014/main" id="{E0C5062D-95B6-8B83-B537-6768D0FD59A7}"/>
                  </a:ext>
                </a:extLst>
              </p:cNvPr>
              <p:cNvSpPr>
                <a:spLocks noChangeAspect="1"/>
              </p:cNvSpPr>
              <p:nvPr>
                <p:custDataLst>
                  <p:tags r:id="rId88"/>
                </p:custDataLst>
              </p:nvPr>
            </p:nvSpPr>
            <p:spPr>
              <a:xfrm>
                <a:off x="4495176" y="4997480"/>
                <a:ext cx="84282" cy="121102"/>
              </a:xfrm>
              <a:custGeom>
                <a:avLst/>
                <a:gdLst/>
                <a:ahLst/>
                <a:cxnLst/>
                <a:rect l="0" t="0" r="0" b="0"/>
                <a:pathLst>
                  <a:path w="86535" h="124339">
                    <a:moveTo>
                      <a:pt x="37184" y="1895"/>
                    </a:moveTo>
                    <a:lnTo>
                      <a:pt x="42444" y="21396"/>
                    </a:lnTo>
                    <a:lnTo>
                      <a:pt x="36440" y="25562"/>
                    </a:lnTo>
                    <a:lnTo>
                      <a:pt x="50602" y="45612"/>
                    </a:lnTo>
                    <a:lnTo>
                      <a:pt x="68664" y="65665"/>
                    </a:lnTo>
                    <a:lnTo>
                      <a:pt x="68824" y="66059"/>
                    </a:lnTo>
                    <a:lnTo>
                      <a:pt x="79464" y="92623"/>
                    </a:lnTo>
                    <a:lnTo>
                      <a:pt x="86534" y="105534"/>
                    </a:lnTo>
                    <a:lnTo>
                      <a:pt x="84687" y="106566"/>
                    </a:lnTo>
                    <a:lnTo>
                      <a:pt x="75002" y="116556"/>
                    </a:lnTo>
                    <a:lnTo>
                      <a:pt x="73026" y="121652"/>
                    </a:lnTo>
                    <a:lnTo>
                      <a:pt x="71386" y="122642"/>
                    </a:lnTo>
                    <a:lnTo>
                      <a:pt x="70913" y="122930"/>
                    </a:lnTo>
                    <a:lnTo>
                      <a:pt x="64031" y="117543"/>
                    </a:lnTo>
                    <a:lnTo>
                      <a:pt x="62906" y="117860"/>
                    </a:lnTo>
                    <a:lnTo>
                      <a:pt x="62052" y="122736"/>
                    </a:lnTo>
                    <a:lnTo>
                      <a:pt x="52137" y="120200"/>
                    </a:lnTo>
                    <a:lnTo>
                      <a:pt x="47381" y="124338"/>
                    </a:lnTo>
                    <a:lnTo>
                      <a:pt x="45068" y="121586"/>
                    </a:lnTo>
                    <a:lnTo>
                      <a:pt x="38913" y="120205"/>
                    </a:lnTo>
                    <a:lnTo>
                      <a:pt x="35415" y="116810"/>
                    </a:lnTo>
                    <a:lnTo>
                      <a:pt x="32576" y="116908"/>
                    </a:lnTo>
                    <a:lnTo>
                      <a:pt x="30324" y="120203"/>
                    </a:lnTo>
                    <a:lnTo>
                      <a:pt x="27632" y="118859"/>
                    </a:lnTo>
                    <a:lnTo>
                      <a:pt x="29109" y="106503"/>
                    </a:lnTo>
                    <a:lnTo>
                      <a:pt x="30838" y="88523"/>
                    </a:lnTo>
                    <a:lnTo>
                      <a:pt x="23962" y="78137"/>
                    </a:lnTo>
                    <a:lnTo>
                      <a:pt x="15801" y="71900"/>
                    </a:lnTo>
                    <a:lnTo>
                      <a:pt x="10123" y="68664"/>
                    </a:lnTo>
                    <a:lnTo>
                      <a:pt x="10982" y="68409"/>
                    </a:lnTo>
                    <a:lnTo>
                      <a:pt x="10327" y="64262"/>
                    </a:lnTo>
                    <a:lnTo>
                      <a:pt x="5335" y="56930"/>
                    </a:lnTo>
                    <a:lnTo>
                      <a:pt x="4694" y="49942"/>
                    </a:lnTo>
                    <a:lnTo>
                      <a:pt x="5770" y="38259"/>
                    </a:lnTo>
                    <a:lnTo>
                      <a:pt x="4855" y="34132"/>
                    </a:lnTo>
                    <a:lnTo>
                      <a:pt x="0" y="30193"/>
                    </a:lnTo>
                    <a:lnTo>
                      <a:pt x="2020" y="26823"/>
                    </a:lnTo>
                    <a:lnTo>
                      <a:pt x="7965" y="22768"/>
                    </a:lnTo>
                    <a:lnTo>
                      <a:pt x="10736" y="18313"/>
                    </a:lnTo>
                    <a:lnTo>
                      <a:pt x="15856" y="19386"/>
                    </a:lnTo>
                    <a:lnTo>
                      <a:pt x="16585" y="17907"/>
                    </a:lnTo>
                    <a:lnTo>
                      <a:pt x="15604" y="15675"/>
                    </a:lnTo>
                    <a:lnTo>
                      <a:pt x="26900" y="11976"/>
                    </a:lnTo>
                    <a:lnTo>
                      <a:pt x="28349" y="9866"/>
                    </a:lnTo>
                    <a:lnTo>
                      <a:pt x="28678" y="2009"/>
                    </a:lnTo>
                    <a:lnTo>
                      <a:pt x="30254" y="195"/>
                    </a:lnTo>
                    <a:lnTo>
                      <a:pt x="3347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8" name="Freeform 114">
                <a:extLst>
                  <a:ext uri="{FF2B5EF4-FFF2-40B4-BE49-F238E27FC236}">
                    <a16:creationId xmlns:a16="http://schemas.microsoft.com/office/drawing/2014/main" id="{6F3B0E81-5673-8BA1-0842-24C415FF2A04}"/>
                  </a:ext>
                </a:extLst>
              </p:cNvPr>
              <p:cNvSpPr>
                <a:spLocks noChangeAspect="1"/>
              </p:cNvSpPr>
              <p:nvPr>
                <p:custDataLst>
                  <p:tags r:id="rId89"/>
                </p:custDataLst>
              </p:nvPr>
            </p:nvSpPr>
            <p:spPr>
              <a:xfrm>
                <a:off x="4564703" y="5097279"/>
                <a:ext cx="52285" cy="37176"/>
              </a:xfrm>
              <a:custGeom>
                <a:avLst/>
                <a:gdLst/>
                <a:ahLst/>
                <a:cxnLst/>
                <a:rect l="0" t="0" r="0" b="0"/>
                <a:pathLst>
                  <a:path w="53683" h="38170">
                    <a:moveTo>
                      <a:pt x="44901" y="3728"/>
                    </a:moveTo>
                    <a:lnTo>
                      <a:pt x="46669" y="7470"/>
                    </a:lnTo>
                    <a:lnTo>
                      <a:pt x="53227" y="10201"/>
                    </a:lnTo>
                    <a:lnTo>
                      <a:pt x="53682" y="11482"/>
                    </a:lnTo>
                    <a:lnTo>
                      <a:pt x="51006" y="16054"/>
                    </a:lnTo>
                    <a:lnTo>
                      <a:pt x="51120" y="17200"/>
                    </a:lnTo>
                    <a:lnTo>
                      <a:pt x="48167" y="18239"/>
                    </a:lnTo>
                    <a:lnTo>
                      <a:pt x="44210" y="21257"/>
                    </a:lnTo>
                    <a:lnTo>
                      <a:pt x="38029" y="27702"/>
                    </a:lnTo>
                    <a:lnTo>
                      <a:pt x="37231" y="29276"/>
                    </a:lnTo>
                    <a:lnTo>
                      <a:pt x="35853" y="33679"/>
                    </a:lnTo>
                    <a:lnTo>
                      <a:pt x="34804" y="35533"/>
                    </a:lnTo>
                    <a:lnTo>
                      <a:pt x="33131" y="36596"/>
                    </a:lnTo>
                    <a:lnTo>
                      <a:pt x="29740" y="37059"/>
                    </a:lnTo>
                    <a:lnTo>
                      <a:pt x="28377" y="38106"/>
                    </a:lnTo>
                    <a:lnTo>
                      <a:pt x="28300" y="38169"/>
                    </a:lnTo>
                    <a:lnTo>
                      <a:pt x="26618" y="36023"/>
                    </a:lnTo>
                    <a:lnTo>
                      <a:pt x="26581" y="35953"/>
                    </a:lnTo>
                    <a:lnTo>
                      <a:pt x="24099" y="33524"/>
                    </a:lnTo>
                    <a:lnTo>
                      <a:pt x="21610" y="32614"/>
                    </a:lnTo>
                    <a:lnTo>
                      <a:pt x="19130" y="32622"/>
                    </a:lnTo>
                    <a:lnTo>
                      <a:pt x="15131" y="32929"/>
                    </a:lnTo>
                    <a:lnTo>
                      <a:pt x="12270" y="33253"/>
                    </a:lnTo>
                    <a:lnTo>
                      <a:pt x="9796" y="33259"/>
                    </a:lnTo>
                    <a:lnTo>
                      <a:pt x="7314" y="32041"/>
                    </a:lnTo>
                    <a:lnTo>
                      <a:pt x="5209" y="28988"/>
                    </a:lnTo>
                    <a:lnTo>
                      <a:pt x="1567" y="22876"/>
                    </a:lnTo>
                    <a:lnTo>
                      <a:pt x="0" y="20175"/>
                    </a:lnTo>
                    <a:lnTo>
                      <a:pt x="1640" y="19185"/>
                    </a:lnTo>
                    <a:lnTo>
                      <a:pt x="3616" y="14089"/>
                    </a:lnTo>
                    <a:lnTo>
                      <a:pt x="13301" y="4099"/>
                    </a:lnTo>
                    <a:lnTo>
                      <a:pt x="15148" y="3067"/>
                    </a:lnTo>
                    <a:lnTo>
                      <a:pt x="18705" y="1102"/>
                    </a:lnTo>
                    <a:lnTo>
                      <a:pt x="32042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59" name="Freeform 115">
                <a:extLst>
                  <a:ext uri="{FF2B5EF4-FFF2-40B4-BE49-F238E27FC236}">
                    <a16:creationId xmlns:a16="http://schemas.microsoft.com/office/drawing/2014/main" id="{A64A2A1E-FDDC-2CAF-104E-4F1B643A5033}"/>
                  </a:ext>
                </a:extLst>
              </p:cNvPr>
              <p:cNvSpPr>
                <a:spLocks noChangeAspect="1"/>
              </p:cNvSpPr>
              <p:nvPr>
                <p:custDataLst>
                  <p:tags r:id="rId90"/>
                </p:custDataLst>
              </p:nvPr>
            </p:nvSpPr>
            <p:spPr>
              <a:xfrm>
                <a:off x="4498827" y="5111249"/>
                <a:ext cx="96406" cy="48905"/>
              </a:xfrm>
              <a:custGeom>
                <a:avLst/>
                <a:gdLst/>
                <a:ahLst/>
                <a:cxnLst/>
                <a:rect l="0" t="0" r="0" b="0"/>
                <a:pathLst>
                  <a:path w="98983" h="50212">
                    <a:moveTo>
                      <a:pt x="43632" y="7528"/>
                    </a:moveTo>
                    <a:lnTo>
                      <a:pt x="48388" y="3390"/>
                    </a:lnTo>
                    <a:lnTo>
                      <a:pt x="58303" y="5926"/>
                    </a:lnTo>
                    <a:lnTo>
                      <a:pt x="59157" y="1050"/>
                    </a:lnTo>
                    <a:lnTo>
                      <a:pt x="60282" y="733"/>
                    </a:lnTo>
                    <a:lnTo>
                      <a:pt x="67164" y="6120"/>
                    </a:lnTo>
                    <a:lnTo>
                      <a:pt x="67637" y="5832"/>
                    </a:lnTo>
                    <a:lnTo>
                      <a:pt x="69204" y="8533"/>
                    </a:lnTo>
                    <a:lnTo>
                      <a:pt x="72846" y="14645"/>
                    </a:lnTo>
                    <a:lnTo>
                      <a:pt x="74951" y="17698"/>
                    </a:lnTo>
                    <a:lnTo>
                      <a:pt x="77433" y="18916"/>
                    </a:lnTo>
                    <a:lnTo>
                      <a:pt x="79907" y="18910"/>
                    </a:lnTo>
                    <a:lnTo>
                      <a:pt x="82768" y="18586"/>
                    </a:lnTo>
                    <a:lnTo>
                      <a:pt x="86767" y="18279"/>
                    </a:lnTo>
                    <a:lnTo>
                      <a:pt x="89247" y="18271"/>
                    </a:lnTo>
                    <a:lnTo>
                      <a:pt x="91736" y="19181"/>
                    </a:lnTo>
                    <a:lnTo>
                      <a:pt x="94218" y="21610"/>
                    </a:lnTo>
                    <a:lnTo>
                      <a:pt x="94255" y="21680"/>
                    </a:lnTo>
                    <a:lnTo>
                      <a:pt x="95937" y="23826"/>
                    </a:lnTo>
                    <a:lnTo>
                      <a:pt x="98982" y="31941"/>
                    </a:lnTo>
                    <a:lnTo>
                      <a:pt x="97323" y="40106"/>
                    </a:lnTo>
                    <a:lnTo>
                      <a:pt x="93128" y="45033"/>
                    </a:lnTo>
                    <a:lnTo>
                      <a:pt x="88543" y="43525"/>
                    </a:lnTo>
                    <a:lnTo>
                      <a:pt x="84999" y="43084"/>
                    </a:lnTo>
                    <a:lnTo>
                      <a:pt x="68185" y="50211"/>
                    </a:lnTo>
                    <a:lnTo>
                      <a:pt x="8602" y="44765"/>
                    </a:lnTo>
                    <a:lnTo>
                      <a:pt x="4249" y="42240"/>
                    </a:lnTo>
                    <a:lnTo>
                      <a:pt x="1" y="36373"/>
                    </a:lnTo>
                    <a:lnTo>
                      <a:pt x="0" y="36372"/>
                    </a:lnTo>
                    <a:lnTo>
                      <a:pt x="242" y="36259"/>
                    </a:lnTo>
                    <a:lnTo>
                      <a:pt x="575" y="36121"/>
                    </a:lnTo>
                    <a:lnTo>
                      <a:pt x="11861" y="30536"/>
                    </a:lnTo>
                    <a:lnTo>
                      <a:pt x="7632" y="25862"/>
                    </a:lnTo>
                    <a:lnTo>
                      <a:pt x="9549" y="24167"/>
                    </a:lnTo>
                    <a:lnTo>
                      <a:pt x="13851" y="25131"/>
                    </a:lnTo>
                    <a:lnTo>
                      <a:pt x="12272" y="18438"/>
                    </a:lnTo>
                    <a:lnTo>
                      <a:pt x="13404" y="14098"/>
                    </a:lnTo>
                    <a:lnTo>
                      <a:pt x="12489" y="8471"/>
                    </a:lnTo>
                    <a:lnTo>
                      <a:pt x="22943" y="1575"/>
                    </a:lnTo>
                    <a:lnTo>
                      <a:pt x="23883" y="2049"/>
                    </a:lnTo>
                    <a:lnTo>
                      <a:pt x="26575" y="3393"/>
                    </a:lnTo>
                    <a:lnTo>
                      <a:pt x="28827" y="98"/>
                    </a:lnTo>
                    <a:lnTo>
                      <a:pt x="31666" y="0"/>
                    </a:lnTo>
                    <a:lnTo>
                      <a:pt x="35164" y="3395"/>
                    </a:lnTo>
                    <a:lnTo>
                      <a:pt x="41319" y="477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0" name="Freeform 116">
                <a:extLst>
                  <a:ext uri="{FF2B5EF4-FFF2-40B4-BE49-F238E27FC236}">
                    <a16:creationId xmlns:a16="http://schemas.microsoft.com/office/drawing/2014/main" id="{15AFCF22-1E12-98D8-8DA5-D763327178C3}"/>
                  </a:ext>
                </a:extLst>
              </p:cNvPr>
              <p:cNvSpPr>
                <a:spLocks noChangeAspect="1"/>
              </p:cNvSpPr>
              <p:nvPr>
                <p:custDataLst>
                  <p:tags r:id="rId91"/>
                </p:custDataLst>
              </p:nvPr>
            </p:nvSpPr>
            <p:spPr>
              <a:xfrm>
                <a:off x="4416636" y="5005121"/>
                <a:ext cx="89237" cy="102284"/>
              </a:xfrm>
              <a:custGeom>
                <a:avLst/>
                <a:gdLst/>
                <a:ahLst/>
                <a:cxnLst/>
                <a:rect l="0" t="0" r="0" b="0"/>
                <a:pathLst>
                  <a:path w="91622" h="105018">
                    <a:moveTo>
                      <a:pt x="31547" y="5796"/>
                    </a:moveTo>
                    <a:lnTo>
                      <a:pt x="40155" y="16360"/>
                    </a:lnTo>
                    <a:lnTo>
                      <a:pt x="47326" y="15228"/>
                    </a:lnTo>
                    <a:lnTo>
                      <a:pt x="49717" y="10570"/>
                    </a:lnTo>
                    <a:lnTo>
                      <a:pt x="56213" y="12502"/>
                    </a:lnTo>
                    <a:lnTo>
                      <a:pt x="67399" y="8198"/>
                    </a:lnTo>
                    <a:lnTo>
                      <a:pt x="80786" y="14700"/>
                    </a:lnTo>
                    <a:lnTo>
                      <a:pt x="82659" y="18978"/>
                    </a:lnTo>
                    <a:lnTo>
                      <a:pt x="80639" y="22348"/>
                    </a:lnTo>
                    <a:lnTo>
                      <a:pt x="85494" y="26287"/>
                    </a:lnTo>
                    <a:lnTo>
                      <a:pt x="86409" y="30414"/>
                    </a:lnTo>
                    <a:lnTo>
                      <a:pt x="85333" y="42097"/>
                    </a:lnTo>
                    <a:lnTo>
                      <a:pt x="85974" y="49085"/>
                    </a:lnTo>
                    <a:lnTo>
                      <a:pt x="90966" y="56417"/>
                    </a:lnTo>
                    <a:lnTo>
                      <a:pt x="91621" y="60564"/>
                    </a:lnTo>
                    <a:lnTo>
                      <a:pt x="90762" y="60819"/>
                    </a:lnTo>
                    <a:lnTo>
                      <a:pt x="81396" y="63622"/>
                    </a:lnTo>
                    <a:lnTo>
                      <a:pt x="65984" y="61448"/>
                    </a:lnTo>
                    <a:lnTo>
                      <a:pt x="64396" y="63357"/>
                    </a:lnTo>
                    <a:lnTo>
                      <a:pt x="62641" y="74799"/>
                    </a:lnTo>
                    <a:lnTo>
                      <a:pt x="59463" y="78302"/>
                    </a:lnTo>
                    <a:lnTo>
                      <a:pt x="59059" y="81478"/>
                    </a:lnTo>
                    <a:lnTo>
                      <a:pt x="66292" y="88194"/>
                    </a:lnTo>
                    <a:lnTo>
                      <a:pt x="69030" y="98703"/>
                    </a:lnTo>
                    <a:lnTo>
                      <a:pt x="56923" y="105017"/>
                    </a:lnTo>
                    <a:lnTo>
                      <a:pt x="42481" y="102174"/>
                    </a:lnTo>
                    <a:lnTo>
                      <a:pt x="40833" y="96934"/>
                    </a:lnTo>
                    <a:lnTo>
                      <a:pt x="38203" y="90611"/>
                    </a:lnTo>
                    <a:lnTo>
                      <a:pt x="35356" y="85500"/>
                    </a:lnTo>
                    <a:lnTo>
                      <a:pt x="33452" y="83453"/>
                    </a:lnTo>
                    <a:lnTo>
                      <a:pt x="29320" y="80681"/>
                    </a:lnTo>
                    <a:lnTo>
                      <a:pt x="27141" y="77871"/>
                    </a:lnTo>
                    <a:lnTo>
                      <a:pt x="23453" y="70577"/>
                    </a:lnTo>
                    <a:lnTo>
                      <a:pt x="21341" y="68280"/>
                    </a:lnTo>
                    <a:lnTo>
                      <a:pt x="18198" y="67375"/>
                    </a:lnTo>
                    <a:lnTo>
                      <a:pt x="10633" y="68259"/>
                    </a:lnTo>
                    <a:lnTo>
                      <a:pt x="13407" y="62340"/>
                    </a:lnTo>
                    <a:lnTo>
                      <a:pt x="24262" y="43043"/>
                    </a:lnTo>
                    <a:lnTo>
                      <a:pt x="15740" y="32609"/>
                    </a:lnTo>
                    <a:lnTo>
                      <a:pt x="3822" y="18693"/>
                    </a:lnTo>
                    <a:lnTo>
                      <a:pt x="0" y="14403"/>
                    </a:lnTo>
                    <a:lnTo>
                      <a:pt x="4430" y="11058"/>
                    </a:lnTo>
                    <a:lnTo>
                      <a:pt x="8757" y="13951"/>
                    </a:lnTo>
                    <a:lnTo>
                      <a:pt x="11456" y="13435"/>
                    </a:lnTo>
                    <a:lnTo>
                      <a:pt x="13052" y="9517"/>
                    </a:lnTo>
                    <a:lnTo>
                      <a:pt x="11653" y="2718"/>
                    </a:lnTo>
                    <a:lnTo>
                      <a:pt x="15677" y="0"/>
                    </a:lnTo>
                    <a:lnTo>
                      <a:pt x="26976" y="16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1" name="Freeform 117">
                <a:extLst>
                  <a:ext uri="{FF2B5EF4-FFF2-40B4-BE49-F238E27FC236}">
                    <a16:creationId xmlns:a16="http://schemas.microsoft.com/office/drawing/2014/main" id="{4F5285FE-7320-4902-7091-99EF7119E6CA}"/>
                  </a:ext>
                </a:extLst>
              </p:cNvPr>
              <p:cNvSpPr>
                <a:spLocks noChangeAspect="1"/>
              </p:cNvSpPr>
              <p:nvPr>
                <p:custDataLst>
                  <p:tags r:id="rId92"/>
                </p:custDataLst>
              </p:nvPr>
            </p:nvSpPr>
            <p:spPr>
              <a:xfrm>
                <a:off x="4331844" y="5017436"/>
                <a:ext cx="108424" cy="84275"/>
              </a:xfrm>
              <a:custGeom>
                <a:avLst/>
                <a:gdLst/>
                <a:ahLst/>
                <a:cxnLst/>
                <a:rect l="0" t="0" r="0" b="0"/>
                <a:pathLst>
                  <a:path w="111322" h="86528">
                    <a:moveTo>
                      <a:pt x="86610" y="2091"/>
                    </a:moveTo>
                    <a:lnTo>
                      <a:pt x="87059" y="1759"/>
                    </a:lnTo>
                    <a:lnTo>
                      <a:pt x="90881" y="6049"/>
                    </a:lnTo>
                    <a:lnTo>
                      <a:pt x="102799" y="19965"/>
                    </a:lnTo>
                    <a:lnTo>
                      <a:pt x="111321" y="30399"/>
                    </a:lnTo>
                    <a:lnTo>
                      <a:pt x="100466" y="49696"/>
                    </a:lnTo>
                    <a:lnTo>
                      <a:pt x="97692" y="55615"/>
                    </a:lnTo>
                    <a:lnTo>
                      <a:pt x="97680" y="55616"/>
                    </a:lnTo>
                    <a:lnTo>
                      <a:pt x="79721" y="57696"/>
                    </a:lnTo>
                    <a:lnTo>
                      <a:pt x="76329" y="59100"/>
                    </a:lnTo>
                    <a:lnTo>
                      <a:pt x="73145" y="61126"/>
                    </a:lnTo>
                    <a:lnTo>
                      <a:pt x="71040" y="63487"/>
                    </a:lnTo>
                    <a:lnTo>
                      <a:pt x="70740" y="67075"/>
                    </a:lnTo>
                    <a:lnTo>
                      <a:pt x="72528" y="70819"/>
                    </a:lnTo>
                    <a:lnTo>
                      <a:pt x="74984" y="74476"/>
                    </a:lnTo>
                    <a:lnTo>
                      <a:pt x="76670" y="77785"/>
                    </a:lnTo>
                    <a:lnTo>
                      <a:pt x="66787" y="77705"/>
                    </a:lnTo>
                    <a:lnTo>
                      <a:pt x="66799" y="78699"/>
                    </a:lnTo>
                    <a:lnTo>
                      <a:pt x="65663" y="80414"/>
                    </a:lnTo>
                    <a:lnTo>
                      <a:pt x="64303" y="81102"/>
                    </a:lnTo>
                    <a:lnTo>
                      <a:pt x="63681" y="79092"/>
                    </a:lnTo>
                    <a:lnTo>
                      <a:pt x="63036" y="77611"/>
                    </a:lnTo>
                    <a:lnTo>
                      <a:pt x="61480" y="76415"/>
                    </a:lnTo>
                    <a:lnTo>
                      <a:pt x="59611" y="75560"/>
                    </a:lnTo>
                    <a:lnTo>
                      <a:pt x="58028" y="75235"/>
                    </a:lnTo>
                    <a:lnTo>
                      <a:pt x="57267" y="76068"/>
                    </a:lnTo>
                    <a:lnTo>
                      <a:pt x="55030" y="79669"/>
                    </a:lnTo>
                    <a:lnTo>
                      <a:pt x="53921" y="80420"/>
                    </a:lnTo>
                    <a:lnTo>
                      <a:pt x="52359" y="79877"/>
                    </a:lnTo>
                    <a:lnTo>
                      <a:pt x="49891" y="77959"/>
                    </a:lnTo>
                    <a:lnTo>
                      <a:pt x="43996" y="76488"/>
                    </a:lnTo>
                    <a:lnTo>
                      <a:pt x="41735" y="76326"/>
                    </a:lnTo>
                    <a:lnTo>
                      <a:pt x="39219" y="77452"/>
                    </a:lnTo>
                    <a:lnTo>
                      <a:pt x="36692" y="79726"/>
                    </a:lnTo>
                    <a:lnTo>
                      <a:pt x="33305" y="83763"/>
                    </a:lnTo>
                    <a:lnTo>
                      <a:pt x="31007" y="85169"/>
                    </a:lnTo>
                    <a:lnTo>
                      <a:pt x="28615" y="84491"/>
                    </a:lnTo>
                    <a:lnTo>
                      <a:pt x="25963" y="82737"/>
                    </a:lnTo>
                    <a:lnTo>
                      <a:pt x="23818" y="82481"/>
                    </a:lnTo>
                    <a:lnTo>
                      <a:pt x="22875" y="86527"/>
                    </a:lnTo>
                    <a:lnTo>
                      <a:pt x="19829" y="86353"/>
                    </a:lnTo>
                    <a:lnTo>
                      <a:pt x="5852" y="80223"/>
                    </a:lnTo>
                    <a:lnTo>
                      <a:pt x="1707" y="79863"/>
                    </a:lnTo>
                    <a:lnTo>
                      <a:pt x="911" y="78485"/>
                    </a:lnTo>
                    <a:lnTo>
                      <a:pt x="488" y="77407"/>
                    </a:lnTo>
                    <a:lnTo>
                      <a:pt x="0" y="74619"/>
                    </a:lnTo>
                    <a:lnTo>
                      <a:pt x="4565" y="71255"/>
                    </a:lnTo>
                    <a:lnTo>
                      <a:pt x="4014" y="67192"/>
                    </a:lnTo>
                    <a:lnTo>
                      <a:pt x="1965" y="62303"/>
                    </a:lnTo>
                    <a:lnTo>
                      <a:pt x="1988" y="56396"/>
                    </a:lnTo>
                    <a:lnTo>
                      <a:pt x="10121" y="53883"/>
                    </a:lnTo>
                    <a:lnTo>
                      <a:pt x="11023" y="52650"/>
                    </a:lnTo>
                    <a:lnTo>
                      <a:pt x="13625" y="48001"/>
                    </a:lnTo>
                    <a:lnTo>
                      <a:pt x="15203" y="45874"/>
                    </a:lnTo>
                    <a:lnTo>
                      <a:pt x="16648" y="48768"/>
                    </a:lnTo>
                    <a:lnTo>
                      <a:pt x="15171" y="48751"/>
                    </a:lnTo>
                    <a:lnTo>
                      <a:pt x="15145" y="51096"/>
                    </a:lnTo>
                    <a:lnTo>
                      <a:pt x="16763" y="52327"/>
                    </a:lnTo>
                    <a:lnTo>
                      <a:pt x="18367" y="53977"/>
                    </a:lnTo>
                    <a:lnTo>
                      <a:pt x="25732" y="51604"/>
                    </a:lnTo>
                    <a:lnTo>
                      <a:pt x="37857" y="50954"/>
                    </a:lnTo>
                    <a:lnTo>
                      <a:pt x="49208" y="48174"/>
                    </a:lnTo>
                    <a:lnTo>
                      <a:pt x="54285" y="39656"/>
                    </a:lnTo>
                    <a:lnTo>
                      <a:pt x="54405" y="37125"/>
                    </a:lnTo>
                    <a:lnTo>
                      <a:pt x="54288" y="35072"/>
                    </a:lnTo>
                    <a:lnTo>
                      <a:pt x="54255" y="34433"/>
                    </a:lnTo>
                    <a:lnTo>
                      <a:pt x="61108" y="24489"/>
                    </a:lnTo>
                    <a:lnTo>
                      <a:pt x="62616" y="17079"/>
                    </a:lnTo>
                    <a:lnTo>
                      <a:pt x="65684" y="13079"/>
                    </a:lnTo>
                    <a:lnTo>
                      <a:pt x="65722" y="8520"/>
                    </a:lnTo>
                    <a:lnTo>
                      <a:pt x="68911" y="4391"/>
                    </a:lnTo>
                    <a:lnTo>
                      <a:pt x="73056" y="3685"/>
                    </a:lnTo>
                    <a:lnTo>
                      <a:pt x="7643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2" name="Freeform 118">
                <a:extLst>
                  <a:ext uri="{FF2B5EF4-FFF2-40B4-BE49-F238E27FC236}">
                    <a16:creationId xmlns:a16="http://schemas.microsoft.com/office/drawing/2014/main" id="{15397458-576D-9B66-E03B-E882FEAC2B65}"/>
                  </a:ext>
                </a:extLst>
              </p:cNvPr>
              <p:cNvSpPr>
                <a:spLocks noChangeAspect="1"/>
              </p:cNvSpPr>
              <p:nvPr>
                <p:custDataLst>
                  <p:tags r:id="rId93"/>
                </p:custDataLst>
              </p:nvPr>
            </p:nvSpPr>
            <p:spPr>
              <a:xfrm>
                <a:off x="5013405" y="4163083"/>
                <a:ext cx="68751" cy="68332"/>
              </a:xfrm>
              <a:custGeom>
                <a:avLst/>
                <a:gdLst/>
                <a:ahLst/>
                <a:cxnLst/>
                <a:rect l="0" t="0" r="0" b="0"/>
                <a:pathLst>
                  <a:path w="70589" h="70159">
                    <a:moveTo>
                      <a:pt x="62774" y="25423"/>
                    </a:moveTo>
                    <a:lnTo>
                      <a:pt x="68613" y="25216"/>
                    </a:lnTo>
                    <a:lnTo>
                      <a:pt x="68249" y="26276"/>
                    </a:lnTo>
                    <a:lnTo>
                      <a:pt x="70588" y="35855"/>
                    </a:lnTo>
                    <a:lnTo>
                      <a:pt x="66977" y="55842"/>
                    </a:lnTo>
                    <a:lnTo>
                      <a:pt x="67194" y="64983"/>
                    </a:lnTo>
                    <a:lnTo>
                      <a:pt x="60657" y="63957"/>
                    </a:lnTo>
                    <a:lnTo>
                      <a:pt x="48261" y="69732"/>
                    </a:lnTo>
                    <a:lnTo>
                      <a:pt x="35667" y="70158"/>
                    </a:lnTo>
                    <a:lnTo>
                      <a:pt x="22101" y="69538"/>
                    </a:lnTo>
                    <a:lnTo>
                      <a:pt x="13714" y="63388"/>
                    </a:lnTo>
                    <a:lnTo>
                      <a:pt x="4142" y="49270"/>
                    </a:lnTo>
                    <a:lnTo>
                      <a:pt x="0" y="37644"/>
                    </a:lnTo>
                    <a:lnTo>
                      <a:pt x="352" y="28564"/>
                    </a:lnTo>
                    <a:lnTo>
                      <a:pt x="4035" y="25773"/>
                    </a:lnTo>
                    <a:lnTo>
                      <a:pt x="8394" y="24558"/>
                    </a:lnTo>
                    <a:lnTo>
                      <a:pt x="12457" y="23895"/>
                    </a:lnTo>
                    <a:lnTo>
                      <a:pt x="15392" y="17399"/>
                    </a:lnTo>
                    <a:lnTo>
                      <a:pt x="16421" y="10411"/>
                    </a:lnTo>
                    <a:lnTo>
                      <a:pt x="18777" y="5533"/>
                    </a:lnTo>
                    <a:lnTo>
                      <a:pt x="24034" y="3227"/>
                    </a:lnTo>
                    <a:lnTo>
                      <a:pt x="30842" y="326"/>
                    </a:lnTo>
                    <a:lnTo>
                      <a:pt x="40554" y="0"/>
                    </a:lnTo>
                    <a:lnTo>
                      <a:pt x="45590" y="371"/>
                    </a:lnTo>
                    <a:lnTo>
                      <a:pt x="50122" y="4483"/>
                    </a:lnTo>
                    <a:lnTo>
                      <a:pt x="51005" y="11933"/>
                    </a:lnTo>
                    <a:lnTo>
                      <a:pt x="51243" y="18869"/>
                    </a:lnTo>
                    <a:lnTo>
                      <a:pt x="55210" y="2461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3" name="Freeform 119">
                <a:extLst>
                  <a:ext uri="{FF2B5EF4-FFF2-40B4-BE49-F238E27FC236}">
                    <a16:creationId xmlns:a16="http://schemas.microsoft.com/office/drawing/2014/main" id="{1541EB79-A327-0772-28AD-591C22146638}"/>
                  </a:ext>
                </a:extLst>
              </p:cNvPr>
              <p:cNvSpPr>
                <a:spLocks noChangeAspect="1"/>
              </p:cNvSpPr>
              <p:nvPr>
                <p:custDataLst>
                  <p:tags r:id="rId94"/>
                </p:custDataLst>
              </p:nvPr>
            </p:nvSpPr>
            <p:spPr>
              <a:xfrm>
                <a:off x="4705409" y="4623728"/>
                <a:ext cx="76405" cy="79961"/>
              </a:xfrm>
              <a:custGeom>
                <a:avLst/>
                <a:gdLst/>
                <a:ahLst/>
                <a:cxnLst/>
                <a:rect l="0" t="0" r="0" b="0"/>
                <a:pathLst>
                  <a:path w="78447" h="82099">
                    <a:moveTo>
                      <a:pt x="78446" y="27956"/>
                    </a:moveTo>
                    <a:lnTo>
                      <a:pt x="74891" y="35119"/>
                    </a:lnTo>
                    <a:lnTo>
                      <a:pt x="66096" y="59441"/>
                    </a:lnTo>
                    <a:lnTo>
                      <a:pt x="62292" y="68994"/>
                    </a:lnTo>
                    <a:lnTo>
                      <a:pt x="58472" y="76828"/>
                    </a:lnTo>
                    <a:lnTo>
                      <a:pt x="55925" y="82058"/>
                    </a:lnTo>
                    <a:lnTo>
                      <a:pt x="53041" y="82098"/>
                    </a:lnTo>
                    <a:lnTo>
                      <a:pt x="47472" y="78285"/>
                    </a:lnTo>
                    <a:lnTo>
                      <a:pt x="36314" y="67634"/>
                    </a:lnTo>
                    <a:lnTo>
                      <a:pt x="20139" y="52278"/>
                    </a:lnTo>
                    <a:lnTo>
                      <a:pt x="5321" y="39065"/>
                    </a:lnTo>
                    <a:lnTo>
                      <a:pt x="0" y="30908"/>
                    </a:lnTo>
                    <a:lnTo>
                      <a:pt x="3861" y="24825"/>
                    </a:lnTo>
                    <a:lnTo>
                      <a:pt x="17153" y="21217"/>
                    </a:lnTo>
                    <a:lnTo>
                      <a:pt x="29092" y="14576"/>
                    </a:lnTo>
                    <a:lnTo>
                      <a:pt x="43667" y="9211"/>
                    </a:lnTo>
                    <a:lnTo>
                      <a:pt x="56369" y="1690"/>
                    </a:lnTo>
                    <a:lnTo>
                      <a:pt x="61239" y="0"/>
                    </a:lnTo>
                    <a:lnTo>
                      <a:pt x="67838" y="5510"/>
                    </a:lnTo>
                    <a:lnTo>
                      <a:pt x="69781" y="10477"/>
                    </a:lnTo>
                    <a:lnTo>
                      <a:pt x="67447" y="13809"/>
                    </a:lnTo>
                    <a:lnTo>
                      <a:pt x="67848" y="1506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4" name="Freeform 120">
                <a:extLst>
                  <a:ext uri="{FF2B5EF4-FFF2-40B4-BE49-F238E27FC236}">
                    <a16:creationId xmlns:a16="http://schemas.microsoft.com/office/drawing/2014/main" id="{790ABBCB-12B6-B2A6-1BC8-2C2CCD92F2E0}"/>
                  </a:ext>
                </a:extLst>
              </p:cNvPr>
              <p:cNvSpPr>
                <a:spLocks noChangeAspect="1"/>
              </p:cNvSpPr>
              <p:nvPr>
                <p:custDataLst>
                  <p:tags r:id="rId95"/>
                </p:custDataLst>
              </p:nvPr>
            </p:nvSpPr>
            <p:spPr>
              <a:xfrm>
                <a:off x="4731131" y="4270025"/>
                <a:ext cx="38200" cy="55299"/>
              </a:xfrm>
              <a:custGeom>
                <a:avLst/>
                <a:gdLst/>
                <a:ahLst/>
                <a:cxnLst/>
                <a:rect l="0" t="0" r="0" b="0"/>
                <a:pathLst>
                  <a:path w="39221" h="56777">
                    <a:moveTo>
                      <a:pt x="39220" y="40967"/>
                    </a:moveTo>
                    <a:lnTo>
                      <a:pt x="38279" y="42226"/>
                    </a:lnTo>
                    <a:lnTo>
                      <a:pt x="38476" y="46784"/>
                    </a:lnTo>
                    <a:lnTo>
                      <a:pt x="37442" y="49663"/>
                    </a:lnTo>
                    <a:lnTo>
                      <a:pt x="34901" y="52367"/>
                    </a:lnTo>
                    <a:lnTo>
                      <a:pt x="21704" y="49044"/>
                    </a:lnTo>
                    <a:lnTo>
                      <a:pt x="15200" y="56776"/>
                    </a:lnTo>
                    <a:lnTo>
                      <a:pt x="5997" y="55734"/>
                    </a:lnTo>
                    <a:lnTo>
                      <a:pt x="5940" y="55795"/>
                    </a:lnTo>
                    <a:lnTo>
                      <a:pt x="3912" y="52474"/>
                    </a:lnTo>
                    <a:lnTo>
                      <a:pt x="811" y="45730"/>
                    </a:lnTo>
                    <a:lnTo>
                      <a:pt x="294" y="37246"/>
                    </a:lnTo>
                    <a:lnTo>
                      <a:pt x="0" y="29776"/>
                    </a:lnTo>
                    <a:lnTo>
                      <a:pt x="83" y="20602"/>
                    </a:lnTo>
                    <a:lnTo>
                      <a:pt x="606" y="13467"/>
                    </a:lnTo>
                    <a:lnTo>
                      <a:pt x="3537" y="7999"/>
                    </a:lnTo>
                    <a:lnTo>
                      <a:pt x="7102" y="4219"/>
                    </a:lnTo>
                    <a:lnTo>
                      <a:pt x="13287" y="1432"/>
                    </a:lnTo>
                    <a:lnTo>
                      <a:pt x="18286" y="0"/>
                    </a:lnTo>
                    <a:lnTo>
                      <a:pt x="24743" y="2614"/>
                    </a:lnTo>
                    <a:lnTo>
                      <a:pt x="29109" y="13076"/>
                    </a:lnTo>
                    <a:lnTo>
                      <a:pt x="33700" y="24561"/>
                    </a:lnTo>
                    <a:lnTo>
                      <a:pt x="37909" y="370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5" name="Freeform 121">
                <a:extLst>
                  <a:ext uri="{FF2B5EF4-FFF2-40B4-BE49-F238E27FC236}">
                    <a16:creationId xmlns:a16="http://schemas.microsoft.com/office/drawing/2014/main" id="{660FBF2E-12BC-1CAD-3A56-6702A6171632}"/>
                  </a:ext>
                </a:extLst>
              </p:cNvPr>
              <p:cNvSpPr>
                <a:spLocks noChangeAspect="1"/>
              </p:cNvSpPr>
              <p:nvPr>
                <p:custDataLst>
                  <p:tags r:id="rId96"/>
                </p:custDataLst>
              </p:nvPr>
            </p:nvSpPr>
            <p:spPr>
              <a:xfrm>
                <a:off x="4620719" y="4096758"/>
                <a:ext cx="218724" cy="278953"/>
              </a:xfrm>
              <a:custGeom>
                <a:avLst/>
                <a:gdLst/>
                <a:ahLst/>
                <a:cxnLst/>
                <a:rect l="0" t="0" r="0" b="0"/>
                <a:pathLst>
                  <a:path w="224571" h="286410">
                    <a:moveTo>
                      <a:pt x="129013" y="3049"/>
                    </a:moveTo>
                    <a:lnTo>
                      <a:pt x="127778" y="8062"/>
                    </a:lnTo>
                    <a:lnTo>
                      <a:pt x="114974" y="25631"/>
                    </a:lnTo>
                    <a:lnTo>
                      <a:pt x="113413" y="30016"/>
                    </a:lnTo>
                    <a:lnTo>
                      <a:pt x="107045" y="33592"/>
                    </a:lnTo>
                    <a:lnTo>
                      <a:pt x="106286" y="42311"/>
                    </a:lnTo>
                    <a:lnTo>
                      <a:pt x="107791" y="47920"/>
                    </a:lnTo>
                    <a:lnTo>
                      <a:pt x="113659" y="54105"/>
                    </a:lnTo>
                    <a:lnTo>
                      <a:pt x="125258" y="60636"/>
                    </a:lnTo>
                    <a:lnTo>
                      <a:pt x="127177" y="63701"/>
                    </a:lnTo>
                    <a:lnTo>
                      <a:pt x="127554" y="73026"/>
                    </a:lnTo>
                    <a:lnTo>
                      <a:pt x="129772" y="75770"/>
                    </a:lnTo>
                    <a:lnTo>
                      <a:pt x="134641" y="76432"/>
                    </a:lnTo>
                    <a:lnTo>
                      <a:pt x="145011" y="73418"/>
                    </a:lnTo>
                    <a:lnTo>
                      <a:pt x="150825" y="74495"/>
                    </a:lnTo>
                    <a:lnTo>
                      <a:pt x="152161" y="76588"/>
                    </a:lnTo>
                    <a:lnTo>
                      <a:pt x="152939" y="82323"/>
                    </a:lnTo>
                    <a:lnTo>
                      <a:pt x="154957" y="83773"/>
                    </a:lnTo>
                    <a:lnTo>
                      <a:pt x="152677" y="89851"/>
                    </a:lnTo>
                    <a:lnTo>
                      <a:pt x="155539" y="94062"/>
                    </a:lnTo>
                    <a:lnTo>
                      <a:pt x="163427" y="94678"/>
                    </a:lnTo>
                    <a:lnTo>
                      <a:pt x="166406" y="101522"/>
                    </a:lnTo>
                    <a:lnTo>
                      <a:pt x="169339" y="101909"/>
                    </a:lnTo>
                    <a:lnTo>
                      <a:pt x="179755" y="96857"/>
                    </a:lnTo>
                    <a:lnTo>
                      <a:pt x="179629" y="100671"/>
                    </a:lnTo>
                    <a:lnTo>
                      <a:pt x="181036" y="102463"/>
                    </a:lnTo>
                    <a:lnTo>
                      <a:pt x="188164" y="103188"/>
                    </a:lnTo>
                    <a:lnTo>
                      <a:pt x="190928" y="107386"/>
                    </a:lnTo>
                    <a:lnTo>
                      <a:pt x="192053" y="114476"/>
                    </a:lnTo>
                    <a:lnTo>
                      <a:pt x="207757" y="122364"/>
                    </a:lnTo>
                    <a:lnTo>
                      <a:pt x="209630" y="132302"/>
                    </a:lnTo>
                    <a:lnTo>
                      <a:pt x="216895" y="142029"/>
                    </a:lnTo>
                    <a:lnTo>
                      <a:pt x="224570" y="147654"/>
                    </a:lnTo>
                    <a:lnTo>
                      <a:pt x="223624" y="153153"/>
                    </a:lnTo>
                    <a:lnTo>
                      <a:pt x="221430" y="156593"/>
                    </a:lnTo>
                    <a:lnTo>
                      <a:pt x="210633" y="162106"/>
                    </a:lnTo>
                    <a:lnTo>
                      <a:pt x="205120" y="169535"/>
                    </a:lnTo>
                    <a:lnTo>
                      <a:pt x="205194" y="183338"/>
                    </a:lnTo>
                    <a:lnTo>
                      <a:pt x="196735" y="194849"/>
                    </a:lnTo>
                    <a:lnTo>
                      <a:pt x="199264" y="202565"/>
                    </a:lnTo>
                    <a:lnTo>
                      <a:pt x="198827" y="205891"/>
                    </a:lnTo>
                    <a:lnTo>
                      <a:pt x="182192" y="215485"/>
                    </a:lnTo>
                    <a:lnTo>
                      <a:pt x="177676" y="219709"/>
                    </a:lnTo>
                    <a:lnTo>
                      <a:pt x="175694" y="225154"/>
                    </a:lnTo>
                    <a:lnTo>
                      <a:pt x="176742" y="235424"/>
                    </a:lnTo>
                    <a:lnTo>
                      <a:pt x="175206" y="237790"/>
                    </a:lnTo>
                    <a:lnTo>
                      <a:pt x="171287" y="233085"/>
                    </a:lnTo>
                    <a:lnTo>
                      <a:pt x="169924" y="218346"/>
                    </a:lnTo>
                    <a:lnTo>
                      <a:pt x="167143" y="217868"/>
                    </a:lnTo>
                    <a:lnTo>
                      <a:pt x="158825" y="221386"/>
                    </a:lnTo>
                    <a:lnTo>
                      <a:pt x="153249" y="217968"/>
                    </a:lnTo>
                    <a:lnTo>
                      <a:pt x="152584" y="218866"/>
                    </a:lnTo>
                    <a:lnTo>
                      <a:pt x="151273" y="214957"/>
                    </a:lnTo>
                    <a:lnTo>
                      <a:pt x="147064" y="202460"/>
                    </a:lnTo>
                    <a:lnTo>
                      <a:pt x="142473" y="190975"/>
                    </a:lnTo>
                    <a:lnTo>
                      <a:pt x="138107" y="180513"/>
                    </a:lnTo>
                    <a:lnTo>
                      <a:pt x="131650" y="177899"/>
                    </a:lnTo>
                    <a:lnTo>
                      <a:pt x="126651" y="179331"/>
                    </a:lnTo>
                    <a:lnTo>
                      <a:pt x="120466" y="182118"/>
                    </a:lnTo>
                    <a:lnTo>
                      <a:pt x="116901" y="185898"/>
                    </a:lnTo>
                    <a:lnTo>
                      <a:pt x="113970" y="191366"/>
                    </a:lnTo>
                    <a:lnTo>
                      <a:pt x="113447" y="198501"/>
                    </a:lnTo>
                    <a:lnTo>
                      <a:pt x="113364" y="207675"/>
                    </a:lnTo>
                    <a:lnTo>
                      <a:pt x="113658" y="215145"/>
                    </a:lnTo>
                    <a:lnTo>
                      <a:pt x="114175" y="223629"/>
                    </a:lnTo>
                    <a:lnTo>
                      <a:pt x="117276" y="230373"/>
                    </a:lnTo>
                    <a:lnTo>
                      <a:pt x="119304" y="233694"/>
                    </a:lnTo>
                    <a:lnTo>
                      <a:pt x="107092" y="244512"/>
                    </a:lnTo>
                    <a:lnTo>
                      <a:pt x="102812" y="240004"/>
                    </a:lnTo>
                    <a:lnTo>
                      <a:pt x="99975" y="239286"/>
                    </a:lnTo>
                    <a:lnTo>
                      <a:pt x="94129" y="246048"/>
                    </a:lnTo>
                    <a:lnTo>
                      <a:pt x="92494" y="246067"/>
                    </a:lnTo>
                    <a:lnTo>
                      <a:pt x="89798" y="241754"/>
                    </a:lnTo>
                    <a:lnTo>
                      <a:pt x="80119" y="243440"/>
                    </a:lnTo>
                    <a:lnTo>
                      <a:pt x="78110" y="244626"/>
                    </a:lnTo>
                    <a:lnTo>
                      <a:pt x="76001" y="253780"/>
                    </a:lnTo>
                    <a:lnTo>
                      <a:pt x="76940" y="259508"/>
                    </a:lnTo>
                    <a:lnTo>
                      <a:pt x="74341" y="264095"/>
                    </a:lnTo>
                    <a:lnTo>
                      <a:pt x="72407" y="271322"/>
                    </a:lnTo>
                    <a:lnTo>
                      <a:pt x="63619" y="278616"/>
                    </a:lnTo>
                    <a:lnTo>
                      <a:pt x="60480" y="272505"/>
                    </a:lnTo>
                    <a:lnTo>
                      <a:pt x="58079" y="271895"/>
                    </a:lnTo>
                    <a:lnTo>
                      <a:pt x="52315" y="276509"/>
                    </a:lnTo>
                    <a:lnTo>
                      <a:pt x="51329" y="279282"/>
                    </a:lnTo>
                    <a:lnTo>
                      <a:pt x="51629" y="285440"/>
                    </a:lnTo>
                    <a:lnTo>
                      <a:pt x="49241" y="286409"/>
                    </a:lnTo>
                    <a:lnTo>
                      <a:pt x="43879" y="279445"/>
                    </a:lnTo>
                    <a:lnTo>
                      <a:pt x="38228" y="276202"/>
                    </a:lnTo>
                    <a:lnTo>
                      <a:pt x="30841" y="274563"/>
                    </a:lnTo>
                    <a:lnTo>
                      <a:pt x="27613" y="273845"/>
                    </a:lnTo>
                    <a:lnTo>
                      <a:pt x="17528" y="265742"/>
                    </a:lnTo>
                    <a:lnTo>
                      <a:pt x="15072" y="266193"/>
                    </a:lnTo>
                    <a:lnTo>
                      <a:pt x="14702" y="267874"/>
                    </a:lnTo>
                    <a:lnTo>
                      <a:pt x="16658" y="277210"/>
                    </a:lnTo>
                    <a:lnTo>
                      <a:pt x="0" y="267331"/>
                    </a:lnTo>
                    <a:lnTo>
                      <a:pt x="225" y="260330"/>
                    </a:lnTo>
                    <a:lnTo>
                      <a:pt x="3221" y="258071"/>
                    </a:lnTo>
                    <a:lnTo>
                      <a:pt x="4462" y="253720"/>
                    </a:lnTo>
                    <a:lnTo>
                      <a:pt x="2785" y="247569"/>
                    </a:lnTo>
                    <a:lnTo>
                      <a:pt x="7843" y="239898"/>
                    </a:lnTo>
                    <a:lnTo>
                      <a:pt x="8070" y="234803"/>
                    </a:lnTo>
                    <a:lnTo>
                      <a:pt x="10328" y="233525"/>
                    </a:lnTo>
                    <a:lnTo>
                      <a:pt x="15245" y="235082"/>
                    </a:lnTo>
                    <a:lnTo>
                      <a:pt x="22145" y="221876"/>
                    </a:lnTo>
                    <a:lnTo>
                      <a:pt x="18859" y="204877"/>
                    </a:lnTo>
                    <a:lnTo>
                      <a:pt x="18623" y="203695"/>
                    </a:lnTo>
                    <a:lnTo>
                      <a:pt x="18468" y="203202"/>
                    </a:lnTo>
                    <a:lnTo>
                      <a:pt x="18467" y="203197"/>
                    </a:lnTo>
                    <a:lnTo>
                      <a:pt x="26798" y="197178"/>
                    </a:lnTo>
                    <a:lnTo>
                      <a:pt x="29575" y="193193"/>
                    </a:lnTo>
                    <a:lnTo>
                      <a:pt x="10176" y="193079"/>
                    </a:lnTo>
                    <a:lnTo>
                      <a:pt x="1877" y="189412"/>
                    </a:lnTo>
                    <a:lnTo>
                      <a:pt x="16940" y="165614"/>
                    </a:lnTo>
                    <a:lnTo>
                      <a:pt x="18831" y="150403"/>
                    </a:lnTo>
                    <a:lnTo>
                      <a:pt x="13729" y="131859"/>
                    </a:lnTo>
                    <a:lnTo>
                      <a:pt x="2350" y="118277"/>
                    </a:lnTo>
                    <a:lnTo>
                      <a:pt x="22965" y="110215"/>
                    </a:lnTo>
                    <a:lnTo>
                      <a:pt x="26658" y="109753"/>
                    </a:lnTo>
                    <a:lnTo>
                      <a:pt x="29630" y="112064"/>
                    </a:lnTo>
                    <a:lnTo>
                      <a:pt x="31337" y="112704"/>
                    </a:lnTo>
                    <a:lnTo>
                      <a:pt x="32038" y="110987"/>
                    </a:lnTo>
                    <a:lnTo>
                      <a:pt x="32780" y="108681"/>
                    </a:lnTo>
                    <a:lnTo>
                      <a:pt x="34521" y="106709"/>
                    </a:lnTo>
                    <a:lnTo>
                      <a:pt x="36540" y="105230"/>
                    </a:lnTo>
                    <a:lnTo>
                      <a:pt x="38143" y="104409"/>
                    </a:lnTo>
                    <a:lnTo>
                      <a:pt x="35577" y="100138"/>
                    </a:lnTo>
                    <a:lnTo>
                      <a:pt x="43327" y="92052"/>
                    </a:lnTo>
                    <a:lnTo>
                      <a:pt x="44262" y="85856"/>
                    </a:lnTo>
                    <a:lnTo>
                      <a:pt x="40367" y="88811"/>
                    </a:lnTo>
                    <a:lnTo>
                      <a:pt x="36487" y="90398"/>
                    </a:lnTo>
                    <a:lnTo>
                      <a:pt x="29611" y="91197"/>
                    </a:lnTo>
                    <a:lnTo>
                      <a:pt x="28525" y="90210"/>
                    </a:lnTo>
                    <a:lnTo>
                      <a:pt x="24920" y="81981"/>
                    </a:lnTo>
                    <a:lnTo>
                      <a:pt x="24424" y="79015"/>
                    </a:lnTo>
                    <a:lnTo>
                      <a:pt x="25961" y="76842"/>
                    </a:lnTo>
                    <a:lnTo>
                      <a:pt x="28302" y="74944"/>
                    </a:lnTo>
                    <a:lnTo>
                      <a:pt x="30241" y="72939"/>
                    </a:lnTo>
                    <a:lnTo>
                      <a:pt x="34531" y="64696"/>
                    </a:lnTo>
                    <a:lnTo>
                      <a:pt x="37595" y="61080"/>
                    </a:lnTo>
                    <a:lnTo>
                      <a:pt x="44766" y="58035"/>
                    </a:lnTo>
                    <a:lnTo>
                      <a:pt x="47332" y="54204"/>
                    </a:lnTo>
                    <a:lnTo>
                      <a:pt x="51546" y="44075"/>
                    </a:lnTo>
                    <a:lnTo>
                      <a:pt x="47725" y="38497"/>
                    </a:lnTo>
                    <a:lnTo>
                      <a:pt x="42354" y="27954"/>
                    </a:lnTo>
                    <a:lnTo>
                      <a:pt x="42351" y="27948"/>
                    </a:lnTo>
                    <a:lnTo>
                      <a:pt x="42723" y="27769"/>
                    </a:lnTo>
                    <a:lnTo>
                      <a:pt x="47930" y="25631"/>
                    </a:lnTo>
                    <a:lnTo>
                      <a:pt x="52147" y="19007"/>
                    </a:lnTo>
                    <a:lnTo>
                      <a:pt x="65410" y="21854"/>
                    </a:lnTo>
                    <a:lnTo>
                      <a:pt x="70827" y="28909"/>
                    </a:lnTo>
                    <a:lnTo>
                      <a:pt x="79365" y="31052"/>
                    </a:lnTo>
                    <a:lnTo>
                      <a:pt x="81326" y="29549"/>
                    </a:lnTo>
                    <a:lnTo>
                      <a:pt x="82457" y="25074"/>
                    </a:lnTo>
                    <a:lnTo>
                      <a:pt x="88821" y="15446"/>
                    </a:lnTo>
                    <a:lnTo>
                      <a:pt x="100316" y="16475"/>
                    </a:lnTo>
                    <a:lnTo>
                      <a:pt x="110323" y="11572"/>
                    </a:lnTo>
                    <a:lnTo>
                      <a:pt x="126674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6" name="Freeform 122">
                <a:extLst>
                  <a:ext uri="{FF2B5EF4-FFF2-40B4-BE49-F238E27FC236}">
                    <a16:creationId xmlns:a16="http://schemas.microsoft.com/office/drawing/2014/main" id="{B0541D4F-6B9A-0410-5776-2D39447AFBFA}"/>
                  </a:ext>
                </a:extLst>
              </p:cNvPr>
              <p:cNvSpPr>
                <a:spLocks noChangeAspect="1"/>
              </p:cNvSpPr>
              <p:nvPr>
                <p:custDataLst>
                  <p:tags r:id="rId97"/>
                </p:custDataLst>
              </p:nvPr>
            </p:nvSpPr>
            <p:spPr>
              <a:xfrm>
                <a:off x="5044076" y="4109419"/>
                <a:ext cx="278537" cy="220487"/>
              </a:xfrm>
              <a:custGeom>
                <a:avLst/>
                <a:gdLst/>
                <a:ahLst/>
                <a:cxnLst/>
                <a:rect l="0" t="0" r="0" b="0"/>
                <a:pathLst>
                  <a:path w="285983" h="226381">
                    <a:moveTo>
                      <a:pt x="192668" y="12357"/>
                    </a:moveTo>
                    <a:lnTo>
                      <a:pt x="195481" y="9677"/>
                    </a:lnTo>
                    <a:lnTo>
                      <a:pt x="197328" y="5005"/>
                    </a:lnTo>
                    <a:lnTo>
                      <a:pt x="197460" y="4713"/>
                    </a:lnTo>
                    <a:lnTo>
                      <a:pt x="197466" y="4698"/>
                    </a:lnTo>
                    <a:lnTo>
                      <a:pt x="217607" y="11741"/>
                    </a:lnTo>
                    <a:lnTo>
                      <a:pt x="225994" y="18783"/>
                    </a:lnTo>
                    <a:lnTo>
                      <a:pt x="206720" y="30683"/>
                    </a:lnTo>
                    <a:lnTo>
                      <a:pt x="200201" y="39048"/>
                    </a:lnTo>
                    <a:lnTo>
                      <a:pt x="195337" y="54402"/>
                    </a:lnTo>
                    <a:lnTo>
                      <a:pt x="200770" y="64846"/>
                    </a:lnTo>
                    <a:lnTo>
                      <a:pt x="208369" y="89542"/>
                    </a:lnTo>
                    <a:lnTo>
                      <a:pt x="212851" y="100821"/>
                    </a:lnTo>
                    <a:lnTo>
                      <a:pt x="238469" y="137138"/>
                    </a:lnTo>
                    <a:lnTo>
                      <a:pt x="281774" y="195667"/>
                    </a:lnTo>
                    <a:lnTo>
                      <a:pt x="285982" y="208097"/>
                    </a:lnTo>
                    <a:lnTo>
                      <a:pt x="283805" y="220632"/>
                    </a:lnTo>
                    <a:lnTo>
                      <a:pt x="282586" y="222110"/>
                    </a:lnTo>
                    <a:lnTo>
                      <a:pt x="277899" y="226380"/>
                    </a:lnTo>
                    <a:lnTo>
                      <a:pt x="282234" y="214374"/>
                    </a:lnTo>
                    <a:lnTo>
                      <a:pt x="282959" y="207845"/>
                    </a:lnTo>
                    <a:lnTo>
                      <a:pt x="279242" y="205184"/>
                    </a:lnTo>
                    <a:lnTo>
                      <a:pt x="274465" y="203822"/>
                    </a:lnTo>
                    <a:lnTo>
                      <a:pt x="264310" y="197073"/>
                    </a:lnTo>
                    <a:lnTo>
                      <a:pt x="259323" y="195483"/>
                    </a:lnTo>
                    <a:lnTo>
                      <a:pt x="254920" y="196773"/>
                    </a:lnTo>
                    <a:lnTo>
                      <a:pt x="246420" y="202699"/>
                    </a:lnTo>
                    <a:lnTo>
                      <a:pt x="241701" y="204187"/>
                    </a:lnTo>
                    <a:lnTo>
                      <a:pt x="236159" y="203925"/>
                    </a:lnTo>
                    <a:lnTo>
                      <a:pt x="230909" y="202602"/>
                    </a:lnTo>
                    <a:lnTo>
                      <a:pt x="226189" y="200351"/>
                    </a:lnTo>
                    <a:lnTo>
                      <a:pt x="222097" y="197274"/>
                    </a:lnTo>
                    <a:lnTo>
                      <a:pt x="199260" y="170079"/>
                    </a:lnTo>
                    <a:lnTo>
                      <a:pt x="191083" y="164520"/>
                    </a:lnTo>
                    <a:lnTo>
                      <a:pt x="183065" y="163589"/>
                    </a:lnTo>
                    <a:lnTo>
                      <a:pt x="182834" y="162257"/>
                    </a:lnTo>
                    <a:lnTo>
                      <a:pt x="182075" y="158852"/>
                    </a:lnTo>
                    <a:lnTo>
                      <a:pt x="179542" y="153755"/>
                    </a:lnTo>
                    <a:lnTo>
                      <a:pt x="176267" y="149127"/>
                    </a:lnTo>
                    <a:lnTo>
                      <a:pt x="172000" y="145421"/>
                    </a:lnTo>
                    <a:lnTo>
                      <a:pt x="167610" y="144744"/>
                    </a:lnTo>
                    <a:lnTo>
                      <a:pt x="161743" y="145424"/>
                    </a:lnTo>
                    <a:lnTo>
                      <a:pt x="156994" y="148228"/>
                    </a:lnTo>
                    <a:lnTo>
                      <a:pt x="153031" y="151442"/>
                    </a:lnTo>
                    <a:lnTo>
                      <a:pt x="149347" y="161146"/>
                    </a:lnTo>
                    <a:lnTo>
                      <a:pt x="148936" y="169840"/>
                    </a:lnTo>
                    <a:lnTo>
                      <a:pt x="148676" y="174453"/>
                    </a:lnTo>
                    <a:lnTo>
                      <a:pt x="148670" y="174453"/>
                    </a:lnTo>
                    <a:lnTo>
                      <a:pt x="134936" y="175030"/>
                    </a:lnTo>
                    <a:lnTo>
                      <a:pt x="127344" y="177196"/>
                    </a:lnTo>
                    <a:lnTo>
                      <a:pt x="125717" y="176609"/>
                    </a:lnTo>
                    <a:lnTo>
                      <a:pt x="119904" y="171305"/>
                    </a:lnTo>
                    <a:lnTo>
                      <a:pt x="119207" y="170446"/>
                    </a:lnTo>
                    <a:lnTo>
                      <a:pt x="106077" y="169433"/>
                    </a:lnTo>
                    <a:lnTo>
                      <a:pt x="101321" y="171162"/>
                    </a:lnTo>
                    <a:lnTo>
                      <a:pt x="86332" y="182202"/>
                    </a:lnTo>
                    <a:lnTo>
                      <a:pt x="88421" y="182869"/>
                    </a:lnTo>
                    <a:lnTo>
                      <a:pt x="90451" y="183911"/>
                    </a:lnTo>
                    <a:lnTo>
                      <a:pt x="92403" y="185329"/>
                    </a:lnTo>
                    <a:lnTo>
                      <a:pt x="92630" y="185551"/>
                    </a:lnTo>
                    <a:lnTo>
                      <a:pt x="92629" y="185558"/>
                    </a:lnTo>
                    <a:lnTo>
                      <a:pt x="92429" y="186741"/>
                    </a:lnTo>
                    <a:lnTo>
                      <a:pt x="91816" y="186469"/>
                    </a:lnTo>
                    <a:lnTo>
                      <a:pt x="87204" y="191340"/>
                    </a:lnTo>
                    <a:lnTo>
                      <a:pt x="77781" y="198794"/>
                    </a:lnTo>
                    <a:lnTo>
                      <a:pt x="68742" y="207858"/>
                    </a:lnTo>
                    <a:lnTo>
                      <a:pt x="60962" y="216347"/>
                    </a:lnTo>
                    <a:lnTo>
                      <a:pt x="57206" y="217018"/>
                    </a:lnTo>
                    <a:lnTo>
                      <a:pt x="56513" y="214386"/>
                    </a:lnTo>
                    <a:lnTo>
                      <a:pt x="57087" y="209375"/>
                    </a:lnTo>
                    <a:lnTo>
                      <a:pt x="38330" y="200704"/>
                    </a:lnTo>
                    <a:lnTo>
                      <a:pt x="25841" y="199966"/>
                    </a:lnTo>
                    <a:lnTo>
                      <a:pt x="8454" y="205249"/>
                    </a:lnTo>
                    <a:lnTo>
                      <a:pt x="0" y="194901"/>
                    </a:lnTo>
                    <a:lnTo>
                      <a:pt x="3099" y="187893"/>
                    </a:lnTo>
                    <a:lnTo>
                      <a:pt x="3110" y="180237"/>
                    </a:lnTo>
                    <a:lnTo>
                      <a:pt x="19917" y="186901"/>
                    </a:lnTo>
                    <a:lnTo>
                      <a:pt x="28362" y="183627"/>
                    </a:lnTo>
                    <a:lnTo>
                      <a:pt x="37240" y="176636"/>
                    </a:lnTo>
                    <a:lnTo>
                      <a:pt x="41027" y="175435"/>
                    </a:lnTo>
                    <a:lnTo>
                      <a:pt x="33219" y="170298"/>
                    </a:lnTo>
                    <a:lnTo>
                      <a:pt x="32146" y="168003"/>
                    </a:lnTo>
                    <a:lnTo>
                      <a:pt x="38464" y="158098"/>
                    </a:lnTo>
                    <a:lnTo>
                      <a:pt x="38864" y="149914"/>
                    </a:lnTo>
                    <a:lnTo>
                      <a:pt x="41068" y="142929"/>
                    </a:lnTo>
                    <a:lnTo>
                      <a:pt x="35999" y="132489"/>
                    </a:lnTo>
                    <a:lnTo>
                      <a:pt x="35703" y="120081"/>
                    </a:lnTo>
                    <a:lnTo>
                      <a:pt x="35486" y="110940"/>
                    </a:lnTo>
                    <a:lnTo>
                      <a:pt x="39097" y="90953"/>
                    </a:lnTo>
                    <a:lnTo>
                      <a:pt x="36758" y="81374"/>
                    </a:lnTo>
                    <a:lnTo>
                      <a:pt x="37122" y="80314"/>
                    </a:lnTo>
                    <a:lnTo>
                      <a:pt x="39140" y="74491"/>
                    </a:lnTo>
                    <a:lnTo>
                      <a:pt x="45313" y="66523"/>
                    </a:lnTo>
                    <a:lnTo>
                      <a:pt x="79975" y="59480"/>
                    </a:lnTo>
                    <a:lnTo>
                      <a:pt x="87344" y="64512"/>
                    </a:lnTo>
                    <a:lnTo>
                      <a:pt x="94897" y="64651"/>
                    </a:lnTo>
                    <a:lnTo>
                      <a:pt x="95258" y="57839"/>
                    </a:lnTo>
                    <a:lnTo>
                      <a:pt x="100695" y="54858"/>
                    </a:lnTo>
                    <a:lnTo>
                      <a:pt x="101154" y="48989"/>
                    </a:lnTo>
                    <a:lnTo>
                      <a:pt x="99403" y="45778"/>
                    </a:lnTo>
                    <a:lnTo>
                      <a:pt x="100223" y="44679"/>
                    </a:lnTo>
                    <a:lnTo>
                      <a:pt x="108373" y="40954"/>
                    </a:lnTo>
                    <a:lnTo>
                      <a:pt x="115579" y="34178"/>
                    </a:lnTo>
                    <a:lnTo>
                      <a:pt x="120691" y="32903"/>
                    </a:lnTo>
                    <a:lnTo>
                      <a:pt x="128481" y="34182"/>
                    </a:lnTo>
                    <a:lnTo>
                      <a:pt x="143019" y="24430"/>
                    </a:lnTo>
                    <a:lnTo>
                      <a:pt x="144028" y="21728"/>
                    </a:lnTo>
                    <a:lnTo>
                      <a:pt x="142326" y="18194"/>
                    </a:lnTo>
                    <a:lnTo>
                      <a:pt x="148417" y="12191"/>
                    </a:lnTo>
                    <a:lnTo>
                      <a:pt x="149017" y="2924"/>
                    </a:lnTo>
                    <a:lnTo>
                      <a:pt x="152872" y="0"/>
                    </a:lnTo>
                    <a:lnTo>
                      <a:pt x="158344" y="1465"/>
                    </a:lnTo>
                    <a:lnTo>
                      <a:pt x="162832" y="7416"/>
                    </a:lnTo>
                    <a:lnTo>
                      <a:pt x="172547" y="8806"/>
                    </a:lnTo>
                    <a:lnTo>
                      <a:pt x="176599" y="1192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7" name="Freeform 123">
                <a:extLst>
                  <a:ext uri="{FF2B5EF4-FFF2-40B4-BE49-F238E27FC236}">
                    <a16:creationId xmlns:a16="http://schemas.microsoft.com/office/drawing/2014/main" id="{9218AEE7-3DE2-7AB5-E425-C7C757016CE9}"/>
                  </a:ext>
                </a:extLst>
              </p:cNvPr>
              <p:cNvSpPr>
                <a:spLocks noChangeAspect="1"/>
              </p:cNvSpPr>
              <p:nvPr>
                <p:custDataLst>
                  <p:tags r:id="rId98"/>
                </p:custDataLst>
              </p:nvPr>
            </p:nvSpPr>
            <p:spPr>
              <a:xfrm>
                <a:off x="4497812" y="4428351"/>
                <a:ext cx="109946" cy="184030"/>
              </a:xfrm>
              <a:custGeom>
                <a:avLst/>
                <a:gdLst/>
                <a:ahLst/>
                <a:cxnLst/>
                <a:rect l="0" t="0" r="0" b="0"/>
                <a:pathLst>
                  <a:path w="112885" h="188949">
                    <a:moveTo>
                      <a:pt x="50482" y="2424"/>
                    </a:moveTo>
                    <a:lnTo>
                      <a:pt x="50506" y="2424"/>
                    </a:lnTo>
                    <a:lnTo>
                      <a:pt x="48134" y="7244"/>
                    </a:lnTo>
                    <a:lnTo>
                      <a:pt x="46673" y="20532"/>
                    </a:lnTo>
                    <a:lnTo>
                      <a:pt x="48440" y="22999"/>
                    </a:lnTo>
                    <a:lnTo>
                      <a:pt x="54032" y="25443"/>
                    </a:lnTo>
                    <a:lnTo>
                      <a:pt x="56103" y="29884"/>
                    </a:lnTo>
                    <a:lnTo>
                      <a:pt x="56108" y="34305"/>
                    </a:lnTo>
                    <a:lnTo>
                      <a:pt x="54638" y="40210"/>
                    </a:lnTo>
                    <a:lnTo>
                      <a:pt x="54645" y="46114"/>
                    </a:lnTo>
                    <a:lnTo>
                      <a:pt x="56128" y="50555"/>
                    </a:lnTo>
                    <a:lnTo>
                      <a:pt x="59375" y="55961"/>
                    </a:lnTo>
                    <a:lnTo>
                      <a:pt x="65883" y="66780"/>
                    </a:lnTo>
                    <a:lnTo>
                      <a:pt x="72095" y="74142"/>
                    </a:lnTo>
                    <a:lnTo>
                      <a:pt x="76529" y="76105"/>
                    </a:lnTo>
                    <a:lnTo>
                      <a:pt x="81254" y="76093"/>
                    </a:lnTo>
                    <a:lnTo>
                      <a:pt x="85678" y="76080"/>
                    </a:lnTo>
                    <a:lnTo>
                      <a:pt x="90408" y="77546"/>
                    </a:lnTo>
                    <a:lnTo>
                      <a:pt x="92487" y="80995"/>
                    </a:lnTo>
                    <a:lnTo>
                      <a:pt x="95769" y="89334"/>
                    </a:lnTo>
                    <a:lnTo>
                      <a:pt x="101122" y="100153"/>
                    </a:lnTo>
                    <a:lnTo>
                      <a:pt x="106288" y="108662"/>
                    </a:lnTo>
                    <a:lnTo>
                      <a:pt x="104133" y="111455"/>
                    </a:lnTo>
                    <a:lnTo>
                      <a:pt x="102119" y="125738"/>
                    </a:lnTo>
                    <a:lnTo>
                      <a:pt x="102156" y="135096"/>
                    </a:lnTo>
                    <a:lnTo>
                      <a:pt x="105129" y="139506"/>
                    </a:lnTo>
                    <a:lnTo>
                      <a:pt x="109293" y="142943"/>
                    </a:lnTo>
                    <a:lnTo>
                      <a:pt x="112884" y="147843"/>
                    </a:lnTo>
                    <a:lnTo>
                      <a:pt x="100448" y="152812"/>
                    </a:lnTo>
                    <a:lnTo>
                      <a:pt x="88594" y="157781"/>
                    </a:lnTo>
                    <a:lnTo>
                      <a:pt x="80586" y="158792"/>
                    </a:lnTo>
                    <a:lnTo>
                      <a:pt x="69606" y="159300"/>
                    </a:lnTo>
                    <a:lnTo>
                      <a:pt x="63078" y="159807"/>
                    </a:lnTo>
                    <a:lnTo>
                      <a:pt x="55968" y="167201"/>
                    </a:lnTo>
                    <a:lnTo>
                      <a:pt x="48847" y="176566"/>
                    </a:lnTo>
                    <a:lnTo>
                      <a:pt x="44781" y="184841"/>
                    </a:lnTo>
                    <a:lnTo>
                      <a:pt x="34301" y="188948"/>
                    </a:lnTo>
                    <a:lnTo>
                      <a:pt x="26491" y="186912"/>
                    </a:lnTo>
                    <a:lnTo>
                      <a:pt x="26880" y="174830"/>
                    </a:lnTo>
                    <a:lnTo>
                      <a:pt x="30468" y="171238"/>
                    </a:lnTo>
                    <a:lnTo>
                      <a:pt x="31041" y="168573"/>
                    </a:lnTo>
                    <a:lnTo>
                      <a:pt x="29958" y="166243"/>
                    </a:lnTo>
                    <a:lnTo>
                      <a:pt x="27016" y="165708"/>
                    </a:lnTo>
                    <a:lnTo>
                      <a:pt x="24973" y="159645"/>
                    </a:lnTo>
                    <a:lnTo>
                      <a:pt x="34700" y="149996"/>
                    </a:lnTo>
                    <a:lnTo>
                      <a:pt x="37251" y="145337"/>
                    </a:lnTo>
                    <a:lnTo>
                      <a:pt x="36550" y="144270"/>
                    </a:lnTo>
                    <a:lnTo>
                      <a:pt x="29647" y="142472"/>
                    </a:lnTo>
                    <a:lnTo>
                      <a:pt x="28469" y="143182"/>
                    </a:lnTo>
                    <a:lnTo>
                      <a:pt x="27483" y="130803"/>
                    </a:lnTo>
                    <a:lnTo>
                      <a:pt x="26895" y="121443"/>
                    </a:lnTo>
                    <a:lnTo>
                      <a:pt x="24829" y="112577"/>
                    </a:lnTo>
                    <a:lnTo>
                      <a:pt x="18616" y="106175"/>
                    </a:lnTo>
                    <a:lnTo>
                      <a:pt x="15665" y="103703"/>
                    </a:lnTo>
                    <a:lnTo>
                      <a:pt x="8571" y="103199"/>
                    </a:lnTo>
                    <a:lnTo>
                      <a:pt x="0" y="100733"/>
                    </a:lnTo>
                    <a:lnTo>
                      <a:pt x="20127" y="79107"/>
                    </a:lnTo>
                    <a:lnTo>
                      <a:pt x="25447" y="69261"/>
                    </a:lnTo>
                    <a:lnTo>
                      <a:pt x="25453" y="60394"/>
                    </a:lnTo>
                    <a:lnTo>
                      <a:pt x="24873" y="53010"/>
                    </a:lnTo>
                    <a:lnTo>
                      <a:pt x="21633" y="45633"/>
                    </a:lnTo>
                    <a:lnTo>
                      <a:pt x="18392" y="42184"/>
                    </a:lnTo>
                    <a:lnTo>
                      <a:pt x="15454" y="38724"/>
                    </a:lnTo>
                    <a:lnTo>
                      <a:pt x="15755" y="34797"/>
                    </a:lnTo>
                    <a:lnTo>
                      <a:pt x="16053" y="31836"/>
                    </a:lnTo>
                    <a:lnTo>
                      <a:pt x="16360" y="22991"/>
                    </a:lnTo>
                    <a:lnTo>
                      <a:pt x="16633" y="16909"/>
                    </a:lnTo>
                    <a:lnTo>
                      <a:pt x="16681" y="16139"/>
                    </a:lnTo>
                    <a:lnTo>
                      <a:pt x="16682" y="16125"/>
                    </a:lnTo>
                    <a:lnTo>
                      <a:pt x="48955" y="97"/>
                    </a:lnTo>
                    <a:lnTo>
                      <a:pt x="51609" y="0"/>
                    </a:lnTo>
                    <a:lnTo>
                      <a:pt x="51600" y="14"/>
                    </a:lnTo>
                    <a:lnTo>
                      <a:pt x="51418" y="30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8" name="Freeform 124">
                <a:extLst>
                  <a:ext uri="{FF2B5EF4-FFF2-40B4-BE49-F238E27FC236}">
                    <a16:creationId xmlns:a16="http://schemas.microsoft.com/office/drawing/2014/main" id="{1C86BF5C-B9EE-BE90-77FF-481A140BCCC6}"/>
                  </a:ext>
                </a:extLst>
              </p:cNvPr>
              <p:cNvSpPr>
                <a:spLocks noChangeAspect="1"/>
              </p:cNvSpPr>
              <p:nvPr>
                <p:custDataLst>
                  <p:tags r:id="rId99"/>
                </p:custDataLst>
              </p:nvPr>
            </p:nvSpPr>
            <p:spPr>
              <a:xfrm>
                <a:off x="4543270" y="4428103"/>
                <a:ext cx="105033" cy="106081"/>
              </a:xfrm>
              <a:custGeom>
                <a:avLst/>
                <a:gdLst/>
                <a:ahLst/>
                <a:cxnLst/>
                <a:rect l="0" t="0" r="0" b="0"/>
                <a:pathLst>
                  <a:path w="107841" h="108917">
                    <a:moveTo>
                      <a:pt x="68037" y="35442"/>
                    </a:moveTo>
                    <a:lnTo>
                      <a:pt x="72131" y="37462"/>
                    </a:lnTo>
                    <a:lnTo>
                      <a:pt x="80759" y="39015"/>
                    </a:lnTo>
                    <a:lnTo>
                      <a:pt x="82873" y="39901"/>
                    </a:lnTo>
                    <a:lnTo>
                      <a:pt x="97634" y="51726"/>
                    </a:lnTo>
                    <a:lnTo>
                      <a:pt x="105274" y="60093"/>
                    </a:lnTo>
                    <a:lnTo>
                      <a:pt x="106303" y="61694"/>
                    </a:lnTo>
                    <a:lnTo>
                      <a:pt x="107331" y="63919"/>
                    </a:lnTo>
                    <a:lnTo>
                      <a:pt x="107840" y="67243"/>
                    </a:lnTo>
                    <a:lnTo>
                      <a:pt x="107598" y="68992"/>
                    </a:lnTo>
                    <a:lnTo>
                      <a:pt x="106979" y="70140"/>
                    </a:lnTo>
                    <a:lnTo>
                      <a:pt x="98514" y="75649"/>
                    </a:lnTo>
                    <a:lnTo>
                      <a:pt x="97739" y="76544"/>
                    </a:lnTo>
                    <a:lnTo>
                      <a:pt x="97421" y="77849"/>
                    </a:lnTo>
                    <a:lnTo>
                      <a:pt x="97527" y="78819"/>
                    </a:lnTo>
                    <a:lnTo>
                      <a:pt x="97393" y="78856"/>
                    </a:lnTo>
                    <a:lnTo>
                      <a:pt x="89529" y="81039"/>
                    </a:lnTo>
                    <a:lnTo>
                      <a:pt x="75412" y="93420"/>
                    </a:lnTo>
                    <a:lnTo>
                      <a:pt x="63933" y="103309"/>
                    </a:lnTo>
                    <a:lnTo>
                      <a:pt x="59615" y="108916"/>
                    </a:lnTo>
                    <a:lnTo>
                      <a:pt x="54449" y="100407"/>
                    </a:lnTo>
                    <a:lnTo>
                      <a:pt x="49096" y="89588"/>
                    </a:lnTo>
                    <a:lnTo>
                      <a:pt x="45814" y="81249"/>
                    </a:lnTo>
                    <a:lnTo>
                      <a:pt x="43735" y="77800"/>
                    </a:lnTo>
                    <a:lnTo>
                      <a:pt x="39005" y="76334"/>
                    </a:lnTo>
                    <a:lnTo>
                      <a:pt x="34581" y="76347"/>
                    </a:lnTo>
                    <a:lnTo>
                      <a:pt x="29856" y="76359"/>
                    </a:lnTo>
                    <a:lnTo>
                      <a:pt x="25422" y="74396"/>
                    </a:lnTo>
                    <a:lnTo>
                      <a:pt x="19210" y="67034"/>
                    </a:lnTo>
                    <a:lnTo>
                      <a:pt x="12702" y="56215"/>
                    </a:lnTo>
                    <a:lnTo>
                      <a:pt x="9455" y="50809"/>
                    </a:lnTo>
                    <a:lnTo>
                      <a:pt x="7972" y="46368"/>
                    </a:lnTo>
                    <a:lnTo>
                      <a:pt x="7965" y="40464"/>
                    </a:lnTo>
                    <a:lnTo>
                      <a:pt x="9435" y="34559"/>
                    </a:lnTo>
                    <a:lnTo>
                      <a:pt x="9430" y="30138"/>
                    </a:lnTo>
                    <a:lnTo>
                      <a:pt x="7359" y="25697"/>
                    </a:lnTo>
                    <a:lnTo>
                      <a:pt x="1767" y="23253"/>
                    </a:lnTo>
                    <a:lnTo>
                      <a:pt x="0" y="20786"/>
                    </a:lnTo>
                    <a:lnTo>
                      <a:pt x="1461" y="7498"/>
                    </a:lnTo>
                    <a:lnTo>
                      <a:pt x="3833" y="2678"/>
                    </a:lnTo>
                    <a:lnTo>
                      <a:pt x="3809" y="2678"/>
                    </a:lnTo>
                    <a:lnTo>
                      <a:pt x="4745" y="555"/>
                    </a:lnTo>
                    <a:lnTo>
                      <a:pt x="4927" y="268"/>
                    </a:lnTo>
                    <a:lnTo>
                      <a:pt x="4936" y="254"/>
                    </a:lnTo>
                    <a:lnTo>
                      <a:pt x="11805" y="0"/>
                    </a:lnTo>
                    <a:lnTo>
                      <a:pt x="20463" y="4292"/>
                    </a:lnTo>
                    <a:lnTo>
                      <a:pt x="25281" y="8092"/>
                    </a:lnTo>
                    <a:lnTo>
                      <a:pt x="27397" y="11926"/>
                    </a:lnTo>
                    <a:lnTo>
                      <a:pt x="29978" y="14952"/>
                    </a:lnTo>
                    <a:lnTo>
                      <a:pt x="59417" y="34068"/>
                    </a:lnTo>
                    <a:lnTo>
                      <a:pt x="62793" y="38017"/>
                    </a:lnTo>
                    <a:lnTo>
                      <a:pt x="65652" y="42808"/>
                    </a:lnTo>
                    <a:lnTo>
                      <a:pt x="67345" y="44572"/>
                    </a:lnTo>
                    <a:lnTo>
                      <a:pt x="68074" y="43076"/>
                    </a:lnTo>
                    <a:lnTo>
                      <a:pt x="68037" y="3544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69" name="Freeform 125">
                <a:extLst>
                  <a:ext uri="{FF2B5EF4-FFF2-40B4-BE49-F238E27FC236}">
                    <a16:creationId xmlns:a16="http://schemas.microsoft.com/office/drawing/2014/main" id="{8AC2DAB3-CE72-3EE3-67B7-3E98A210166D}"/>
                  </a:ext>
                </a:extLst>
              </p:cNvPr>
              <p:cNvSpPr>
                <a:spLocks noChangeAspect="1"/>
              </p:cNvSpPr>
              <p:nvPr>
                <p:custDataLst>
                  <p:tags r:id="rId100"/>
                </p:custDataLst>
              </p:nvPr>
            </p:nvSpPr>
            <p:spPr>
              <a:xfrm>
                <a:off x="4541427" y="4504870"/>
                <a:ext cx="151287" cy="136300"/>
              </a:xfrm>
              <a:custGeom>
                <a:avLst/>
                <a:gdLst/>
                <a:ahLst/>
                <a:cxnLst/>
                <a:rect l="0" t="0" r="0" b="0"/>
                <a:pathLst>
                  <a:path w="155331" h="139944">
                    <a:moveTo>
                      <a:pt x="152591" y="67593"/>
                    </a:moveTo>
                    <a:lnTo>
                      <a:pt x="152692" y="67653"/>
                    </a:lnTo>
                    <a:lnTo>
                      <a:pt x="153245" y="70719"/>
                    </a:lnTo>
                    <a:lnTo>
                      <a:pt x="154708" y="74307"/>
                    </a:lnTo>
                    <a:lnTo>
                      <a:pt x="155114" y="75585"/>
                    </a:lnTo>
                    <a:lnTo>
                      <a:pt x="155330" y="77025"/>
                    </a:lnTo>
                    <a:lnTo>
                      <a:pt x="155273" y="83205"/>
                    </a:lnTo>
                    <a:lnTo>
                      <a:pt x="155074" y="84737"/>
                    </a:lnTo>
                    <a:lnTo>
                      <a:pt x="154205" y="86060"/>
                    </a:lnTo>
                    <a:lnTo>
                      <a:pt x="152760" y="86845"/>
                    </a:lnTo>
                    <a:lnTo>
                      <a:pt x="149682" y="87566"/>
                    </a:lnTo>
                    <a:lnTo>
                      <a:pt x="147395" y="88674"/>
                    </a:lnTo>
                    <a:lnTo>
                      <a:pt x="142735" y="92271"/>
                    </a:lnTo>
                    <a:lnTo>
                      <a:pt x="140906" y="92910"/>
                    </a:lnTo>
                    <a:lnTo>
                      <a:pt x="138709" y="92347"/>
                    </a:lnTo>
                    <a:lnTo>
                      <a:pt x="137309" y="91659"/>
                    </a:lnTo>
                    <a:lnTo>
                      <a:pt x="125008" y="79020"/>
                    </a:lnTo>
                    <a:lnTo>
                      <a:pt x="123807" y="78339"/>
                    </a:lnTo>
                    <a:lnTo>
                      <a:pt x="121057" y="77581"/>
                    </a:lnTo>
                    <a:lnTo>
                      <a:pt x="118081" y="77495"/>
                    </a:lnTo>
                    <a:lnTo>
                      <a:pt x="109079" y="80357"/>
                    </a:lnTo>
                    <a:lnTo>
                      <a:pt x="107057" y="80589"/>
                    </a:lnTo>
                    <a:lnTo>
                      <a:pt x="105436" y="80323"/>
                    </a:lnTo>
                    <a:lnTo>
                      <a:pt x="104379" y="79718"/>
                    </a:lnTo>
                    <a:lnTo>
                      <a:pt x="103438" y="78847"/>
                    </a:lnTo>
                    <a:lnTo>
                      <a:pt x="99545" y="74164"/>
                    </a:lnTo>
                    <a:lnTo>
                      <a:pt x="98483" y="73609"/>
                    </a:lnTo>
                    <a:lnTo>
                      <a:pt x="95760" y="73023"/>
                    </a:lnTo>
                    <a:lnTo>
                      <a:pt x="91609" y="73268"/>
                    </a:lnTo>
                    <a:lnTo>
                      <a:pt x="89058" y="74477"/>
                    </a:lnTo>
                    <a:lnTo>
                      <a:pt x="77407" y="83496"/>
                    </a:lnTo>
                    <a:lnTo>
                      <a:pt x="76516" y="83936"/>
                    </a:lnTo>
                    <a:lnTo>
                      <a:pt x="75363" y="84168"/>
                    </a:lnTo>
                    <a:lnTo>
                      <a:pt x="74448" y="84617"/>
                    </a:lnTo>
                    <a:lnTo>
                      <a:pt x="71518" y="86882"/>
                    </a:lnTo>
                    <a:lnTo>
                      <a:pt x="70180" y="88439"/>
                    </a:lnTo>
                    <a:lnTo>
                      <a:pt x="68975" y="90527"/>
                    </a:lnTo>
                    <a:lnTo>
                      <a:pt x="67094" y="94604"/>
                    </a:lnTo>
                    <a:lnTo>
                      <a:pt x="65570" y="96278"/>
                    </a:lnTo>
                    <a:lnTo>
                      <a:pt x="64061" y="97313"/>
                    </a:lnTo>
                    <a:lnTo>
                      <a:pt x="61629" y="98291"/>
                    </a:lnTo>
                    <a:lnTo>
                      <a:pt x="60853" y="99548"/>
                    </a:lnTo>
                    <a:lnTo>
                      <a:pt x="60515" y="101305"/>
                    </a:lnTo>
                    <a:lnTo>
                      <a:pt x="61011" y="104453"/>
                    </a:lnTo>
                    <a:lnTo>
                      <a:pt x="61490" y="106297"/>
                    </a:lnTo>
                    <a:lnTo>
                      <a:pt x="62081" y="107953"/>
                    </a:lnTo>
                    <a:lnTo>
                      <a:pt x="62277" y="109295"/>
                    </a:lnTo>
                    <a:lnTo>
                      <a:pt x="62046" y="110884"/>
                    </a:lnTo>
                    <a:lnTo>
                      <a:pt x="60862" y="112864"/>
                    </a:lnTo>
                    <a:lnTo>
                      <a:pt x="57731" y="115888"/>
                    </a:lnTo>
                    <a:lnTo>
                      <a:pt x="56900" y="116917"/>
                    </a:lnTo>
                    <a:lnTo>
                      <a:pt x="55530" y="119164"/>
                    </a:lnTo>
                    <a:lnTo>
                      <a:pt x="55082" y="120498"/>
                    </a:lnTo>
                    <a:lnTo>
                      <a:pt x="55001" y="122769"/>
                    </a:lnTo>
                    <a:lnTo>
                      <a:pt x="55074" y="124645"/>
                    </a:lnTo>
                    <a:lnTo>
                      <a:pt x="57858" y="133280"/>
                    </a:lnTo>
                    <a:lnTo>
                      <a:pt x="57752" y="133291"/>
                    </a:lnTo>
                    <a:lnTo>
                      <a:pt x="46202" y="134500"/>
                    </a:lnTo>
                    <a:lnTo>
                      <a:pt x="34357" y="139943"/>
                    </a:lnTo>
                    <a:lnTo>
                      <a:pt x="29846" y="139422"/>
                    </a:lnTo>
                    <a:lnTo>
                      <a:pt x="28301" y="137511"/>
                    </a:lnTo>
                    <a:lnTo>
                      <a:pt x="29001" y="132947"/>
                    </a:lnTo>
                    <a:lnTo>
                      <a:pt x="23528" y="124470"/>
                    </a:lnTo>
                    <a:lnTo>
                      <a:pt x="21023" y="121711"/>
                    </a:lnTo>
                    <a:lnTo>
                      <a:pt x="4333" y="112926"/>
                    </a:lnTo>
                    <a:lnTo>
                      <a:pt x="3055" y="110815"/>
                    </a:lnTo>
                    <a:lnTo>
                      <a:pt x="3756" y="106036"/>
                    </a:lnTo>
                    <a:lnTo>
                      <a:pt x="2789" y="105189"/>
                    </a:lnTo>
                    <a:lnTo>
                      <a:pt x="0" y="106276"/>
                    </a:lnTo>
                    <a:lnTo>
                      <a:pt x="4066" y="98001"/>
                    </a:lnTo>
                    <a:lnTo>
                      <a:pt x="11187" y="88636"/>
                    </a:lnTo>
                    <a:lnTo>
                      <a:pt x="18297" y="81242"/>
                    </a:lnTo>
                    <a:lnTo>
                      <a:pt x="24825" y="80735"/>
                    </a:lnTo>
                    <a:lnTo>
                      <a:pt x="35805" y="80227"/>
                    </a:lnTo>
                    <a:lnTo>
                      <a:pt x="43813" y="79216"/>
                    </a:lnTo>
                    <a:lnTo>
                      <a:pt x="55667" y="74247"/>
                    </a:lnTo>
                    <a:lnTo>
                      <a:pt x="68103" y="69278"/>
                    </a:lnTo>
                    <a:lnTo>
                      <a:pt x="64512" y="64378"/>
                    </a:lnTo>
                    <a:lnTo>
                      <a:pt x="60348" y="60941"/>
                    </a:lnTo>
                    <a:lnTo>
                      <a:pt x="57375" y="56531"/>
                    </a:lnTo>
                    <a:lnTo>
                      <a:pt x="57338" y="47173"/>
                    </a:lnTo>
                    <a:lnTo>
                      <a:pt x="59352" y="32890"/>
                    </a:lnTo>
                    <a:lnTo>
                      <a:pt x="61507" y="30097"/>
                    </a:lnTo>
                    <a:lnTo>
                      <a:pt x="65825" y="24490"/>
                    </a:lnTo>
                    <a:lnTo>
                      <a:pt x="77304" y="14601"/>
                    </a:lnTo>
                    <a:lnTo>
                      <a:pt x="91421" y="2220"/>
                    </a:lnTo>
                    <a:lnTo>
                      <a:pt x="99285" y="37"/>
                    </a:lnTo>
                    <a:lnTo>
                      <a:pt x="99419" y="0"/>
                    </a:lnTo>
                    <a:lnTo>
                      <a:pt x="99452" y="303"/>
                    </a:lnTo>
                    <a:lnTo>
                      <a:pt x="100656" y="2357"/>
                    </a:lnTo>
                    <a:lnTo>
                      <a:pt x="111941" y="14390"/>
                    </a:lnTo>
                    <a:lnTo>
                      <a:pt x="113163" y="16089"/>
                    </a:lnTo>
                    <a:lnTo>
                      <a:pt x="119329" y="29783"/>
                    </a:lnTo>
                    <a:lnTo>
                      <a:pt x="120952" y="34777"/>
                    </a:lnTo>
                    <a:lnTo>
                      <a:pt x="122513" y="41497"/>
                    </a:lnTo>
                    <a:lnTo>
                      <a:pt x="122637" y="42898"/>
                    </a:lnTo>
                    <a:lnTo>
                      <a:pt x="122572" y="44419"/>
                    </a:lnTo>
                    <a:lnTo>
                      <a:pt x="123098" y="46340"/>
                    </a:lnTo>
                    <a:lnTo>
                      <a:pt x="124167" y="48502"/>
                    </a:lnTo>
                    <a:lnTo>
                      <a:pt x="129919" y="55030"/>
                    </a:lnTo>
                    <a:lnTo>
                      <a:pt x="131659" y="59023"/>
                    </a:lnTo>
                    <a:lnTo>
                      <a:pt x="132797" y="60020"/>
                    </a:lnTo>
                    <a:lnTo>
                      <a:pt x="134473" y="60725"/>
                    </a:lnTo>
                    <a:lnTo>
                      <a:pt x="143123" y="6195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0" name="Freeform 126">
                <a:extLst>
                  <a:ext uri="{FF2B5EF4-FFF2-40B4-BE49-F238E27FC236}">
                    <a16:creationId xmlns:a16="http://schemas.microsoft.com/office/drawing/2014/main" id="{54E14D5E-443F-65AE-79A5-22A1CC6B5D0A}"/>
                  </a:ext>
                </a:extLst>
              </p:cNvPr>
              <p:cNvSpPr>
                <a:spLocks noChangeAspect="1"/>
              </p:cNvSpPr>
              <p:nvPr>
                <p:custDataLst>
                  <p:tags r:id="rId101"/>
                </p:custDataLst>
              </p:nvPr>
            </p:nvSpPr>
            <p:spPr>
              <a:xfrm>
                <a:off x="4251495" y="4398610"/>
                <a:ext cx="144803" cy="110689"/>
              </a:xfrm>
              <a:custGeom>
                <a:avLst/>
                <a:gdLst/>
                <a:ahLst/>
                <a:cxnLst/>
                <a:rect l="l" t="t" r="r" b="b"/>
                <a:pathLst>
                  <a:path w="148674" h="113648">
                    <a:moveTo>
                      <a:pt x="6226" y="38439"/>
                    </a:moveTo>
                    <a:lnTo>
                      <a:pt x="8855" y="40072"/>
                    </a:lnTo>
                    <a:lnTo>
                      <a:pt x="11472" y="40211"/>
                    </a:lnTo>
                    <a:lnTo>
                      <a:pt x="15567" y="39768"/>
                    </a:lnTo>
                    <a:lnTo>
                      <a:pt x="17233" y="41243"/>
                    </a:lnTo>
                    <a:lnTo>
                      <a:pt x="20613" y="44705"/>
                    </a:lnTo>
                    <a:lnTo>
                      <a:pt x="23603" y="48813"/>
                    </a:lnTo>
                    <a:lnTo>
                      <a:pt x="25702" y="53466"/>
                    </a:lnTo>
                    <a:lnTo>
                      <a:pt x="26456" y="58610"/>
                    </a:lnTo>
                    <a:lnTo>
                      <a:pt x="27454" y="60741"/>
                    </a:lnTo>
                    <a:lnTo>
                      <a:pt x="29425" y="63089"/>
                    </a:lnTo>
                    <a:lnTo>
                      <a:pt x="30634" y="66047"/>
                    </a:lnTo>
                    <a:lnTo>
                      <a:pt x="29386" y="70164"/>
                    </a:lnTo>
                    <a:lnTo>
                      <a:pt x="27482" y="71066"/>
                    </a:lnTo>
                    <a:lnTo>
                      <a:pt x="25209" y="70064"/>
                    </a:lnTo>
                    <a:lnTo>
                      <a:pt x="20589" y="65759"/>
                    </a:lnTo>
                    <a:lnTo>
                      <a:pt x="16076" y="56943"/>
                    </a:lnTo>
                    <a:lnTo>
                      <a:pt x="13891" y="54232"/>
                    </a:lnTo>
                    <a:lnTo>
                      <a:pt x="11892" y="53652"/>
                    </a:lnTo>
                    <a:lnTo>
                      <a:pt x="5246" y="54082"/>
                    </a:lnTo>
                    <a:lnTo>
                      <a:pt x="3829" y="53231"/>
                    </a:lnTo>
                    <a:lnTo>
                      <a:pt x="0" y="46399"/>
                    </a:lnTo>
                    <a:lnTo>
                      <a:pt x="46" y="43787"/>
                    </a:lnTo>
                    <a:close/>
                    <a:moveTo>
                      <a:pt x="64853" y="0"/>
                    </a:moveTo>
                    <a:lnTo>
                      <a:pt x="80605" y="2842"/>
                    </a:lnTo>
                    <a:lnTo>
                      <a:pt x="84883" y="3114"/>
                    </a:lnTo>
                    <a:lnTo>
                      <a:pt x="93514" y="8213"/>
                    </a:lnTo>
                    <a:lnTo>
                      <a:pt x="95723" y="10309"/>
                    </a:lnTo>
                    <a:lnTo>
                      <a:pt x="96772" y="14892"/>
                    </a:lnTo>
                    <a:lnTo>
                      <a:pt x="97292" y="19470"/>
                    </a:lnTo>
                    <a:lnTo>
                      <a:pt x="98028" y="21562"/>
                    </a:lnTo>
                    <a:lnTo>
                      <a:pt x="97812" y="22585"/>
                    </a:lnTo>
                    <a:lnTo>
                      <a:pt x="100616" y="24811"/>
                    </a:lnTo>
                    <a:lnTo>
                      <a:pt x="103889" y="26715"/>
                    </a:lnTo>
                    <a:lnTo>
                      <a:pt x="105103" y="26838"/>
                    </a:lnTo>
                    <a:lnTo>
                      <a:pt x="105313" y="28784"/>
                    </a:lnTo>
                    <a:lnTo>
                      <a:pt x="105023" y="31392"/>
                    </a:lnTo>
                    <a:lnTo>
                      <a:pt x="104923" y="33709"/>
                    </a:lnTo>
                    <a:lnTo>
                      <a:pt x="105738" y="34666"/>
                    </a:lnTo>
                    <a:lnTo>
                      <a:pt x="105942" y="35554"/>
                    </a:lnTo>
                    <a:lnTo>
                      <a:pt x="109496" y="39932"/>
                    </a:lnTo>
                    <a:lnTo>
                      <a:pt x="110701" y="44346"/>
                    </a:lnTo>
                    <a:lnTo>
                      <a:pt x="111102" y="47600"/>
                    </a:lnTo>
                    <a:lnTo>
                      <a:pt x="112036" y="49679"/>
                    </a:lnTo>
                    <a:lnTo>
                      <a:pt x="114919" y="50441"/>
                    </a:lnTo>
                    <a:lnTo>
                      <a:pt x="117840" y="50099"/>
                    </a:lnTo>
                    <a:lnTo>
                      <a:pt x="123089" y="48522"/>
                    </a:lnTo>
                    <a:lnTo>
                      <a:pt x="125927" y="48178"/>
                    </a:lnTo>
                    <a:lnTo>
                      <a:pt x="127274" y="47321"/>
                    </a:lnTo>
                    <a:lnTo>
                      <a:pt x="129327" y="43610"/>
                    </a:lnTo>
                    <a:lnTo>
                      <a:pt x="130664" y="42768"/>
                    </a:lnTo>
                    <a:lnTo>
                      <a:pt x="132220" y="43236"/>
                    </a:lnTo>
                    <a:lnTo>
                      <a:pt x="135081" y="45222"/>
                    </a:lnTo>
                    <a:lnTo>
                      <a:pt x="136080" y="45666"/>
                    </a:lnTo>
                    <a:lnTo>
                      <a:pt x="142754" y="45449"/>
                    </a:lnTo>
                    <a:lnTo>
                      <a:pt x="145915" y="46177"/>
                    </a:lnTo>
                    <a:lnTo>
                      <a:pt x="148674" y="48394"/>
                    </a:lnTo>
                    <a:lnTo>
                      <a:pt x="143945" y="53515"/>
                    </a:lnTo>
                    <a:lnTo>
                      <a:pt x="135884" y="68395"/>
                    </a:lnTo>
                    <a:lnTo>
                      <a:pt x="130382" y="71483"/>
                    </a:lnTo>
                    <a:lnTo>
                      <a:pt x="124714" y="72513"/>
                    </a:lnTo>
                    <a:lnTo>
                      <a:pt x="118904" y="75391"/>
                    </a:lnTo>
                    <a:lnTo>
                      <a:pt x="113469" y="79576"/>
                    </a:lnTo>
                    <a:lnTo>
                      <a:pt x="109000" y="84518"/>
                    </a:lnTo>
                    <a:lnTo>
                      <a:pt x="108148" y="85721"/>
                    </a:lnTo>
                    <a:lnTo>
                      <a:pt x="107709" y="86695"/>
                    </a:lnTo>
                    <a:lnTo>
                      <a:pt x="107543" y="88233"/>
                    </a:lnTo>
                    <a:lnTo>
                      <a:pt x="107512" y="91031"/>
                    </a:lnTo>
                    <a:lnTo>
                      <a:pt x="107244" y="94092"/>
                    </a:lnTo>
                    <a:lnTo>
                      <a:pt x="106560" y="94425"/>
                    </a:lnTo>
                    <a:lnTo>
                      <a:pt x="105568" y="94041"/>
                    </a:lnTo>
                    <a:lnTo>
                      <a:pt x="97438" y="99776"/>
                    </a:lnTo>
                    <a:lnTo>
                      <a:pt x="93813" y="104303"/>
                    </a:lnTo>
                    <a:lnTo>
                      <a:pt x="79099" y="112872"/>
                    </a:lnTo>
                    <a:lnTo>
                      <a:pt x="76681" y="113648"/>
                    </a:lnTo>
                    <a:lnTo>
                      <a:pt x="73862" y="113051"/>
                    </a:lnTo>
                    <a:lnTo>
                      <a:pt x="68002" y="110328"/>
                    </a:lnTo>
                    <a:lnTo>
                      <a:pt x="67925" y="111197"/>
                    </a:lnTo>
                    <a:lnTo>
                      <a:pt x="66536" y="112438"/>
                    </a:lnTo>
                    <a:lnTo>
                      <a:pt x="64706" y="113237"/>
                    </a:lnTo>
                    <a:lnTo>
                      <a:pt x="63286" y="112658"/>
                    </a:lnTo>
                    <a:lnTo>
                      <a:pt x="62981" y="110445"/>
                    </a:lnTo>
                    <a:lnTo>
                      <a:pt x="63170" y="106903"/>
                    </a:lnTo>
                    <a:lnTo>
                      <a:pt x="63607" y="103675"/>
                    </a:lnTo>
                    <a:lnTo>
                      <a:pt x="64140" y="102221"/>
                    </a:lnTo>
                    <a:lnTo>
                      <a:pt x="65953" y="100598"/>
                    </a:lnTo>
                    <a:lnTo>
                      <a:pt x="68648" y="97060"/>
                    </a:lnTo>
                    <a:lnTo>
                      <a:pt x="69899" y="93500"/>
                    </a:lnTo>
                    <a:lnTo>
                      <a:pt x="67489" y="91834"/>
                    </a:lnTo>
                    <a:lnTo>
                      <a:pt x="64000" y="93511"/>
                    </a:lnTo>
                    <a:lnTo>
                      <a:pt x="58863" y="100809"/>
                    </a:lnTo>
                    <a:lnTo>
                      <a:pt x="55469" y="102098"/>
                    </a:lnTo>
                    <a:lnTo>
                      <a:pt x="55263" y="100896"/>
                    </a:lnTo>
                    <a:lnTo>
                      <a:pt x="47773" y="94162"/>
                    </a:lnTo>
                    <a:lnTo>
                      <a:pt x="47134" y="93873"/>
                    </a:lnTo>
                    <a:lnTo>
                      <a:pt x="45292" y="94327"/>
                    </a:lnTo>
                    <a:lnTo>
                      <a:pt x="44642" y="94115"/>
                    </a:lnTo>
                    <a:lnTo>
                      <a:pt x="44509" y="93087"/>
                    </a:lnTo>
                    <a:lnTo>
                      <a:pt x="44855" y="89920"/>
                    </a:lnTo>
                    <a:lnTo>
                      <a:pt x="44721" y="88892"/>
                    </a:lnTo>
                    <a:lnTo>
                      <a:pt x="44794" y="87773"/>
                    </a:lnTo>
                    <a:lnTo>
                      <a:pt x="44557" y="84971"/>
                    </a:lnTo>
                    <a:lnTo>
                      <a:pt x="43845" y="82115"/>
                    </a:lnTo>
                    <a:lnTo>
                      <a:pt x="39276" y="77613"/>
                    </a:lnTo>
                    <a:lnTo>
                      <a:pt x="31917" y="62555"/>
                    </a:lnTo>
                    <a:lnTo>
                      <a:pt x="27899" y="57327"/>
                    </a:lnTo>
                    <a:lnTo>
                      <a:pt x="27946" y="54468"/>
                    </a:lnTo>
                    <a:lnTo>
                      <a:pt x="29327" y="50633"/>
                    </a:lnTo>
                    <a:lnTo>
                      <a:pt x="29885" y="44827"/>
                    </a:lnTo>
                    <a:lnTo>
                      <a:pt x="29926" y="36494"/>
                    </a:lnTo>
                    <a:lnTo>
                      <a:pt x="31262" y="23795"/>
                    </a:lnTo>
                    <a:lnTo>
                      <a:pt x="30849" y="18254"/>
                    </a:lnTo>
                    <a:lnTo>
                      <a:pt x="28623" y="12511"/>
                    </a:lnTo>
                    <a:lnTo>
                      <a:pt x="32675" y="9591"/>
                    </a:lnTo>
                    <a:lnTo>
                      <a:pt x="61998" y="5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1" name="Freeform 128">
                <a:extLst>
                  <a:ext uri="{FF2B5EF4-FFF2-40B4-BE49-F238E27FC236}">
                    <a16:creationId xmlns:a16="http://schemas.microsoft.com/office/drawing/2014/main" id="{83B1B4A9-A98E-4234-1FD0-5BD211A1FB23}"/>
                  </a:ext>
                </a:extLst>
              </p:cNvPr>
              <p:cNvSpPr>
                <a:spLocks noChangeAspect="1"/>
              </p:cNvSpPr>
              <p:nvPr>
                <p:custDataLst>
                  <p:tags r:id="rId102"/>
                </p:custDataLst>
              </p:nvPr>
            </p:nvSpPr>
            <p:spPr>
              <a:xfrm>
                <a:off x="4403382" y="4433076"/>
                <a:ext cx="122159" cy="149300"/>
              </a:xfrm>
              <a:custGeom>
                <a:avLst/>
                <a:gdLst/>
                <a:ahLst/>
                <a:cxnLst/>
                <a:rect l="0" t="0" r="0" b="0"/>
                <a:pathLst>
                  <a:path w="125424" h="153291">
                    <a:moveTo>
                      <a:pt x="113636" y="11273"/>
                    </a:moveTo>
                    <a:lnTo>
                      <a:pt x="113635" y="11287"/>
                    </a:lnTo>
                    <a:lnTo>
                      <a:pt x="113587" y="12057"/>
                    </a:lnTo>
                    <a:lnTo>
                      <a:pt x="113314" y="18139"/>
                    </a:lnTo>
                    <a:lnTo>
                      <a:pt x="113007" y="26984"/>
                    </a:lnTo>
                    <a:lnTo>
                      <a:pt x="112709" y="29945"/>
                    </a:lnTo>
                    <a:lnTo>
                      <a:pt x="112408" y="33872"/>
                    </a:lnTo>
                    <a:lnTo>
                      <a:pt x="115346" y="37332"/>
                    </a:lnTo>
                    <a:lnTo>
                      <a:pt x="118587" y="40781"/>
                    </a:lnTo>
                    <a:lnTo>
                      <a:pt x="121827" y="48158"/>
                    </a:lnTo>
                    <a:lnTo>
                      <a:pt x="122407" y="55542"/>
                    </a:lnTo>
                    <a:lnTo>
                      <a:pt x="122401" y="64409"/>
                    </a:lnTo>
                    <a:lnTo>
                      <a:pt x="117081" y="74255"/>
                    </a:lnTo>
                    <a:lnTo>
                      <a:pt x="96954" y="95881"/>
                    </a:lnTo>
                    <a:lnTo>
                      <a:pt x="105525" y="98347"/>
                    </a:lnTo>
                    <a:lnTo>
                      <a:pt x="112619" y="98851"/>
                    </a:lnTo>
                    <a:lnTo>
                      <a:pt x="115570" y="101323"/>
                    </a:lnTo>
                    <a:lnTo>
                      <a:pt x="121783" y="107725"/>
                    </a:lnTo>
                    <a:lnTo>
                      <a:pt x="123849" y="116591"/>
                    </a:lnTo>
                    <a:lnTo>
                      <a:pt x="124437" y="125951"/>
                    </a:lnTo>
                    <a:lnTo>
                      <a:pt x="125423" y="138330"/>
                    </a:lnTo>
                    <a:lnTo>
                      <a:pt x="117968" y="142806"/>
                    </a:lnTo>
                    <a:lnTo>
                      <a:pt x="112344" y="141003"/>
                    </a:lnTo>
                    <a:lnTo>
                      <a:pt x="101089" y="142584"/>
                    </a:lnTo>
                    <a:lnTo>
                      <a:pt x="95091" y="136292"/>
                    </a:lnTo>
                    <a:lnTo>
                      <a:pt x="96829" y="130354"/>
                    </a:lnTo>
                    <a:lnTo>
                      <a:pt x="95883" y="127922"/>
                    </a:lnTo>
                    <a:lnTo>
                      <a:pt x="93331" y="126633"/>
                    </a:lnTo>
                    <a:lnTo>
                      <a:pt x="77609" y="133486"/>
                    </a:lnTo>
                    <a:lnTo>
                      <a:pt x="74628" y="136170"/>
                    </a:lnTo>
                    <a:lnTo>
                      <a:pt x="65996" y="143027"/>
                    </a:lnTo>
                    <a:lnTo>
                      <a:pt x="54997" y="148387"/>
                    </a:lnTo>
                    <a:lnTo>
                      <a:pt x="50230" y="153290"/>
                    </a:lnTo>
                    <a:lnTo>
                      <a:pt x="42533" y="150297"/>
                    </a:lnTo>
                    <a:lnTo>
                      <a:pt x="33676" y="142859"/>
                    </a:lnTo>
                    <a:lnTo>
                      <a:pt x="28398" y="133961"/>
                    </a:lnTo>
                    <a:lnTo>
                      <a:pt x="27545" y="128052"/>
                    </a:lnTo>
                    <a:lnTo>
                      <a:pt x="25796" y="125593"/>
                    </a:lnTo>
                    <a:lnTo>
                      <a:pt x="23107" y="127035"/>
                    </a:lnTo>
                    <a:lnTo>
                      <a:pt x="18655" y="127991"/>
                    </a:lnTo>
                    <a:lnTo>
                      <a:pt x="14192" y="130427"/>
                    </a:lnTo>
                    <a:lnTo>
                      <a:pt x="8849" y="130387"/>
                    </a:lnTo>
                    <a:lnTo>
                      <a:pt x="6187" y="130366"/>
                    </a:lnTo>
                    <a:lnTo>
                      <a:pt x="5330" y="125917"/>
                    </a:lnTo>
                    <a:lnTo>
                      <a:pt x="6553" y="122984"/>
                    </a:lnTo>
                    <a:lnTo>
                      <a:pt x="8951" y="117090"/>
                    </a:lnTo>
                    <a:lnTo>
                      <a:pt x="9000" y="110693"/>
                    </a:lnTo>
                    <a:lnTo>
                      <a:pt x="7275" y="105753"/>
                    </a:lnTo>
                    <a:lnTo>
                      <a:pt x="3473" y="100313"/>
                    </a:lnTo>
                    <a:lnTo>
                      <a:pt x="260" y="94876"/>
                    </a:lnTo>
                    <a:lnTo>
                      <a:pt x="0" y="90431"/>
                    </a:lnTo>
                    <a:lnTo>
                      <a:pt x="915" y="86511"/>
                    </a:lnTo>
                    <a:lnTo>
                      <a:pt x="7184" y="79176"/>
                    </a:lnTo>
                    <a:lnTo>
                      <a:pt x="13464" y="68879"/>
                    </a:lnTo>
                    <a:lnTo>
                      <a:pt x="18893" y="52195"/>
                    </a:lnTo>
                    <a:lnTo>
                      <a:pt x="3522" y="34959"/>
                    </a:lnTo>
                    <a:lnTo>
                      <a:pt x="2261" y="33753"/>
                    </a:lnTo>
                    <a:lnTo>
                      <a:pt x="2253" y="33746"/>
                    </a:lnTo>
                    <a:lnTo>
                      <a:pt x="8198" y="28806"/>
                    </a:lnTo>
                    <a:lnTo>
                      <a:pt x="33246" y="18535"/>
                    </a:lnTo>
                    <a:lnTo>
                      <a:pt x="41017" y="18582"/>
                    </a:lnTo>
                    <a:lnTo>
                      <a:pt x="38744" y="11572"/>
                    </a:lnTo>
                    <a:lnTo>
                      <a:pt x="32088" y="4582"/>
                    </a:lnTo>
                    <a:lnTo>
                      <a:pt x="30371" y="0"/>
                    </a:lnTo>
                    <a:lnTo>
                      <a:pt x="34574" y="509"/>
                    </a:lnTo>
                    <a:lnTo>
                      <a:pt x="38996" y="1872"/>
                    </a:lnTo>
                    <a:lnTo>
                      <a:pt x="42994" y="4290"/>
                    </a:lnTo>
                    <a:lnTo>
                      <a:pt x="45909" y="7928"/>
                    </a:lnTo>
                    <a:lnTo>
                      <a:pt x="50398" y="5527"/>
                    </a:lnTo>
                    <a:lnTo>
                      <a:pt x="55332" y="7184"/>
                    </a:lnTo>
                    <a:lnTo>
                      <a:pt x="60031" y="11544"/>
                    </a:lnTo>
                    <a:lnTo>
                      <a:pt x="63723" y="17267"/>
                    </a:lnTo>
                    <a:lnTo>
                      <a:pt x="67283" y="19552"/>
                    </a:lnTo>
                    <a:lnTo>
                      <a:pt x="93351" y="18892"/>
                    </a:lnTo>
                    <a:lnTo>
                      <a:pt x="102464" y="167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2" name="Freeform 129">
                <a:extLst>
                  <a:ext uri="{FF2B5EF4-FFF2-40B4-BE49-F238E27FC236}">
                    <a16:creationId xmlns:a16="http://schemas.microsoft.com/office/drawing/2014/main" id="{A4613671-EFC8-F593-5605-2C54356E19B6}"/>
                  </a:ext>
                </a:extLst>
              </p:cNvPr>
              <p:cNvSpPr>
                <a:spLocks noChangeAspect="1"/>
              </p:cNvSpPr>
              <p:nvPr>
                <p:custDataLst>
                  <p:tags r:id="rId103"/>
                </p:custDataLst>
              </p:nvPr>
            </p:nvSpPr>
            <p:spPr>
              <a:xfrm>
                <a:off x="4232587" y="4465944"/>
                <a:ext cx="301507" cy="262712"/>
              </a:xfrm>
              <a:custGeom>
                <a:avLst/>
                <a:gdLst/>
                <a:ahLst/>
                <a:cxnLst/>
                <a:rect l="0" t="0" r="0" b="0"/>
                <a:pathLst>
                  <a:path w="309567" h="269735">
                    <a:moveTo>
                      <a:pt x="178883" y="1213"/>
                    </a:moveTo>
                    <a:lnTo>
                      <a:pt x="194254" y="18449"/>
                    </a:lnTo>
                    <a:lnTo>
                      <a:pt x="188825" y="35133"/>
                    </a:lnTo>
                    <a:lnTo>
                      <a:pt x="182545" y="45430"/>
                    </a:lnTo>
                    <a:lnTo>
                      <a:pt x="176276" y="52765"/>
                    </a:lnTo>
                    <a:lnTo>
                      <a:pt x="175361" y="56685"/>
                    </a:lnTo>
                    <a:lnTo>
                      <a:pt x="175621" y="61130"/>
                    </a:lnTo>
                    <a:lnTo>
                      <a:pt x="178834" y="66567"/>
                    </a:lnTo>
                    <a:lnTo>
                      <a:pt x="182636" y="72007"/>
                    </a:lnTo>
                    <a:lnTo>
                      <a:pt x="184361" y="76947"/>
                    </a:lnTo>
                    <a:lnTo>
                      <a:pt x="184312" y="83344"/>
                    </a:lnTo>
                    <a:lnTo>
                      <a:pt x="181914" y="89238"/>
                    </a:lnTo>
                    <a:lnTo>
                      <a:pt x="180691" y="92171"/>
                    </a:lnTo>
                    <a:lnTo>
                      <a:pt x="181548" y="96620"/>
                    </a:lnTo>
                    <a:lnTo>
                      <a:pt x="184210" y="96641"/>
                    </a:lnTo>
                    <a:lnTo>
                      <a:pt x="189553" y="96681"/>
                    </a:lnTo>
                    <a:lnTo>
                      <a:pt x="194016" y="94245"/>
                    </a:lnTo>
                    <a:lnTo>
                      <a:pt x="198468" y="93289"/>
                    </a:lnTo>
                    <a:lnTo>
                      <a:pt x="201157" y="91847"/>
                    </a:lnTo>
                    <a:lnTo>
                      <a:pt x="202906" y="94306"/>
                    </a:lnTo>
                    <a:lnTo>
                      <a:pt x="203759" y="100215"/>
                    </a:lnTo>
                    <a:lnTo>
                      <a:pt x="209037" y="109113"/>
                    </a:lnTo>
                    <a:lnTo>
                      <a:pt x="217894" y="116551"/>
                    </a:lnTo>
                    <a:lnTo>
                      <a:pt x="225591" y="119544"/>
                    </a:lnTo>
                    <a:lnTo>
                      <a:pt x="230358" y="114641"/>
                    </a:lnTo>
                    <a:lnTo>
                      <a:pt x="241357" y="109281"/>
                    </a:lnTo>
                    <a:lnTo>
                      <a:pt x="249989" y="102424"/>
                    </a:lnTo>
                    <a:lnTo>
                      <a:pt x="252970" y="99740"/>
                    </a:lnTo>
                    <a:lnTo>
                      <a:pt x="268692" y="92887"/>
                    </a:lnTo>
                    <a:lnTo>
                      <a:pt x="271244" y="94176"/>
                    </a:lnTo>
                    <a:lnTo>
                      <a:pt x="272190" y="96608"/>
                    </a:lnTo>
                    <a:lnTo>
                      <a:pt x="270452" y="102546"/>
                    </a:lnTo>
                    <a:lnTo>
                      <a:pt x="276450" y="108838"/>
                    </a:lnTo>
                    <a:lnTo>
                      <a:pt x="287705" y="107257"/>
                    </a:lnTo>
                    <a:lnTo>
                      <a:pt x="293329" y="109060"/>
                    </a:lnTo>
                    <a:lnTo>
                      <a:pt x="300784" y="104584"/>
                    </a:lnTo>
                    <a:lnTo>
                      <a:pt x="301962" y="103874"/>
                    </a:lnTo>
                    <a:lnTo>
                      <a:pt x="308865" y="105672"/>
                    </a:lnTo>
                    <a:lnTo>
                      <a:pt x="309566" y="106739"/>
                    </a:lnTo>
                    <a:lnTo>
                      <a:pt x="307015" y="111398"/>
                    </a:lnTo>
                    <a:lnTo>
                      <a:pt x="297288" y="121047"/>
                    </a:lnTo>
                    <a:lnTo>
                      <a:pt x="299331" y="127110"/>
                    </a:lnTo>
                    <a:lnTo>
                      <a:pt x="302273" y="127645"/>
                    </a:lnTo>
                    <a:lnTo>
                      <a:pt x="303356" y="129975"/>
                    </a:lnTo>
                    <a:lnTo>
                      <a:pt x="302783" y="132640"/>
                    </a:lnTo>
                    <a:lnTo>
                      <a:pt x="299195" y="136232"/>
                    </a:lnTo>
                    <a:lnTo>
                      <a:pt x="298806" y="148314"/>
                    </a:lnTo>
                    <a:lnTo>
                      <a:pt x="297198" y="154808"/>
                    </a:lnTo>
                    <a:lnTo>
                      <a:pt x="293991" y="158735"/>
                    </a:lnTo>
                    <a:lnTo>
                      <a:pt x="285585" y="159258"/>
                    </a:lnTo>
                    <a:lnTo>
                      <a:pt x="273964" y="164646"/>
                    </a:lnTo>
                    <a:lnTo>
                      <a:pt x="271713" y="167505"/>
                    </a:lnTo>
                    <a:lnTo>
                      <a:pt x="269384" y="177903"/>
                    </a:lnTo>
                    <a:lnTo>
                      <a:pt x="273279" y="185868"/>
                    </a:lnTo>
                    <a:lnTo>
                      <a:pt x="275243" y="198488"/>
                    </a:lnTo>
                    <a:lnTo>
                      <a:pt x="268321" y="211858"/>
                    </a:lnTo>
                    <a:lnTo>
                      <a:pt x="252955" y="214359"/>
                    </a:lnTo>
                    <a:lnTo>
                      <a:pt x="245789" y="219210"/>
                    </a:lnTo>
                    <a:lnTo>
                      <a:pt x="239277" y="218550"/>
                    </a:lnTo>
                    <a:lnTo>
                      <a:pt x="230838" y="221691"/>
                    </a:lnTo>
                    <a:lnTo>
                      <a:pt x="222992" y="219637"/>
                    </a:lnTo>
                    <a:lnTo>
                      <a:pt x="214421" y="232541"/>
                    </a:lnTo>
                    <a:lnTo>
                      <a:pt x="215739" y="237959"/>
                    </a:lnTo>
                    <a:lnTo>
                      <a:pt x="213359" y="248448"/>
                    </a:lnTo>
                    <a:lnTo>
                      <a:pt x="204540" y="257198"/>
                    </a:lnTo>
                    <a:lnTo>
                      <a:pt x="196069" y="260223"/>
                    </a:lnTo>
                    <a:lnTo>
                      <a:pt x="192428" y="265863"/>
                    </a:lnTo>
                    <a:lnTo>
                      <a:pt x="187810" y="266699"/>
                    </a:lnTo>
                    <a:lnTo>
                      <a:pt x="187801" y="266707"/>
                    </a:lnTo>
                    <a:lnTo>
                      <a:pt x="187818" y="264479"/>
                    </a:lnTo>
                    <a:lnTo>
                      <a:pt x="181511" y="264494"/>
                    </a:lnTo>
                    <a:lnTo>
                      <a:pt x="169533" y="268670"/>
                    </a:lnTo>
                    <a:lnTo>
                      <a:pt x="163187" y="269734"/>
                    </a:lnTo>
                    <a:lnTo>
                      <a:pt x="159648" y="266764"/>
                    </a:lnTo>
                    <a:lnTo>
                      <a:pt x="149180" y="251960"/>
                    </a:lnTo>
                    <a:lnTo>
                      <a:pt x="146601" y="246089"/>
                    </a:lnTo>
                    <a:lnTo>
                      <a:pt x="147449" y="236614"/>
                    </a:lnTo>
                    <a:lnTo>
                      <a:pt x="151315" y="227184"/>
                    </a:lnTo>
                    <a:lnTo>
                      <a:pt x="156278" y="219909"/>
                    </a:lnTo>
                    <a:lnTo>
                      <a:pt x="160407" y="217056"/>
                    </a:lnTo>
                    <a:lnTo>
                      <a:pt x="161246" y="215976"/>
                    </a:lnTo>
                    <a:lnTo>
                      <a:pt x="162385" y="210824"/>
                    </a:lnTo>
                    <a:lnTo>
                      <a:pt x="162927" y="209275"/>
                    </a:lnTo>
                    <a:lnTo>
                      <a:pt x="163818" y="208692"/>
                    </a:lnTo>
                    <a:lnTo>
                      <a:pt x="166314" y="207781"/>
                    </a:lnTo>
                    <a:lnTo>
                      <a:pt x="175843" y="200432"/>
                    </a:lnTo>
                    <a:lnTo>
                      <a:pt x="178841" y="196569"/>
                    </a:lnTo>
                    <a:lnTo>
                      <a:pt x="172714" y="197265"/>
                    </a:lnTo>
                    <a:lnTo>
                      <a:pt x="168694" y="200433"/>
                    </a:lnTo>
                    <a:lnTo>
                      <a:pt x="164787" y="201301"/>
                    </a:lnTo>
                    <a:lnTo>
                      <a:pt x="147329" y="179466"/>
                    </a:lnTo>
                    <a:lnTo>
                      <a:pt x="142984" y="170062"/>
                    </a:lnTo>
                    <a:lnTo>
                      <a:pt x="141939" y="166507"/>
                    </a:lnTo>
                    <a:lnTo>
                      <a:pt x="142618" y="163405"/>
                    </a:lnTo>
                    <a:lnTo>
                      <a:pt x="146635" y="162140"/>
                    </a:lnTo>
                    <a:lnTo>
                      <a:pt x="149330" y="159445"/>
                    </a:lnTo>
                    <a:lnTo>
                      <a:pt x="148824" y="153517"/>
                    </a:lnTo>
                    <a:lnTo>
                      <a:pt x="147041" y="147592"/>
                    </a:lnTo>
                    <a:lnTo>
                      <a:pt x="146043" y="145064"/>
                    </a:lnTo>
                    <a:lnTo>
                      <a:pt x="146143" y="139654"/>
                    </a:lnTo>
                    <a:lnTo>
                      <a:pt x="146657" y="137078"/>
                    </a:lnTo>
                    <a:lnTo>
                      <a:pt x="148117" y="135554"/>
                    </a:lnTo>
                    <a:lnTo>
                      <a:pt x="161940" y="125783"/>
                    </a:lnTo>
                    <a:lnTo>
                      <a:pt x="160250" y="125036"/>
                    </a:lnTo>
                    <a:lnTo>
                      <a:pt x="159524" y="124376"/>
                    </a:lnTo>
                    <a:lnTo>
                      <a:pt x="158835" y="122893"/>
                    </a:lnTo>
                    <a:lnTo>
                      <a:pt x="156163" y="125853"/>
                    </a:lnTo>
                    <a:lnTo>
                      <a:pt x="153521" y="127631"/>
                    </a:lnTo>
                    <a:lnTo>
                      <a:pt x="151201" y="127018"/>
                    </a:lnTo>
                    <a:lnTo>
                      <a:pt x="149404" y="122803"/>
                    </a:lnTo>
                    <a:lnTo>
                      <a:pt x="143406" y="127283"/>
                    </a:lnTo>
                    <a:lnTo>
                      <a:pt x="137128" y="127715"/>
                    </a:lnTo>
                    <a:lnTo>
                      <a:pt x="124043" y="125394"/>
                    </a:lnTo>
                    <a:lnTo>
                      <a:pt x="107347" y="130387"/>
                    </a:lnTo>
                    <a:lnTo>
                      <a:pt x="103491" y="132718"/>
                    </a:lnTo>
                    <a:lnTo>
                      <a:pt x="98840" y="135456"/>
                    </a:lnTo>
                    <a:lnTo>
                      <a:pt x="82866" y="135055"/>
                    </a:lnTo>
                    <a:lnTo>
                      <a:pt x="78075" y="137491"/>
                    </a:lnTo>
                    <a:lnTo>
                      <a:pt x="73648" y="141267"/>
                    </a:lnTo>
                    <a:lnTo>
                      <a:pt x="65323" y="150706"/>
                    </a:lnTo>
                    <a:lnTo>
                      <a:pt x="66172" y="151698"/>
                    </a:lnTo>
                    <a:lnTo>
                      <a:pt x="66712" y="153308"/>
                    </a:lnTo>
                    <a:lnTo>
                      <a:pt x="63016" y="155522"/>
                    </a:lnTo>
                    <a:lnTo>
                      <a:pt x="60733" y="159841"/>
                    </a:lnTo>
                    <a:lnTo>
                      <a:pt x="60574" y="164767"/>
                    </a:lnTo>
                    <a:lnTo>
                      <a:pt x="63333" y="168913"/>
                    </a:lnTo>
                    <a:lnTo>
                      <a:pt x="60324" y="171993"/>
                    </a:lnTo>
                    <a:lnTo>
                      <a:pt x="58630" y="173319"/>
                    </a:lnTo>
                    <a:lnTo>
                      <a:pt x="56936" y="174039"/>
                    </a:lnTo>
                    <a:lnTo>
                      <a:pt x="54149" y="173623"/>
                    </a:lnTo>
                    <a:lnTo>
                      <a:pt x="50994" y="169671"/>
                    </a:lnTo>
                    <a:lnTo>
                      <a:pt x="46058" y="167850"/>
                    </a:lnTo>
                    <a:lnTo>
                      <a:pt x="41698" y="164187"/>
                    </a:lnTo>
                    <a:lnTo>
                      <a:pt x="39043" y="163320"/>
                    </a:lnTo>
                    <a:lnTo>
                      <a:pt x="36288" y="163927"/>
                    </a:lnTo>
                    <a:lnTo>
                      <a:pt x="34646" y="165423"/>
                    </a:lnTo>
                    <a:lnTo>
                      <a:pt x="33301" y="167141"/>
                    </a:lnTo>
                    <a:lnTo>
                      <a:pt x="31635" y="168403"/>
                    </a:lnTo>
                    <a:lnTo>
                      <a:pt x="26470" y="169667"/>
                    </a:lnTo>
                    <a:lnTo>
                      <a:pt x="13577" y="168085"/>
                    </a:lnTo>
                    <a:lnTo>
                      <a:pt x="10117" y="170184"/>
                    </a:lnTo>
                    <a:lnTo>
                      <a:pt x="6831" y="173948"/>
                    </a:lnTo>
                    <a:lnTo>
                      <a:pt x="3521" y="175441"/>
                    </a:lnTo>
                    <a:lnTo>
                      <a:pt x="0" y="173057"/>
                    </a:lnTo>
                    <a:lnTo>
                      <a:pt x="2455" y="169558"/>
                    </a:lnTo>
                    <a:lnTo>
                      <a:pt x="2730" y="167870"/>
                    </a:lnTo>
                    <a:lnTo>
                      <a:pt x="1853" y="165521"/>
                    </a:lnTo>
                    <a:lnTo>
                      <a:pt x="3316" y="163651"/>
                    </a:lnTo>
                    <a:lnTo>
                      <a:pt x="6738" y="157527"/>
                    </a:lnTo>
                    <a:lnTo>
                      <a:pt x="39414" y="120677"/>
                    </a:lnTo>
                    <a:lnTo>
                      <a:pt x="42923" y="118792"/>
                    </a:lnTo>
                    <a:lnTo>
                      <a:pt x="47278" y="118474"/>
                    </a:lnTo>
                    <a:lnTo>
                      <a:pt x="51572" y="117236"/>
                    </a:lnTo>
                    <a:lnTo>
                      <a:pt x="56107" y="114899"/>
                    </a:lnTo>
                    <a:lnTo>
                      <a:pt x="74866" y="100690"/>
                    </a:lnTo>
                    <a:lnTo>
                      <a:pt x="79516" y="92936"/>
                    </a:lnTo>
                    <a:lnTo>
                      <a:pt x="94701" y="83272"/>
                    </a:lnTo>
                    <a:lnTo>
                      <a:pt x="96664" y="78323"/>
                    </a:lnTo>
                    <a:lnTo>
                      <a:pt x="97734" y="71465"/>
                    </a:lnTo>
                    <a:lnTo>
                      <a:pt x="98360" y="55584"/>
                    </a:lnTo>
                    <a:lnTo>
                      <a:pt x="99099" y="51130"/>
                    </a:lnTo>
                    <a:lnTo>
                      <a:pt x="100621" y="49610"/>
                    </a:lnTo>
                    <a:lnTo>
                      <a:pt x="102151" y="50423"/>
                    </a:lnTo>
                    <a:lnTo>
                      <a:pt x="102790" y="53029"/>
                    </a:lnTo>
                    <a:lnTo>
                      <a:pt x="103683" y="55480"/>
                    </a:lnTo>
                    <a:lnTo>
                      <a:pt x="105654" y="52473"/>
                    </a:lnTo>
                    <a:lnTo>
                      <a:pt x="107426" y="48080"/>
                    </a:lnTo>
                    <a:lnTo>
                      <a:pt x="107707" y="46436"/>
                    </a:lnTo>
                    <a:lnTo>
                      <a:pt x="117029" y="35387"/>
                    </a:lnTo>
                    <a:lnTo>
                      <a:pt x="119615" y="33552"/>
                    </a:lnTo>
                    <a:lnTo>
                      <a:pt x="123719" y="31842"/>
                    </a:lnTo>
                    <a:lnTo>
                      <a:pt x="126796" y="27665"/>
                    </a:lnTo>
                    <a:lnTo>
                      <a:pt x="131657" y="17799"/>
                    </a:lnTo>
                    <a:lnTo>
                      <a:pt x="136894" y="11512"/>
                    </a:lnTo>
                    <a:lnTo>
                      <a:pt x="142987" y="7565"/>
                    </a:lnTo>
                    <a:lnTo>
                      <a:pt x="149709" y="5581"/>
                    </a:lnTo>
                    <a:lnTo>
                      <a:pt x="156928" y="4998"/>
                    </a:lnTo>
                    <a:lnTo>
                      <a:pt x="158830" y="5638"/>
                    </a:lnTo>
                    <a:lnTo>
                      <a:pt x="160653" y="6758"/>
                    </a:lnTo>
                    <a:lnTo>
                      <a:pt x="162351" y="7380"/>
                    </a:lnTo>
                    <a:lnTo>
                      <a:pt x="165292" y="5387"/>
                    </a:lnTo>
                    <a:lnTo>
                      <a:pt x="170302" y="3005"/>
                    </a:lnTo>
                    <a:lnTo>
                      <a:pt x="175664" y="1619"/>
                    </a:lnTo>
                    <a:lnTo>
                      <a:pt x="177614" y="0"/>
                    </a:lnTo>
                    <a:lnTo>
                      <a:pt x="177622" y="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3" name="Freeform 130">
                <a:extLst>
                  <a:ext uri="{FF2B5EF4-FFF2-40B4-BE49-F238E27FC236}">
                    <a16:creationId xmlns:a16="http://schemas.microsoft.com/office/drawing/2014/main" id="{2016B473-6E10-3F6B-E6E0-E6A925765A58}"/>
                  </a:ext>
                </a:extLst>
              </p:cNvPr>
              <p:cNvSpPr>
                <a:spLocks noChangeAspect="1"/>
              </p:cNvSpPr>
              <p:nvPr>
                <p:custDataLst>
                  <p:tags r:id="rId104"/>
                </p:custDataLst>
              </p:nvPr>
            </p:nvSpPr>
            <p:spPr>
              <a:xfrm>
                <a:off x="4564158" y="5000019"/>
                <a:ext cx="43002" cy="42406"/>
              </a:xfrm>
              <a:custGeom>
                <a:avLst/>
                <a:gdLst/>
                <a:ahLst/>
                <a:cxnLst/>
                <a:rect l="0" t="0" r="0" b="0"/>
                <a:pathLst>
                  <a:path w="44152" h="43540">
                    <a:moveTo>
                      <a:pt x="20353" y="2287"/>
                    </a:moveTo>
                    <a:lnTo>
                      <a:pt x="30862" y="1837"/>
                    </a:lnTo>
                    <a:lnTo>
                      <a:pt x="32131" y="1417"/>
                    </a:lnTo>
                    <a:lnTo>
                      <a:pt x="35854" y="5509"/>
                    </a:lnTo>
                    <a:lnTo>
                      <a:pt x="38861" y="7579"/>
                    </a:lnTo>
                    <a:lnTo>
                      <a:pt x="39303" y="11042"/>
                    </a:lnTo>
                    <a:lnTo>
                      <a:pt x="43185" y="18624"/>
                    </a:lnTo>
                    <a:lnTo>
                      <a:pt x="44078" y="25548"/>
                    </a:lnTo>
                    <a:lnTo>
                      <a:pt x="44115" y="33849"/>
                    </a:lnTo>
                    <a:lnTo>
                      <a:pt x="44151" y="42148"/>
                    </a:lnTo>
                    <a:lnTo>
                      <a:pt x="42265" y="43381"/>
                    </a:lnTo>
                    <a:lnTo>
                      <a:pt x="42009" y="43539"/>
                    </a:lnTo>
                    <a:lnTo>
                      <a:pt x="35987" y="39419"/>
                    </a:lnTo>
                    <a:lnTo>
                      <a:pt x="29094" y="33910"/>
                    </a:lnTo>
                    <a:lnTo>
                      <a:pt x="19646" y="29095"/>
                    </a:lnTo>
                    <a:lnTo>
                      <a:pt x="17774" y="31243"/>
                    </a:lnTo>
                    <a:lnTo>
                      <a:pt x="14386" y="29150"/>
                    </a:lnTo>
                    <a:lnTo>
                      <a:pt x="9897" y="22056"/>
                    </a:lnTo>
                    <a:lnTo>
                      <a:pt x="8376" y="16966"/>
                    </a:lnTo>
                    <a:lnTo>
                      <a:pt x="914" y="8179"/>
                    </a:lnTo>
                    <a:lnTo>
                      <a:pt x="0" y="6069"/>
                    </a:lnTo>
                    <a:lnTo>
                      <a:pt x="520" y="3087"/>
                    </a:lnTo>
                    <a:lnTo>
                      <a:pt x="439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4" name="Freeform 131">
                <a:extLst>
                  <a:ext uri="{FF2B5EF4-FFF2-40B4-BE49-F238E27FC236}">
                    <a16:creationId xmlns:a16="http://schemas.microsoft.com/office/drawing/2014/main" id="{2B8E21C9-EE11-58A1-250C-D6AB7DD843A3}"/>
                  </a:ext>
                </a:extLst>
              </p:cNvPr>
              <p:cNvSpPr>
                <a:spLocks noChangeAspect="1"/>
              </p:cNvSpPr>
              <p:nvPr>
                <p:custDataLst>
                  <p:tags r:id="rId105"/>
                </p:custDataLst>
              </p:nvPr>
            </p:nvSpPr>
            <p:spPr>
              <a:xfrm>
                <a:off x="4595453" y="4937017"/>
                <a:ext cx="117304" cy="155834"/>
              </a:xfrm>
              <a:custGeom>
                <a:avLst/>
                <a:gdLst/>
                <a:ahLst/>
                <a:cxnLst/>
                <a:rect l="0" t="0" r="0" b="0"/>
                <a:pathLst>
                  <a:path w="120440" h="160000">
                    <a:moveTo>
                      <a:pt x="120095" y="61144"/>
                    </a:moveTo>
                    <a:lnTo>
                      <a:pt x="120439" y="60938"/>
                    </a:lnTo>
                    <a:lnTo>
                      <a:pt x="118812" y="66365"/>
                    </a:lnTo>
                    <a:lnTo>
                      <a:pt x="113791" y="74483"/>
                    </a:lnTo>
                    <a:lnTo>
                      <a:pt x="112980" y="77659"/>
                    </a:lnTo>
                    <a:lnTo>
                      <a:pt x="112613" y="79993"/>
                    </a:lnTo>
                    <a:lnTo>
                      <a:pt x="112740" y="82794"/>
                    </a:lnTo>
                    <a:lnTo>
                      <a:pt x="113684" y="85360"/>
                    </a:lnTo>
                    <a:lnTo>
                      <a:pt x="115259" y="88660"/>
                    </a:lnTo>
                    <a:lnTo>
                      <a:pt x="115196" y="90782"/>
                    </a:lnTo>
                    <a:lnTo>
                      <a:pt x="114431" y="93663"/>
                    </a:lnTo>
                    <a:lnTo>
                      <a:pt x="113664" y="95271"/>
                    </a:lnTo>
                    <a:lnTo>
                      <a:pt x="112147" y="97636"/>
                    </a:lnTo>
                    <a:lnTo>
                      <a:pt x="112016" y="99225"/>
                    </a:lnTo>
                    <a:lnTo>
                      <a:pt x="112355" y="101207"/>
                    </a:lnTo>
                    <a:lnTo>
                      <a:pt x="114489" y="106345"/>
                    </a:lnTo>
                    <a:lnTo>
                      <a:pt x="116322" y="113008"/>
                    </a:lnTo>
                    <a:lnTo>
                      <a:pt x="117104" y="115111"/>
                    </a:lnTo>
                    <a:lnTo>
                      <a:pt x="117564" y="116892"/>
                    </a:lnTo>
                    <a:lnTo>
                      <a:pt x="117601" y="118145"/>
                    </a:lnTo>
                    <a:lnTo>
                      <a:pt x="116624" y="119568"/>
                    </a:lnTo>
                    <a:lnTo>
                      <a:pt x="112891" y="121177"/>
                    </a:lnTo>
                    <a:lnTo>
                      <a:pt x="112325" y="122070"/>
                    </a:lnTo>
                    <a:lnTo>
                      <a:pt x="112471" y="123253"/>
                    </a:lnTo>
                    <a:lnTo>
                      <a:pt x="113766" y="125185"/>
                    </a:lnTo>
                    <a:lnTo>
                      <a:pt x="114993" y="127698"/>
                    </a:lnTo>
                    <a:lnTo>
                      <a:pt x="115153" y="131259"/>
                    </a:lnTo>
                    <a:lnTo>
                      <a:pt x="116944" y="139150"/>
                    </a:lnTo>
                    <a:lnTo>
                      <a:pt x="116936" y="139158"/>
                    </a:lnTo>
                    <a:lnTo>
                      <a:pt x="110277" y="147281"/>
                    </a:lnTo>
                    <a:lnTo>
                      <a:pt x="105713" y="150979"/>
                    </a:lnTo>
                    <a:lnTo>
                      <a:pt x="94488" y="153699"/>
                    </a:lnTo>
                    <a:lnTo>
                      <a:pt x="85611" y="159998"/>
                    </a:lnTo>
                    <a:lnTo>
                      <a:pt x="85608" y="159999"/>
                    </a:lnTo>
                    <a:lnTo>
                      <a:pt x="77227" y="156235"/>
                    </a:lnTo>
                    <a:lnTo>
                      <a:pt x="72461" y="152129"/>
                    </a:lnTo>
                    <a:lnTo>
                      <a:pt x="73723" y="147963"/>
                    </a:lnTo>
                    <a:lnTo>
                      <a:pt x="80549" y="141678"/>
                    </a:lnTo>
                    <a:lnTo>
                      <a:pt x="85248" y="137493"/>
                    </a:lnTo>
                    <a:lnTo>
                      <a:pt x="87364" y="134010"/>
                    </a:lnTo>
                    <a:lnTo>
                      <a:pt x="84747" y="129186"/>
                    </a:lnTo>
                    <a:lnTo>
                      <a:pt x="81291" y="127144"/>
                    </a:lnTo>
                    <a:lnTo>
                      <a:pt x="76566" y="127185"/>
                    </a:lnTo>
                    <a:lnTo>
                      <a:pt x="62021" y="136290"/>
                    </a:lnTo>
                    <a:lnTo>
                      <a:pt x="56000" y="136334"/>
                    </a:lnTo>
                    <a:lnTo>
                      <a:pt x="53849" y="135658"/>
                    </a:lnTo>
                    <a:lnTo>
                      <a:pt x="50405" y="134992"/>
                    </a:lnTo>
                    <a:lnTo>
                      <a:pt x="46664" y="135875"/>
                    </a:lnTo>
                    <a:lnTo>
                      <a:pt x="44353" y="130187"/>
                    </a:lnTo>
                    <a:lnTo>
                      <a:pt x="43006" y="120503"/>
                    </a:lnTo>
                    <a:lnTo>
                      <a:pt x="42941" y="110130"/>
                    </a:lnTo>
                    <a:lnTo>
                      <a:pt x="42907" y="104594"/>
                    </a:lnTo>
                    <a:lnTo>
                      <a:pt x="39444" y="99781"/>
                    </a:lnTo>
                    <a:lnTo>
                      <a:pt x="36006" y="99802"/>
                    </a:lnTo>
                    <a:lnTo>
                      <a:pt x="32139" y="97740"/>
                    </a:lnTo>
                    <a:lnTo>
                      <a:pt x="29543" y="92910"/>
                    </a:lnTo>
                    <a:lnTo>
                      <a:pt x="29066" y="83911"/>
                    </a:lnTo>
                    <a:lnTo>
                      <a:pt x="25591" y="76331"/>
                    </a:lnTo>
                    <a:lnTo>
                      <a:pt x="17860" y="72215"/>
                    </a:lnTo>
                    <a:lnTo>
                      <a:pt x="12289" y="72240"/>
                    </a:lnTo>
                    <a:lnTo>
                      <a:pt x="6730" y="72265"/>
                    </a:lnTo>
                    <a:lnTo>
                      <a:pt x="3723" y="70195"/>
                    </a:lnTo>
                    <a:lnTo>
                      <a:pt x="0" y="66103"/>
                    </a:lnTo>
                    <a:lnTo>
                      <a:pt x="4952" y="64486"/>
                    </a:lnTo>
                    <a:lnTo>
                      <a:pt x="9660" y="60320"/>
                    </a:lnTo>
                    <a:lnTo>
                      <a:pt x="16082" y="59019"/>
                    </a:lnTo>
                    <a:lnTo>
                      <a:pt x="21150" y="49548"/>
                    </a:lnTo>
                    <a:lnTo>
                      <a:pt x="21728" y="44354"/>
                    </a:lnTo>
                    <a:lnTo>
                      <a:pt x="28649" y="37210"/>
                    </a:lnTo>
                    <a:lnTo>
                      <a:pt x="21721" y="17290"/>
                    </a:lnTo>
                    <a:lnTo>
                      <a:pt x="22813" y="11659"/>
                    </a:lnTo>
                    <a:lnTo>
                      <a:pt x="22260" y="5828"/>
                    </a:lnTo>
                    <a:lnTo>
                      <a:pt x="24567" y="122"/>
                    </a:lnTo>
                    <a:lnTo>
                      <a:pt x="24616" y="0"/>
                    </a:lnTo>
                    <a:lnTo>
                      <a:pt x="24713" y="181"/>
                    </a:lnTo>
                    <a:lnTo>
                      <a:pt x="30071" y="7691"/>
                    </a:lnTo>
                    <a:lnTo>
                      <a:pt x="37052" y="13987"/>
                    </a:lnTo>
                    <a:lnTo>
                      <a:pt x="37451" y="14537"/>
                    </a:lnTo>
                    <a:lnTo>
                      <a:pt x="37999" y="15531"/>
                    </a:lnTo>
                    <a:lnTo>
                      <a:pt x="38335" y="16792"/>
                    </a:lnTo>
                    <a:lnTo>
                      <a:pt x="38699" y="19622"/>
                    </a:lnTo>
                    <a:lnTo>
                      <a:pt x="39586" y="21275"/>
                    </a:lnTo>
                    <a:lnTo>
                      <a:pt x="40998" y="23083"/>
                    </a:lnTo>
                    <a:lnTo>
                      <a:pt x="46077" y="27521"/>
                    </a:lnTo>
                    <a:lnTo>
                      <a:pt x="48051" y="28437"/>
                    </a:lnTo>
                    <a:lnTo>
                      <a:pt x="50580" y="28478"/>
                    </a:lnTo>
                    <a:lnTo>
                      <a:pt x="52241" y="28191"/>
                    </a:lnTo>
                    <a:lnTo>
                      <a:pt x="54683" y="27107"/>
                    </a:lnTo>
                    <a:lnTo>
                      <a:pt x="61663" y="21796"/>
                    </a:lnTo>
                    <a:lnTo>
                      <a:pt x="64001" y="20821"/>
                    </a:lnTo>
                    <a:lnTo>
                      <a:pt x="66599" y="20465"/>
                    </a:lnTo>
                    <a:lnTo>
                      <a:pt x="89867" y="40964"/>
                    </a:lnTo>
                    <a:lnTo>
                      <a:pt x="92385" y="44198"/>
                    </a:lnTo>
                    <a:lnTo>
                      <a:pt x="92981" y="45387"/>
                    </a:lnTo>
                    <a:lnTo>
                      <a:pt x="96163" y="49068"/>
                    </a:lnTo>
                    <a:lnTo>
                      <a:pt x="96820" y="50158"/>
                    </a:lnTo>
                    <a:lnTo>
                      <a:pt x="97842" y="52408"/>
                    </a:lnTo>
                    <a:lnTo>
                      <a:pt x="98486" y="53438"/>
                    </a:lnTo>
                    <a:lnTo>
                      <a:pt x="99593" y="54295"/>
                    </a:lnTo>
                    <a:lnTo>
                      <a:pt x="101075" y="54854"/>
                    </a:lnTo>
                    <a:lnTo>
                      <a:pt x="105369" y="54524"/>
                    </a:lnTo>
                    <a:lnTo>
                      <a:pt x="107250" y="54732"/>
                    </a:lnTo>
                    <a:lnTo>
                      <a:pt x="108858" y="55584"/>
                    </a:lnTo>
                    <a:lnTo>
                      <a:pt x="113223" y="59773"/>
                    </a:lnTo>
                    <a:lnTo>
                      <a:pt x="117661" y="625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5" name="Freeform 132">
                <a:extLst>
                  <a:ext uri="{FF2B5EF4-FFF2-40B4-BE49-F238E27FC236}">
                    <a16:creationId xmlns:a16="http://schemas.microsoft.com/office/drawing/2014/main" id="{A0BAB5CD-29FC-D6C4-0C6E-A32BD433E8BF}"/>
                  </a:ext>
                </a:extLst>
              </p:cNvPr>
              <p:cNvSpPr>
                <a:spLocks noChangeAspect="1"/>
              </p:cNvSpPr>
              <p:nvPr>
                <p:custDataLst>
                  <p:tags r:id="rId106"/>
                </p:custDataLst>
              </p:nvPr>
            </p:nvSpPr>
            <p:spPr>
              <a:xfrm>
                <a:off x="4606594" y="5060851"/>
                <a:ext cx="73949" cy="53181"/>
              </a:xfrm>
              <a:custGeom>
                <a:avLst/>
                <a:gdLst/>
                <a:ahLst/>
                <a:cxnLst/>
                <a:rect l="0" t="0" r="0" b="0"/>
                <a:pathLst>
                  <a:path w="75926" h="54603">
                    <a:moveTo>
                      <a:pt x="74169" y="32855"/>
                    </a:moveTo>
                    <a:lnTo>
                      <a:pt x="69846" y="35922"/>
                    </a:lnTo>
                    <a:lnTo>
                      <a:pt x="59816" y="39612"/>
                    </a:lnTo>
                    <a:lnTo>
                      <a:pt x="39704" y="41127"/>
                    </a:lnTo>
                    <a:lnTo>
                      <a:pt x="36620" y="39936"/>
                    </a:lnTo>
                    <a:lnTo>
                      <a:pt x="34745" y="37244"/>
                    </a:lnTo>
                    <a:lnTo>
                      <a:pt x="33452" y="34548"/>
                    </a:lnTo>
                    <a:lnTo>
                      <a:pt x="32206" y="33376"/>
                    </a:lnTo>
                    <a:lnTo>
                      <a:pt x="29993" y="35083"/>
                    </a:lnTo>
                    <a:lnTo>
                      <a:pt x="23810" y="42953"/>
                    </a:lnTo>
                    <a:lnTo>
                      <a:pt x="22527" y="45401"/>
                    </a:lnTo>
                    <a:lnTo>
                      <a:pt x="8771" y="54365"/>
                    </a:lnTo>
                    <a:lnTo>
                      <a:pt x="8114" y="54601"/>
                    </a:lnTo>
                    <a:lnTo>
                      <a:pt x="8109" y="54602"/>
                    </a:lnTo>
                    <a:lnTo>
                      <a:pt x="7995" y="53456"/>
                    </a:lnTo>
                    <a:lnTo>
                      <a:pt x="10671" y="48884"/>
                    </a:lnTo>
                    <a:lnTo>
                      <a:pt x="10216" y="47603"/>
                    </a:lnTo>
                    <a:lnTo>
                      <a:pt x="3658" y="44872"/>
                    </a:lnTo>
                    <a:lnTo>
                      <a:pt x="1890" y="41130"/>
                    </a:lnTo>
                    <a:lnTo>
                      <a:pt x="6315" y="33619"/>
                    </a:lnTo>
                    <a:lnTo>
                      <a:pt x="276" y="27380"/>
                    </a:lnTo>
                    <a:lnTo>
                      <a:pt x="0" y="24637"/>
                    </a:lnTo>
                    <a:lnTo>
                      <a:pt x="207" y="24281"/>
                    </a:lnTo>
                    <a:lnTo>
                      <a:pt x="13661" y="19764"/>
                    </a:lnTo>
                    <a:lnTo>
                      <a:pt x="18525" y="17123"/>
                    </a:lnTo>
                    <a:lnTo>
                      <a:pt x="32954" y="9269"/>
                    </a:lnTo>
                    <a:lnTo>
                      <a:pt x="35225" y="8731"/>
                    </a:lnTo>
                    <a:lnTo>
                      <a:pt x="38966" y="7848"/>
                    </a:lnTo>
                    <a:lnTo>
                      <a:pt x="42410" y="8514"/>
                    </a:lnTo>
                    <a:lnTo>
                      <a:pt x="44561" y="9190"/>
                    </a:lnTo>
                    <a:lnTo>
                      <a:pt x="50582" y="9146"/>
                    </a:lnTo>
                    <a:lnTo>
                      <a:pt x="65127" y="41"/>
                    </a:lnTo>
                    <a:lnTo>
                      <a:pt x="69852" y="0"/>
                    </a:lnTo>
                    <a:lnTo>
                      <a:pt x="73308" y="2042"/>
                    </a:lnTo>
                    <a:lnTo>
                      <a:pt x="75925" y="6866"/>
                    </a:lnTo>
                    <a:lnTo>
                      <a:pt x="73809" y="10349"/>
                    </a:lnTo>
                    <a:lnTo>
                      <a:pt x="69110" y="14534"/>
                    </a:lnTo>
                    <a:lnTo>
                      <a:pt x="62284" y="20819"/>
                    </a:lnTo>
                    <a:lnTo>
                      <a:pt x="61022" y="24985"/>
                    </a:lnTo>
                    <a:lnTo>
                      <a:pt x="65788" y="2909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6" name="Freeform 133">
                <a:extLst>
                  <a:ext uri="{FF2B5EF4-FFF2-40B4-BE49-F238E27FC236}">
                    <a16:creationId xmlns:a16="http://schemas.microsoft.com/office/drawing/2014/main" id="{42057247-6B5D-2DD5-53E6-E0E0529340B2}"/>
                  </a:ext>
                </a:extLst>
              </p:cNvPr>
              <p:cNvSpPr>
                <a:spLocks noChangeAspect="1"/>
              </p:cNvSpPr>
              <p:nvPr>
                <p:custDataLst>
                  <p:tags r:id="rId107"/>
                </p:custDataLst>
              </p:nvPr>
            </p:nvSpPr>
            <p:spPr>
              <a:xfrm>
                <a:off x="4602008" y="5007352"/>
                <a:ext cx="38895" cy="70177"/>
              </a:xfrm>
              <a:custGeom>
                <a:avLst/>
                <a:gdLst/>
                <a:ahLst/>
                <a:cxnLst/>
                <a:rect l="0" t="0" r="0" b="0"/>
                <a:pathLst>
                  <a:path w="39935" h="72053">
                    <a:moveTo>
                      <a:pt x="29276" y="27587"/>
                    </a:moveTo>
                    <a:lnTo>
                      <a:pt x="32714" y="27566"/>
                    </a:lnTo>
                    <a:lnTo>
                      <a:pt x="36177" y="32379"/>
                    </a:lnTo>
                    <a:lnTo>
                      <a:pt x="36211" y="37915"/>
                    </a:lnTo>
                    <a:lnTo>
                      <a:pt x="36276" y="48288"/>
                    </a:lnTo>
                    <a:lnTo>
                      <a:pt x="37623" y="57972"/>
                    </a:lnTo>
                    <a:lnTo>
                      <a:pt x="39934" y="63660"/>
                    </a:lnTo>
                    <a:lnTo>
                      <a:pt x="37663" y="64198"/>
                    </a:lnTo>
                    <a:lnTo>
                      <a:pt x="23234" y="72052"/>
                    </a:lnTo>
                    <a:lnTo>
                      <a:pt x="16194" y="67786"/>
                    </a:lnTo>
                    <a:lnTo>
                      <a:pt x="12724" y="62958"/>
                    </a:lnTo>
                    <a:lnTo>
                      <a:pt x="13127" y="58802"/>
                    </a:lnTo>
                    <a:lnTo>
                      <a:pt x="13958" y="53271"/>
                    </a:lnTo>
                    <a:lnTo>
                      <a:pt x="14372" y="47722"/>
                    </a:lnTo>
                    <a:lnTo>
                      <a:pt x="13910" y="43579"/>
                    </a:lnTo>
                    <a:lnTo>
                      <a:pt x="9604" y="40837"/>
                    </a:lnTo>
                    <a:lnTo>
                      <a:pt x="4877" y="39477"/>
                    </a:lnTo>
                    <a:lnTo>
                      <a:pt x="3404" y="35852"/>
                    </a:lnTo>
                    <a:lnTo>
                      <a:pt x="5290" y="34619"/>
                    </a:lnTo>
                    <a:lnTo>
                      <a:pt x="5254" y="26320"/>
                    </a:lnTo>
                    <a:lnTo>
                      <a:pt x="5217" y="18019"/>
                    </a:lnTo>
                    <a:lnTo>
                      <a:pt x="4324" y="11095"/>
                    </a:lnTo>
                    <a:lnTo>
                      <a:pt x="442" y="3513"/>
                    </a:lnTo>
                    <a:lnTo>
                      <a:pt x="0" y="50"/>
                    </a:lnTo>
                    <a:lnTo>
                      <a:pt x="5559" y="25"/>
                    </a:lnTo>
                    <a:lnTo>
                      <a:pt x="11130" y="0"/>
                    </a:lnTo>
                    <a:lnTo>
                      <a:pt x="18861" y="4116"/>
                    </a:lnTo>
                    <a:lnTo>
                      <a:pt x="22336" y="11696"/>
                    </a:lnTo>
                    <a:lnTo>
                      <a:pt x="22813" y="20695"/>
                    </a:lnTo>
                    <a:lnTo>
                      <a:pt x="25409" y="255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7" name="Freeform 137">
                <a:extLst>
                  <a:ext uri="{FF2B5EF4-FFF2-40B4-BE49-F238E27FC236}">
                    <a16:creationId xmlns:a16="http://schemas.microsoft.com/office/drawing/2014/main" id="{82965CAA-FE6F-E4AB-FE33-FB5209F268E6}"/>
                  </a:ext>
                </a:extLst>
              </p:cNvPr>
              <p:cNvSpPr>
                <a:spLocks noChangeAspect="1"/>
              </p:cNvSpPr>
              <p:nvPr>
                <p:custDataLst>
                  <p:tags r:id="rId108"/>
                </p:custDataLst>
              </p:nvPr>
            </p:nvSpPr>
            <p:spPr>
              <a:xfrm>
                <a:off x="4158574" y="3642155"/>
                <a:ext cx="497497" cy="306009"/>
              </a:xfrm>
              <a:custGeom>
                <a:avLst/>
                <a:gdLst/>
                <a:ahLst/>
                <a:cxnLst/>
                <a:rect l="0" t="0" r="0" b="0"/>
                <a:pathLst>
                  <a:path w="510796" h="314189">
                    <a:moveTo>
                      <a:pt x="269973" y="3115"/>
                    </a:moveTo>
                    <a:lnTo>
                      <a:pt x="286894" y="3036"/>
                    </a:lnTo>
                    <a:lnTo>
                      <a:pt x="298301" y="6384"/>
                    </a:lnTo>
                    <a:lnTo>
                      <a:pt x="310456" y="20665"/>
                    </a:lnTo>
                    <a:lnTo>
                      <a:pt x="316112" y="35246"/>
                    </a:lnTo>
                    <a:lnTo>
                      <a:pt x="323645" y="38457"/>
                    </a:lnTo>
                    <a:lnTo>
                      <a:pt x="323776" y="50662"/>
                    </a:lnTo>
                    <a:lnTo>
                      <a:pt x="325086" y="54498"/>
                    </a:lnTo>
                    <a:lnTo>
                      <a:pt x="331655" y="58649"/>
                    </a:lnTo>
                    <a:lnTo>
                      <a:pt x="337913" y="66430"/>
                    </a:lnTo>
                    <a:lnTo>
                      <a:pt x="343477" y="65282"/>
                    </a:lnTo>
                    <a:lnTo>
                      <a:pt x="344217" y="57740"/>
                    </a:lnTo>
                    <a:lnTo>
                      <a:pt x="345549" y="55295"/>
                    </a:lnTo>
                    <a:lnTo>
                      <a:pt x="353238" y="51187"/>
                    </a:lnTo>
                    <a:lnTo>
                      <a:pt x="353315" y="43763"/>
                    </a:lnTo>
                    <a:lnTo>
                      <a:pt x="354657" y="37802"/>
                    </a:lnTo>
                    <a:lnTo>
                      <a:pt x="354246" y="30475"/>
                    </a:lnTo>
                    <a:lnTo>
                      <a:pt x="368851" y="20634"/>
                    </a:lnTo>
                    <a:lnTo>
                      <a:pt x="381136" y="22657"/>
                    </a:lnTo>
                    <a:lnTo>
                      <a:pt x="388306" y="19794"/>
                    </a:lnTo>
                    <a:lnTo>
                      <a:pt x="402537" y="19785"/>
                    </a:lnTo>
                    <a:lnTo>
                      <a:pt x="404519" y="18192"/>
                    </a:lnTo>
                    <a:lnTo>
                      <a:pt x="408720" y="9695"/>
                    </a:lnTo>
                    <a:lnTo>
                      <a:pt x="414389" y="12983"/>
                    </a:lnTo>
                    <a:lnTo>
                      <a:pt x="422586" y="13281"/>
                    </a:lnTo>
                    <a:lnTo>
                      <a:pt x="425306" y="14438"/>
                    </a:lnTo>
                    <a:lnTo>
                      <a:pt x="425005" y="17086"/>
                    </a:lnTo>
                    <a:lnTo>
                      <a:pt x="415979" y="23801"/>
                    </a:lnTo>
                    <a:lnTo>
                      <a:pt x="411584" y="30068"/>
                    </a:lnTo>
                    <a:lnTo>
                      <a:pt x="411543" y="39192"/>
                    </a:lnTo>
                    <a:lnTo>
                      <a:pt x="410283" y="43776"/>
                    </a:lnTo>
                    <a:lnTo>
                      <a:pt x="411500" y="46202"/>
                    </a:lnTo>
                    <a:lnTo>
                      <a:pt x="415605" y="46826"/>
                    </a:lnTo>
                    <a:lnTo>
                      <a:pt x="421140" y="41621"/>
                    </a:lnTo>
                    <a:lnTo>
                      <a:pt x="432407" y="34895"/>
                    </a:lnTo>
                    <a:lnTo>
                      <a:pt x="437968" y="38490"/>
                    </a:lnTo>
                    <a:lnTo>
                      <a:pt x="441848" y="43463"/>
                    </a:lnTo>
                    <a:lnTo>
                      <a:pt x="449202" y="40778"/>
                    </a:lnTo>
                    <a:lnTo>
                      <a:pt x="454816" y="42452"/>
                    </a:lnTo>
                    <a:lnTo>
                      <a:pt x="456152" y="44677"/>
                    </a:lnTo>
                    <a:lnTo>
                      <a:pt x="456181" y="51054"/>
                    </a:lnTo>
                    <a:lnTo>
                      <a:pt x="465230" y="59600"/>
                    </a:lnTo>
                    <a:lnTo>
                      <a:pt x="468035" y="64995"/>
                    </a:lnTo>
                    <a:lnTo>
                      <a:pt x="467701" y="69676"/>
                    </a:lnTo>
                    <a:lnTo>
                      <a:pt x="470192" y="72625"/>
                    </a:lnTo>
                    <a:lnTo>
                      <a:pt x="475142" y="70898"/>
                    </a:lnTo>
                    <a:lnTo>
                      <a:pt x="478246" y="74375"/>
                    </a:lnTo>
                    <a:lnTo>
                      <a:pt x="483708" y="69147"/>
                    </a:lnTo>
                    <a:lnTo>
                      <a:pt x="489624" y="66778"/>
                    </a:lnTo>
                    <a:lnTo>
                      <a:pt x="494243" y="69608"/>
                    </a:lnTo>
                    <a:lnTo>
                      <a:pt x="501376" y="70513"/>
                    </a:lnTo>
                    <a:lnTo>
                      <a:pt x="504114" y="72713"/>
                    </a:lnTo>
                    <a:lnTo>
                      <a:pt x="505473" y="76633"/>
                    </a:lnTo>
                    <a:lnTo>
                      <a:pt x="499935" y="80072"/>
                    </a:lnTo>
                    <a:lnTo>
                      <a:pt x="498332" y="83915"/>
                    </a:lnTo>
                    <a:lnTo>
                      <a:pt x="499922" y="85818"/>
                    </a:lnTo>
                    <a:lnTo>
                      <a:pt x="506337" y="86183"/>
                    </a:lnTo>
                    <a:lnTo>
                      <a:pt x="507503" y="88405"/>
                    </a:lnTo>
                    <a:lnTo>
                      <a:pt x="507491" y="93185"/>
                    </a:lnTo>
                    <a:lnTo>
                      <a:pt x="503113" y="99579"/>
                    </a:lnTo>
                    <a:lnTo>
                      <a:pt x="502106" y="117427"/>
                    </a:lnTo>
                    <a:lnTo>
                      <a:pt x="503465" y="120912"/>
                    </a:lnTo>
                    <a:lnTo>
                      <a:pt x="508714" y="124592"/>
                    </a:lnTo>
                    <a:lnTo>
                      <a:pt x="510732" y="133818"/>
                    </a:lnTo>
                    <a:lnTo>
                      <a:pt x="510755" y="133935"/>
                    </a:lnTo>
                    <a:lnTo>
                      <a:pt x="510795" y="134141"/>
                    </a:lnTo>
                    <a:lnTo>
                      <a:pt x="506086" y="141339"/>
                    </a:lnTo>
                    <a:lnTo>
                      <a:pt x="505352" y="142786"/>
                    </a:lnTo>
                    <a:lnTo>
                      <a:pt x="503706" y="144775"/>
                    </a:lnTo>
                    <a:lnTo>
                      <a:pt x="502151" y="146069"/>
                    </a:lnTo>
                    <a:lnTo>
                      <a:pt x="495160" y="149399"/>
                    </a:lnTo>
                    <a:lnTo>
                      <a:pt x="493994" y="150651"/>
                    </a:lnTo>
                    <a:lnTo>
                      <a:pt x="490410" y="158971"/>
                    </a:lnTo>
                    <a:lnTo>
                      <a:pt x="489502" y="160162"/>
                    </a:lnTo>
                    <a:lnTo>
                      <a:pt x="488355" y="161157"/>
                    </a:lnTo>
                    <a:lnTo>
                      <a:pt x="484817" y="161813"/>
                    </a:lnTo>
                    <a:lnTo>
                      <a:pt x="483277" y="161546"/>
                    </a:lnTo>
                    <a:lnTo>
                      <a:pt x="474924" y="157233"/>
                    </a:lnTo>
                    <a:lnTo>
                      <a:pt x="473660" y="156845"/>
                    </a:lnTo>
                    <a:lnTo>
                      <a:pt x="472510" y="157542"/>
                    </a:lnTo>
                    <a:lnTo>
                      <a:pt x="471599" y="159405"/>
                    </a:lnTo>
                    <a:lnTo>
                      <a:pt x="471304" y="169457"/>
                    </a:lnTo>
                    <a:lnTo>
                      <a:pt x="471076" y="171117"/>
                    </a:lnTo>
                    <a:lnTo>
                      <a:pt x="468267" y="177076"/>
                    </a:lnTo>
                    <a:lnTo>
                      <a:pt x="467349" y="184030"/>
                    </a:lnTo>
                    <a:lnTo>
                      <a:pt x="448707" y="189247"/>
                    </a:lnTo>
                    <a:lnTo>
                      <a:pt x="378859" y="184154"/>
                    </a:lnTo>
                    <a:lnTo>
                      <a:pt x="375167" y="183125"/>
                    </a:lnTo>
                    <a:lnTo>
                      <a:pt x="371760" y="181196"/>
                    </a:lnTo>
                    <a:lnTo>
                      <a:pt x="368514" y="180041"/>
                    </a:lnTo>
                    <a:lnTo>
                      <a:pt x="365390" y="181297"/>
                    </a:lnTo>
                    <a:lnTo>
                      <a:pt x="366032" y="182091"/>
                    </a:lnTo>
                    <a:lnTo>
                      <a:pt x="366228" y="182184"/>
                    </a:lnTo>
                    <a:lnTo>
                      <a:pt x="366352" y="182527"/>
                    </a:lnTo>
                    <a:lnTo>
                      <a:pt x="366725" y="184144"/>
                    </a:lnTo>
                    <a:lnTo>
                      <a:pt x="363029" y="185911"/>
                    </a:lnTo>
                    <a:lnTo>
                      <a:pt x="359560" y="184553"/>
                    </a:lnTo>
                    <a:lnTo>
                      <a:pt x="353281" y="178897"/>
                    </a:lnTo>
                    <a:lnTo>
                      <a:pt x="350394" y="189340"/>
                    </a:lnTo>
                    <a:lnTo>
                      <a:pt x="352126" y="193448"/>
                    </a:lnTo>
                    <a:lnTo>
                      <a:pt x="353218" y="201007"/>
                    </a:lnTo>
                    <a:lnTo>
                      <a:pt x="353611" y="209250"/>
                    </a:lnTo>
                    <a:lnTo>
                      <a:pt x="353205" y="215437"/>
                    </a:lnTo>
                    <a:lnTo>
                      <a:pt x="350742" y="221619"/>
                    </a:lnTo>
                    <a:lnTo>
                      <a:pt x="347069" y="223756"/>
                    </a:lnTo>
                    <a:lnTo>
                      <a:pt x="326547" y="221702"/>
                    </a:lnTo>
                    <a:lnTo>
                      <a:pt x="320856" y="222581"/>
                    </a:lnTo>
                    <a:lnTo>
                      <a:pt x="316070" y="230598"/>
                    </a:lnTo>
                    <a:lnTo>
                      <a:pt x="300494" y="228048"/>
                    </a:lnTo>
                    <a:lnTo>
                      <a:pt x="300984" y="230042"/>
                    </a:lnTo>
                    <a:lnTo>
                      <a:pt x="301216" y="230104"/>
                    </a:lnTo>
                    <a:lnTo>
                      <a:pt x="301973" y="230887"/>
                    </a:lnTo>
                    <a:lnTo>
                      <a:pt x="299978" y="232290"/>
                    </a:lnTo>
                    <a:lnTo>
                      <a:pt x="298342" y="232001"/>
                    </a:lnTo>
                    <a:lnTo>
                      <a:pt x="296972" y="230454"/>
                    </a:lnTo>
                    <a:lnTo>
                      <a:pt x="295841" y="228022"/>
                    </a:lnTo>
                    <a:lnTo>
                      <a:pt x="298355" y="223341"/>
                    </a:lnTo>
                    <a:lnTo>
                      <a:pt x="299434" y="223891"/>
                    </a:lnTo>
                    <a:lnTo>
                      <a:pt x="300507" y="225669"/>
                    </a:lnTo>
                    <a:lnTo>
                      <a:pt x="300192" y="222792"/>
                    </a:lnTo>
                    <a:lnTo>
                      <a:pt x="299849" y="221607"/>
                    </a:lnTo>
                    <a:lnTo>
                      <a:pt x="299033" y="220437"/>
                    </a:lnTo>
                    <a:lnTo>
                      <a:pt x="296397" y="224698"/>
                    </a:lnTo>
                    <a:lnTo>
                      <a:pt x="292978" y="228005"/>
                    </a:lnTo>
                    <a:lnTo>
                      <a:pt x="293956" y="231975"/>
                    </a:lnTo>
                    <a:lnTo>
                      <a:pt x="294449" y="233471"/>
                    </a:lnTo>
                    <a:lnTo>
                      <a:pt x="292987" y="233852"/>
                    </a:lnTo>
                    <a:lnTo>
                      <a:pt x="289938" y="236289"/>
                    </a:lnTo>
                    <a:lnTo>
                      <a:pt x="297388" y="243922"/>
                    </a:lnTo>
                    <a:lnTo>
                      <a:pt x="295228" y="245682"/>
                    </a:lnTo>
                    <a:lnTo>
                      <a:pt x="283719" y="250803"/>
                    </a:lnTo>
                    <a:lnTo>
                      <a:pt x="266340" y="263880"/>
                    </a:lnTo>
                    <a:lnTo>
                      <a:pt x="255853" y="265211"/>
                    </a:lnTo>
                    <a:lnTo>
                      <a:pt x="248987" y="264670"/>
                    </a:lnTo>
                    <a:lnTo>
                      <a:pt x="249012" y="261824"/>
                    </a:lnTo>
                    <a:lnTo>
                      <a:pt x="248155" y="261397"/>
                    </a:lnTo>
                    <a:lnTo>
                      <a:pt x="247403" y="261189"/>
                    </a:lnTo>
                    <a:lnTo>
                      <a:pt x="246718" y="260638"/>
                    </a:lnTo>
                    <a:lnTo>
                      <a:pt x="246188" y="259653"/>
                    </a:lnTo>
                    <a:lnTo>
                      <a:pt x="246817" y="258539"/>
                    </a:lnTo>
                    <a:lnTo>
                      <a:pt x="247448" y="257192"/>
                    </a:lnTo>
                    <a:lnTo>
                      <a:pt x="247550" y="256820"/>
                    </a:lnTo>
                    <a:lnTo>
                      <a:pt x="247136" y="252977"/>
                    </a:lnTo>
                    <a:lnTo>
                      <a:pt x="248067" y="248008"/>
                    </a:lnTo>
                    <a:lnTo>
                      <a:pt x="247610" y="244118"/>
                    </a:lnTo>
                    <a:lnTo>
                      <a:pt x="244621" y="242706"/>
                    </a:lnTo>
                    <a:lnTo>
                      <a:pt x="244539" y="240918"/>
                    </a:lnTo>
                    <a:lnTo>
                      <a:pt x="241307" y="243718"/>
                    </a:lnTo>
                    <a:lnTo>
                      <a:pt x="238729" y="249182"/>
                    </a:lnTo>
                    <a:lnTo>
                      <a:pt x="237914" y="255705"/>
                    </a:lnTo>
                    <a:lnTo>
                      <a:pt x="239982" y="261742"/>
                    </a:lnTo>
                    <a:lnTo>
                      <a:pt x="231349" y="263151"/>
                    </a:lnTo>
                    <a:lnTo>
                      <a:pt x="220191" y="255665"/>
                    </a:lnTo>
                    <a:lnTo>
                      <a:pt x="212583" y="242614"/>
                    </a:lnTo>
                    <a:lnTo>
                      <a:pt x="214642" y="227336"/>
                    </a:lnTo>
                    <a:lnTo>
                      <a:pt x="211353" y="229305"/>
                    </a:lnTo>
                    <a:lnTo>
                      <a:pt x="205922" y="236132"/>
                    </a:lnTo>
                    <a:lnTo>
                      <a:pt x="202374" y="237877"/>
                    </a:lnTo>
                    <a:lnTo>
                      <a:pt x="199084" y="237418"/>
                    </a:lnTo>
                    <a:lnTo>
                      <a:pt x="182786" y="229282"/>
                    </a:lnTo>
                    <a:lnTo>
                      <a:pt x="180254" y="227196"/>
                    </a:lnTo>
                    <a:lnTo>
                      <a:pt x="178375" y="224512"/>
                    </a:lnTo>
                    <a:lnTo>
                      <a:pt x="176357" y="218980"/>
                    </a:lnTo>
                    <a:lnTo>
                      <a:pt x="175376" y="214768"/>
                    </a:lnTo>
                    <a:lnTo>
                      <a:pt x="173893" y="212121"/>
                    </a:lnTo>
                    <a:lnTo>
                      <a:pt x="170367" y="211107"/>
                    </a:lnTo>
                    <a:lnTo>
                      <a:pt x="169003" y="212720"/>
                    </a:lnTo>
                    <a:lnTo>
                      <a:pt x="167232" y="216599"/>
                    </a:lnTo>
                    <a:lnTo>
                      <a:pt x="165679" y="221336"/>
                    </a:lnTo>
                    <a:lnTo>
                      <a:pt x="164976" y="225492"/>
                    </a:lnTo>
                    <a:lnTo>
                      <a:pt x="166888" y="234508"/>
                    </a:lnTo>
                    <a:lnTo>
                      <a:pt x="168528" y="240144"/>
                    </a:lnTo>
                    <a:lnTo>
                      <a:pt x="169926" y="242668"/>
                    </a:lnTo>
                    <a:lnTo>
                      <a:pt x="173488" y="242919"/>
                    </a:lnTo>
                    <a:lnTo>
                      <a:pt x="176619" y="243848"/>
                    </a:lnTo>
                    <a:lnTo>
                      <a:pt x="179414" y="245877"/>
                    </a:lnTo>
                    <a:lnTo>
                      <a:pt x="182001" y="249471"/>
                    </a:lnTo>
                    <a:lnTo>
                      <a:pt x="182636" y="254378"/>
                    </a:lnTo>
                    <a:lnTo>
                      <a:pt x="180660" y="258706"/>
                    </a:lnTo>
                    <a:lnTo>
                      <a:pt x="179504" y="263325"/>
                    </a:lnTo>
                    <a:lnTo>
                      <a:pt x="182579" y="268932"/>
                    </a:lnTo>
                    <a:lnTo>
                      <a:pt x="179715" y="274445"/>
                    </a:lnTo>
                    <a:lnTo>
                      <a:pt x="180327" y="282477"/>
                    </a:lnTo>
                    <a:lnTo>
                      <a:pt x="181363" y="289722"/>
                    </a:lnTo>
                    <a:lnTo>
                      <a:pt x="179866" y="292827"/>
                    </a:lnTo>
                    <a:lnTo>
                      <a:pt x="178615" y="293650"/>
                    </a:lnTo>
                    <a:lnTo>
                      <a:pt x="177495" y="295408"/>
                    </a:lnTo>
                    <a:lnTo>
                      <a:pt x="176016" y="297177"/>
                    </a:lnTo>
                    <a:lnTo>
                      <a:pt x="173685" y="297985"/>
                    </a:lnTo>
                    <a:lnTo>
                      <a:pt x="168644" y="297152"/>
                    </a:lnTo>
                    <a:lnTo>
                      <a:pt x="163983" y="294987"/>
                    </a:lnTo>
                    <a:lnTo>
                      <a:pt x="158456" y="290615"/>
                    </a:lnTo>
                    <a:lnTo>
                      <a:pt x="156403" y="289652"/>
                    </a:lnTo>
                    <a:lnTo>
                      <a:pt x="148548" y="289767"/>
                    </a:lnTo>
                    <a:lnTo>
                      <a:pt x="146613" y="288198"/>
                    </a:lnTo>
                    <a:lnTo>
                      <a:pt x="134126" y="268219"/>
                    </a:lnTo>
                    <a:lnTo>
                      <a:pt x="126962" y="260886"/>
                    </a:lnTo>
                    <a:lnTo>
                      <a:pt x="101303" y="244169"/>
                    </a:lnTo>
                    <a:lnTo>
                      <a:pt x="91424" y="241122"/>
                    </a:lnTo>
                    <a:lnTo>
                      <a:pt x="86753" y="238077"/>
                    </a:lnTo>
                    <a:lnTo>
                      <a:pt x="82882" y="227223"/>
                    </a:lnTo>
                    <a:lnTo>
                      <a:pt x="78216" y="225078"/>
                    </a:lnTo>
                    <a:lnTo>
                      <a:pt x="69841" y="225049"/>
                    </a:lnTo>
                    <a:lnTo>
                      <a:pt x="64531" y="227304"/>
                    </a:lnTo>
                    <a:lnTo>
                      <a:pt x="59429" y="231131"/>
                    </a:lnTo>
                    <a:lnTo>
                      <a:pt x="54951" y="235779"/>
                    </a:lnTo>
                    <a:lnTo>
                      <a:pt x="51489" y="240558"/>
                    </a:lnTo>
                    <a:lnTo>
                      <a:pt x="49526" y="243905"/>
                    </a:lnTo>
                    <a:lnTo>
                      <a:pt x="48581" y="246108"/>
                    </a:lnTo>
                    <a:lnTo>
                      <a:pt x="48287" y="248107"/>
                    </a:lnTo>
                    <a:lnTo>
                      <a:pt x="48253" y="250906"/>
                    </a:lnTo>
                    <a:lnTo>
                      <a:pt x="48585" y="254149"/>
                    </a:lnTo>
                    <a:lnTo>
                      <a:pt x="49582" y="258619"/>
                    </a:lnTo>
                    <a:lnTo>
                      <a:pt x="51183" y="262588"/>
                    </a:lnTo>
                    <a:lnTo>
                      <a:pt x="53371" y="264315"/>
                    </a:lnTo>
                    <a:lnTo>
                      <a:pt x="54807" y="268467"/>
                    </a:lnTo>
                    <a:lnTo>
                      <a:pt x="57110" y="277552"/>
                    </a:lnTo>
                    <a:lnTo>
                      <a:pt x="60438" y="286674"/>
                    </a:lnTo>
                    <a:lnTo>
                      <a:pt x="66666" y="292309"/>
                    </a:lnTo>
                    <a:lnTo>
                      <a:pt x="66670" y="295621"/>
                    </a:lnTo>
                    <a:lnTo>
                      <a:pt x="65377" y="302532"/>
                    </a:lnTo>
                    <a:lnTo>
                      <a:pt x="65241" y="306075"/>
                    </a:lnTo>
                    <a:lnTo>
                      <a:pt x="65284" y="307910"/>
                    </a:lnTo>
                    <a:lnTo>
                      <a:pt x="68017" y="314188"/>
                    </a:lnTo>
                    <a:lnTo>
                      <a:pt x="63292" y="312846"/>
                    </a:lnTo>
                    <a:lnTo>
                      <a:pt x="53919" y="307484"/>
                    </a:lnTo>
                    <a:lnTo>
                      <a:pt x="49394" y="306220"/>
                    </a:lnTo>
                    <a:lnTo>
                      <a:pt x="47330" y="303516"/>
                    </a:lnTo>
                    <a:lnTo>
                      <a:pt x="46095" y="297455"/>
                    </a:lnTo>
                    <a:lnTo>
                      <a:pt x="46430" y="291178"/>
                    </a:lnTo>
                    <a:lnTo>
                      <a:pt x="49094" y="287691"/>
                    </a:lnTo>
                    <a:lnTo>
                      <a:pt x="47476" y="285276"/>
                    </a:lnTo>
                    <a:lnTo>
                      <a:pt x="46633" y="282738"/>
                    </a:lnTo>
                    <a:lnTo>
                      <a:pt x="46654" y="280111"/>
                    </a:lnTo>
                    <a:lnTo>
                      <a:pt x="47678" y="277241"/>
                    </a:lnTo>
                    <a:lnTo>
                      <a:pt x="43568" y="276684"/>
                    </a:lnTo>
                    <a:lnTo>
                      <a:pt x="41780" y="275912"/>
                    </a:lnTo>
                    <a:lnTo>
                      <a:pt x="40349" y="274480"/>
                    </a:lnTo>
                    <a:lnTo>
                      <a:pt x="39439" y="271007"/>
                    </a:lnTo>
                    <a:lnTo>
                      <a:pt x="38590" y="265623"/>
                    </a:lnTo>
                    <a:lnTo>
                      <a:pt x="37329" y="260649"/>
                    </a:lnTo>
                    <a:lnTo>
                      <a:pt x="35235" y="258454"/>
                    </a:lnTo>
                    <a:lnTo>
                      <a:pt x="30836" y="256255"/>
                    </a:lnTo>
                    <a:lnTo>
                      <a:pt x="10515" y="230344"/>
                    </a:lnTo>
                    <a:lnTo>
                      <a:pt x="4446" y="218670"/>
                    </a:lnTo>
                    <a:lnTo>
                      <a:pt x="744" y="204999"/>
                    </a:lnTo>
                    <a:lnTo>
                      <a:pt x="0" y="189769"/>
                    </a:lnTo>
                    <a:lnTo>
                      <a:pt x="1015" y="175982"/>
                    </a:lnTo>
                    <a:lnTo>
                      <a:pt x="2677" y="169087"/>
                    </a:lnTo>
                    <a:lnTo>
                      <a:pt x="5835" y="166163"/>
                    </a:lnTo>
                    <a:lnTo>
                      <a:pt x="10454" y="166543"/>
                    </a:lnTo>
                    <a:lnTo>
                      <a:pt x="12877" y="166243"/>
                    </a:lnTo>
                    <a:lnTo>
                      <a:pt x="13967" y="165072"/>
                    </a:lnTo>
                    <a:lnTo>
                      <a:pt x="15082" y="160650"/>
                    </a:lnTo>
                    <a:lnTo>
                      <a:pt x="17206" y="162754"/>
                    </a:lnTo>
                    <a:lnTo>
                      <a:pt x="19225" y="167049"/>
                    </a:lnTo>
                    <a:lnTo>
                      <a:pt x="19978" y="169120"/>
                    </a:lnTo>
                    <a:lnTo>
                      <a:pt x="23130" y="174608"/>
                    </a:lnTo>
                    <a:lnTo>
                      <a:pt x="24667" y="178283"/>
                    </a:lnTo>
                    <a:lnTo>
                      <a:pt x="25653" y="182319"/>
                    </a:lnTo>
                    <a:lnTo>
                      <a:pt x="25724" y="186505"/>
                    </a:lnTo>
                    <a:lnTo>
                      <a:pt x="25186" y="195762"/>
                    </a:lnTo>
                    <a:lnTo>
                      <a:pt x="26068" y="199298"/>
                    </a:lnTo>
                    <a:lnTo>
                      <a:pt x="28901" y="203501"/>
                    </a:lnTo>
                    <a:lnTo>
                      <a:pt x="32449" y="207020"/>
                    </a:lnTo>
                    <a:lnTo>
                      <a:pt x="36366" y="207762"/>
                    </a:lnTo>
                    <a:lnTo>
                      <a:pt x="40300" y="203761"/>
                    </a:lnTo>
                    <a:lnTo>
                      <a:pt x="41057" y="202269"/>
                    </a:lnTo>
                    <a:lnTo>
                      <a:pt x="41989" y="200969"/>
                    </a:lnTo>
                    <a:lnTo>
                      <a:pt x="42048" y="198357"/>
                    </a:lnTo>
                    <a:lnTo>
                      <a:pt x="34537" y="182198"/>
                    </a:lnTo>
                    <a:lnTo>
                      <a:pt x="33367" y="178688"/>
                    </a:lnTo>
                    <a:lnTo>
                      <a:pt x="32843" y="175538"/>
                    </a:lnTo>
                    <a:lnTo>
                      <a:pt x="42932" y="170419"/>
                    </a:lnTo>
                    <a:lnTo>
                      <a:pt x="49145" y="170655"/>
                    </a:lnTo>
                    <a:lnTo>
                      <a:pt x="56551" y="174431"/>
                    </a:lnTo>
                    <a:lnTo>
                      <a:pt x="58882" y="173729"/>
                    </a:lnTo>
                    <a:lnTo>
                      <a:pt x="64407" y="168217"/>
                    </a:lnTo>
                    <a:lnTo>
                      <a:pt x="66237" y="162745"/>
                    </a:lnTo>
                    <a:lnTo>
                      <a:pt x="68667" y="159922"/>
                    </a:lnTo>
                    <a:lnTo>
                      <a:pt x="84047" y="157358"/>
                    </a:lnTo>
                    <a:lnTo>
                      <a:pt x="89503" y="161079"/>
                    </a:lnTo>
                    <a:lnTo>
                      <a:pt x="92052" y="158579"/>
                    </a:lnTo>
                    <a:lnTo>
                      <a:pt x="105738" y="158628"/>
                    </a:lnTo>
                    <a:lnTo>
                      <a:pt x="121326" y="154333"/>
                    </a:lnTo>
                    <a:lnTo>
                      <a:pt x="123678" y="151727"/>
                    </a:lnTo>
                    <a:lnTo>
                      <a:pt x="124460" y="148342"/>
                    </a:lnTo>
                    <a:lnTo>
                      <a:pt x="123840" y="145568"/>
                    </a:lnTo>
                    <a:lnTo>
                      <a:pt x="118435" y="142077"/>
                    </a:lnTo>
                    <a:lnTo>
                      <a:pt x="117062" y="133669"/>
                    </a:lnTo>
                    <a:lnTo>
                      <a:pt x="118057" y="129114"/>
                    </a:lnTo>
                    <a:lnTo>
                      <a:pt x="126138" y="121413"/>
                    </a:lnTo>
                    <a:lnTo>
                      <a:pt x="139356" y="114403"/>
                    </a:lnTo>
                    <a:lnTo>
                      <a:pt x="142099" y="113599"/>
                    </a:lnTo>
                    <a:lnTo>
                      <a:pt x="152893" y="117479"/>
                    </a:lnTo>
                    <a:lnTo>
                      <a:pt x="157605" y="115180"/>
                    </a:lnTo>
                    <a:lnTo>
                      <a:pt x="159617" y="114183"/>
                    </a:lnTo>
                    <a:lnTo>
                      <a:pt x="161449" y="108483"/>
                    </a:lnTo>
                    <a:lnTo>
                      <a:pt x="164313" y="108525"/>
                    </a:lnTo>
                    <a:lnTo>
                      <a:pt x="165403" y="121338"/>
                    </a:lnTo>
                    <a:lnTo>
                      <a:pt x="168190" y="121003"/>
                    </a:lnTo>
                    <a:lnTo>
                      <a:pt x="171584" y="117219"/>
                    </a:lnTo>
                    <a:lnTo>
                      <a:pt x="171929" y="109482"/>
                    </a:lnTo>
                    <a:lnTo>
                      <a:pt x="175797" y="106238"/>
                    </a:lnTo>
                    <a:lnTo>
                      <a:pt x="177617" y="92676"/>
                    </a:lnTo>
                    <a:lnTo>
                      <a:pt x="182936" y="83623"/>
                    </a:lnTo>
                    <a:lnTo>
                      <a:pt x="184013" y="75462"/>
                    </a:lnTo>
                    <a:lnTo>
                      <a:pt x="190009" y="70761"/>
                    </a:lnTo>
                    <a:lnTo>
                      <a:pt x="195540" y="58409"/>
                    </a:lnTo>
                    <a:lnTo>
                      <a:pt x="198270" y="57593"/>
                    </a:lnTo>
                    <a:lnTo>
                      <a:pt x="207011" y="59832"/>
                    </a:lnTo>
                    <a:lnTo>
                      <a:pt x="208465" y="59414"/>
                    </a:lnTo>
                    <a:lnTo>
                      <a:pt x="209841" y="55185"/>
                    </a:lnTo>
                    <a:lnTo>
                      <a:pt x="219133" y="56355"/>
                    </a:lnTo>
                    <a:lnTo>
                      <a:pt x="222423" y="58622"/>
                    </a:lnTo>
                    <a:lnTo>
                      <a:pt x="226938" y="65996"/>
                    </a:lnTo>
                    <a:lnTo>
                      <a:pt x="230613" y="67832"/>
                    </a:lnTo>
                    <a:lnTo>
                      <a:pt x="235446" y="61838"/>
                    </a:lnTo>
                    <a:lnTo>
                      <a:pt x="235448" y="55459"/>
                    </a:lnTo>
                    <a:lnTo>
                      <a:pt x="241659" y="43848"/>
                    </a:lnTo>
                    <a:lnTo>
                      <a:pt x="239093" y="34592"/>
                    </a:lnTo>
                    <a:lnTo>
                      <a:pt x="239969" y="25151"/>
                    </a:lnTo>
                    <a:lnTo>
                      <a:pt x="245155" y="17981"/>
                    </a:lnTo>
                    <a:lnTo>
                      <a:pt x="259862" y="10458"/>
                    </a:lnTo>
                    <a:lnTo>
                      <a:pt x="260718" y="9301"/>
                    </a:lnTo>
                    <a:lnTo>
                      <a:pt x="258719" y="3132"/>
                    </a:lnTo>
                    <a:lnTo>
                      <a:pt x="260836" y="1768"/>
                    </a:lnTo>
                    <a:lnTo>
                      <a:pt x="264249" y="542"/>
                    </a:lnTo>
                    <a:lnTo>
                      <a:pt x="265726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8" name="Freeform 138">
                <a:extLst>
                  <a:ext uri="{FF2B5EF4-FFF2-40B4-BE49-F238E27FC236}">
                    <a16:creationId xmlns:a16="http://schemas.microsoft.com/office/drawing/2014/main" id="{357ADAD8-0AED-3851-403C-6D2911962E92}"/>
                  </a:ext>
                </a:extLst>
              </p:cNvPr>
              <p:cNvSpPr>
                <a:spLocks noChangeAspect="1"/>
              </p:cNvSpPr>
              <p:nvPr>
                <p:custDataLst>
                  <p:tags r:id="rId109"/>
                </p:custDataLst>
              </p:nvPr>
            </p:nvSpPr>
            <p:spPr>
              <a:xfrm>
                <a:off x="4488535" y="3742875"/>
                <a:ext cx="320846" cy="420156"/>
              </a:xfrm>
              <a:custGeom>
                <a:avLst/>
                <a:gdLst/>
                <a:ahLst/>
                <a:cxnLst/>
                <a:rect l="0" t="0" r="0" b="0"/>
                <a:pathLst>
                  <a:path w="329423" h="431387">
                    <a:moveTo>
                      <a:pt x="238394" y="42019"/>
                    </a:moveTo>
                    <a:lnTo>
                      <a:pt x="247531" y="39254"/>
                    </a:lnTo>
                    <a:lnTo>
                      <a:pt x="251943" y="42060"/>
                    </a:lnTo>
                    <a:lnTo>
                      <a:pt x="249675" y="44954"/>
                    </a:lnTo>
                    <a:lnTo>
                      <a:pt x="250681" y="47487"/>
                    </a:lnTo>
                    <a:lnTo>
                      <a:pt x="249989" y="50262"/>
                    </a:lnTo>
                    <a:lnTo>
                      <a:pt x="252885" y="57432"/>
                    </a:lnTo>
                    <a:lnTo>
                      <a:pt x="235918" y="68058"/>
                    </a:lnTo>
                    <a:lnTo>
                      <a:pt x="234424" y="70407"/>
                    </a:lnTo>
                    <a:lnTo>
                      <a:pt x="234335" y="77951"/>
                    </a:lnTo>
                    <a:lnTo>
                      <a:pt x="229127" y="85441"/>
                    </a:lnTo>
                    <a:lnTo>
                      <a:pt x="235080" y="88765"/>
                    </a:lnTo>
                    <a:lnTo>
                      <a:pt x="236876" y="96503"/>
                    </a:lnTo>
                    <a:lnTo>
                      <a:pt x="240366" y="101969"/>
                    </a:lnTo>
                    <a:lnTo>
                      <a:pt x="236491" y="104782"/>
                    </a:lnTo>
                    <a:lnTo>
                      <a:pt x="234225" y="113520"/>
                    </a:lnTo>
                    <a:lnTo>
                      <a:pt x="229145" y="117501"/>
                    </a:lnTo>
                    <a:lnTo>
                      <a:pt x="230530" y="121207"/>
                    </a:lnTo>
                    <a:lnTo>
                      <a:pt x="235246" y="126778"/>
                    </a:lnTo>
                    <a:lnTo>
                      <a:pt x="235964" y="131113"/>
                    </a:lnTo>
                    <a:lnTo>
                      <a:pt x="234490" y="135160"/>
                    </a:lnTo>
                    <a:lnTo>
                      <a:pt x="236017" y="140028"/>
                    </a:lnTo>
                    <a:lnTo>
                      <a:pt x="242695" y="145900"/>
                    </a:lnTo>
                    <a:lnTo>
                      <a:pt x="250106" y="146850"/>
                    </a:lnTo>
                    <a:lnTo>
                      <a:pt x="265193" y="136038"/>
                    </a:lnTo>
                    <a:lnTo>
                      <a:pt x="269218" y="131201"/>
                    </a:lnTo>
                    <a:lnTo>
                      <a:pt x="271908" y="130510"/>
                    </a:lnTo>
                    <a:lnTo>
                      <a:pt x="280475" y="144305"/>
                    </a:lnTo>
                    <a:lnTo>
                      <a:pt x="293187" y="154634"/>
                    </a:lnTo>
                    <a:lnTo>
                      <a:pt x="288631" y="176025"/>
                    </a:lnTo>
                    <a:lnTo>
                      <a:pt x="282950" y="190126"/>
                    </a:lnTo>
                    <a:lnTo>
                      <a:pt x="285021" y="193381"/>
                    </a:lnTo>
                    <a:lnTo>
                      <a:pt x="297033" y="199461"/>
                    </a:lnTo>
                    <a:lnTo>
                      <a:pt x="299355" y="202505"/>
                    </a:lnTo>
                    <a:lnTo>
                      <a:pt x="299711" y="205363"/>
                    </a:lnTo>
                    <a:lnTo>
                      <a:pt x="298230" y="209198"/>
                    </a:lnTo>
                    <a:lnTo>
                      <a:pt x="294010" y="214047"/>
                    </a:lnTo>
                    <a:lnTo>
                      <a:pt x="296191" y="223470"/>
                    </a:lnTo>
                    <a:lnTo>
                      <a:pt x="298754" y="229157"/>
                    </a:lnTo>
                    <a:lnTo>
                      <a:pt x="315768" y="242557"/>
                    </a:lnTo>
                    <a:lnTo>
                      <a:pt x="319847" y="250444"/>
                    </a:lnTo>
                    <a:lnTo>
                      <a:pt x="326211" y="251616"/>
                    </a:lnTo>
                    <a:lnTo>
                      <a:pt x="327615" y="267824"/>
                    </a:lnTo>
                    <a:lnTo>
                      <a:pt x="329422" y="272571"/>
                    </a:lnTo>
                    <a:lnTo>
                      <a:pt x="328463" y="279224"/>
                    </a:lnTo>
                    <a:lnTo>
                      <a:pt x="325504" y="277737"/>
                    </a:lnTo>
                    <a:lnTo>
                      <a:pt x="319864" y="282834"/>
                    </a:lnTo>
                    <a:lnTo>
                      <a:pt x="308622" y="282494"/>
                    </a:lnTo>
                    <a:lnTo>
                      <a:pt x="301600" y="287390"/>
                    </a:lnTo>
                    <a:lnTo>
                      <a:pt x="297518" y="294250"/>
                    </a:lnTo>
                    <a:lnTo>
                      <a:pt x="300372" y="303012"/>
                    </a:lnTo>
                    <a:lnTo>
                      <a:pt x="300446" y="307573"/>
                    </a:lnTo>
                    <a:lnTo>
                      <a:pt x="286424" y="320217"/>
                    </a:lnTo>
                    <a:lnTo>
                      <a:pt x="287824" y="323276"/>
                    </a:lnTo>
                    <a:lnTo>
                      <a:pt x="294217" y="327857"/>
                    </a:lnTo>
                    <a:lnTo>
                      <a:pt x="295759" y="331427"/>
                    </a:lnTo>
                    <a:lnTo>
                      <a:pt x="296050" y="342145"/>
                    </a:lnTo>
                    <a:lnTo>
                      <a:pt x="294815" y="346411"/>
                    </a:lnTo>
                    <a:lnTo>
                      <a:pt x="297392" y="352531"/>
                    </a:lnTo>
                    <a:lnTo>
                      <a:pt x="296692" y="358911"/>
                    </a:lnTo>
                    <a:lnTo>
                      <a:pt x="295420" y="360947"/>
                    </a:lnTo>
                    <a:lnTo>
                      <a:pt x="291034" y="361974"/>
                    </a:lnTo>
                    <a:lnTo>
                      <a:pt x="285831" y="358341"/>
                    </a:lnTo>
                    <a:lnTo>
                      <a:pt x="279122" y="361839"/>
                    </a:lnTo>
                    <a:lnTo>
                      <a:pt x="275226" y="366991"/>
                    </a:lnTo>
                    <a:lnTo>
                      <a:pt x="264730" y="366392"/>
                    </a:lnTo>
                    <a:lnTo>
                      <a:pt x="262391" y="363343"/>
                    </a:lnTo>
                    <a:lnTo>
                      <a:pt x="246040" y="374915"/>
                    </a:lnTo>
                    <a:lnTo>
                      <a:pt x="236033" y="379818"/>
                    </a:lnTo>
                    <a:lnTo>
                      <a:pt x="224538" y="378789"/>
                    </a:lnTo>
                    <a:lnTo>
                      <a:pt x="218174" y="388417"/>
                    </a:lnTo>
                    <a:lnTo>
                      <a:pt x="217043" y="392892"/>
                    </a:lnTo>
                    <a:lnTo>
                      <a:pt x="215082" y="394395"/>
                    </a:lnTo>
                    <a:lnTo>
                      <a:pt x="206544" y="392252"/>
                    </a:lnTo>
                    <a:lnTo>
                      <a:pt x="201127" y="385197"/>
                    </a:lnTo>
                    <a:lnTo>
                      <a:pt x="187864" y="382350"/>
                    </a:lnTo>
                    <a:lnTo>
                      <a:pt x="183647" y="388974"/>
                    </a:lnTo>
                    <a:lnTo>
                      <a:pt x="178440" y="391112"/>
                    </a:lnTo>
                    <a:lnTo>
                      <a:pt x="178068" y="391291"/>
                    </a:lnTo>
                    <a:lnTo>
                      <a:pt x="174768" y="384809"/>
                    </a:lnTo>
                    <a:lnTo>
                      <a:pt x="174002" y="381209"/>
                    </a:lnTo>
                    <a:lnTo>
                      <a:pt x="178762" y="379271"/>
                    </a:lnTo>
                    <a:lnTo>
                      <a:pt x="183767" y="374316"/>
                    </a:lnTo>
                    <a:lnTo>
                      <a:pt x="187071" y="367569"/>
                    </a:lnTo>
                    <a:lnTo>
                      <a:pt x="186841" y="360216"/>
                    </a:lnTo>
                    <a:lnTo>
                      <a:pt x="185315" y="360230"/>
                    </a:lnTo>
                    <a:lnTo>
                      <a:pt x="184512" y="365974"/>
                    </a:lnTo>
                    <a:lnTo>
                      <a:pt x="181370" y="370573"/>
                    </a:lnTo>
                    <a:lnTo>
                      <a:pt x="174778" y="375978"/>
                    </a:lnTo>
                    <a:lnTo>
                      <a:pt x="166809" y="380426"/>
                    </a:lnTo>
                    <a:lnTo>
                      <a:pt x="162750" y="383752"/>
                    </a:lnTo>
                    <a:lnTo>
                      <a:pt x="160987" y="387840"/>
                    </a:lnTo>
                    <a:lnTo>
                      <a:pt x="159299" y="393557"/>
                    </a:lnTo>
                    <a:lnTo>
                      <a:pt x="155111" y="396245"/>
                    </a:lnTo>
                    <a:lnTo>
                      <a:pt x="145046" y="397058"/>
                    </a:lnTo>
                    <a:lnTo>
                      <a:pt x="142008" y="394621"/>
                    </a:lnTo>
                    <a:lnTo>
                      <a:pt x="138925" y="389072"/>
                    </a:lnTo>
                    <a:lnTo>
                      <a:pt x="137552" y="382986"/>
                    </a:lnTo>
                    <a:lnTo>
                      <a:pt x="139576" y="379056"/>
                    </a:lnTo>
                    <a:lnTo>
                      <a:pt x="137941" y="374650"/>
                    </a:lnTo>
                    <a:lnTo>
                      <a:pt x="135883" y="370961"/>
                    </a:lnTo>
                    <a:lnTo>
                      <a:pt x="133355" y="369296"/>
                    </a:lnTo>
                    <a:lnTo>
                      <a:pt x="130364" y="370805"/>
                    </a:lnTo>
                    <a:lnTo>
                      <a:pt x="131401" y="376055"/>
                    </a:lnTo>
                    <a:lnTo>
                      <a:pt x="130720" y="381408"/>
                    </a:lnTo>
                    <a:lnTo>
                      <a:pt x="129473" y="386389"/>
                    </a:lnTo>
                    <a:lnTo>
                      <a:pt x="128804" y="390622"/>
                    </a:lnTo>
                    <a:lnTo>
                      <a:pt x="127837" y="393798"/>
                    </a:lnTo>
                    <a:lnTo>
                      <a:pt x="121232" y="402414"/>
                    </a:lnTo>
                    <a:lnTo>
                      <a:pt x="117479" y="410424"/>
                    </a:lnTo>
                    <a:lnTo>
                      <a:pt x="115199" y="414149"/>
                    </a:lnTo>
                    <a:lnTo>
                      <a:pt x="109086" y="417533"/>
                    </a:lnTo>
                    <a:lnTo>
                      <a:pt x="108611" y="421873"/>
                    </a:lnTo>
                    <a:lnTo>
                      <a:pt x="109316" y="427048"/>
                    </a:lnTo>
                    <a:lnTo>
                      <a:pt x="109114" y="431386"/>
                    </a:lnTo>
                    <a:lnTo>
                      <a:pt x="101191" y="420315"/>
                    </a:lnTo>
                    <a:lnTo>
                      <a:pt x="99115" y="418395"/>
                    </a:lnTo>
                    <a:lnTo>
                      <a:pt x="95540" y="418157"/>
                    </a:lnTo>
                    <a:lnTo>
                      <a:pt x="92437" y="417311"/>
                    </a:lnTo>
                    <a:lnTo>
                      <a:pt x="89843" y="415655"/>
                    </a:lnTo>
                    <a:lnTo>
                      <a:pt x="87630" y="412986"/>
                    </a:lnTo>
                    <a:lnTo>
                      <a:pt x="88253" y="407077"/>
                    </a:lnTo>
                    <a:lnTo>
                      <a:pt x="89483" y="400543"/>
                    </a:lnTo>
                    <a:lnTo>
                      <a:pt x="89331" y="395009"/>
                    </a:lnTo>
                    <a:lnTo>
                      <a:pt x="85910" y="392094"/>
                    </a:lnTo>
                    <a:lnTo>
                      <a:pt x="85903" y="389482"/>
                    </a:lnTo>
                    <a:lnTo>
                      <a:pt x="93323" y="387099"/>
                    </a:lnTo>
                    <a:lnTo>
                      <a:pt x="95172" y="375976"/>
                    </a:lnTo>
                    <a:lnTo>
                      <a:pt x="94623" y="363057"/>
                    </a:lnTo>
                    <a:lnTo>
                      <a:pt x="94972" y="355313"/>
                    </a:lnTo>
                    <a:lnTo>
                      <a:pt x="91463" y="357376"/>
                    </a:lnTo>
                    <a:lnTo>
                      <a:pt x="89639" y="361362"/>
                    </a:lnTo>
                    <a:lnTo>
                      <a:pt x="87520" y="370976"/>
                    </a:lnTo>
                    <a:lnTo>
                      <a:pt x="89504" y="378434"/>
                    </a:lnTo>
                    <a:lnTo>
                      <a:pt x="86162" y="380199"/>
                    </a:lnTo>
                    <a:lnTo>
                      <a:pt x="81022" y="379761"/>
                    </a:lnTo>
                    <a:lnTo>
                      <a:pt x="77476" y="380499"/>
                    </a:lnTo>
                    <a:lnTo>
                      <a:pt x="72831" y="382545"/>
                    </a:lnTo>
                    <a:lnTo>
                      <a:pt x="67967" y="377639"/>
                    </a:lnTo>
                    <a:lnTo>
                      <a:pt x="59915" y="363219"/>
                    </a:lnTo>
                    <a:lnTo>
                      <a:pt x="53279" y="354859"/>
                    </a:lnTo>
                    <a:lnTo>
                      <a:pt x="50335" y="349760"/>
                    </a:lnTo>
                    <a:lnTo>
                      <a:pt x="49099" y="343634"/>
                    </a:lnTo>
                    <a:lnTo>
                      <a:pt x="49661" y="340695"/>
                    </a:lnTo>
                    <a:lnTo>
                      <a:pt x="50640" y="337570"/>
                    </a:lnTo>
                    <a:lnTo>
                      <a:pt x="51057" y="334164"/>
                    </a:lnTo>
                    <a:lnTo>
                      <a:pt x="49423" y="328740"/>
                    </a:lnTo>
                    <a:lnTo>
                      <a:pt x="48978" y="324836"/>
                    </a:lnTo>
                    <a:lnTo>
                      <a:pt x="48334" y="324090"/>
                    </a:lnTo>
                    <a:lnTo>
                      <a:pt x="43024" y="321477"/>
                    </a:lnTo>
                    <a:lnTo>
                      <a:pt x="35441" y="305522"/>
                    </a:lnTo>
                    <a:lnTo>
                      <a:pt x="30232" y="300806"/>
                    </a:lnTo>
                    <a:lnTo>
                      <a:pt x="9360" y="271244"/>
                    </a:lnTo>
                    <a:lnTo>
                      <a:pt x="5753" y="269261"/>
                    </a:lnTo>
                    <a:lnTo>
                      <a:pt x="4636" y="267967"/>
                    </a:lnTo>
                    <a:lnTo>
                      <a:pt x="2322" y="262442"/>
                    </a:lnTo>
                    <a:lnTo>
                      <a:pt x="0" y="259838"/>
                    </a:lnTo>
                    <a:lnTo>
                      <a:pt x="1642" y="256966"/>
                    </a:lnTo>
                    <a:lnTo>
                      <a:pt x="4005" y="254237"/>
                    </a:lnTo>
                    <a:lnTo>
                      <a:pt x="5036" y="253337"/>
                    </a:lnTo>
                    <a:lnTo>
                      <a:pt x="9777" y="240086"/>
                    </a:lnTo>
                    <a:lnTo>
                      <a:pt x="15705" y="210246"/>
                    </a:lnTo>
                    <a:lnTo>
                      <a:pt x="23181" y="192954"/>
                    </a:lnTo>
                    <a:lnTo>
                      <a:pt x="26312" y="183474"/>
                    </a:lnTo>
                    <a:lnTo>
                      <a:pt x="27824" y="180118"/>
                    </a:lnTo>
                    <a:lnTo>
                      <a:pt x="29694" y="178472"/>
                    </a:lnTo>
                    <a:lnTo>
                      <a:pt x="34517" y="176594"/>
                    </a:lnTo>
                    <a:lnTo>
                      <a:pt x="36889" y="174916"/>
                    </a:lnTo>
                    <a:lnTo>
                      <a:pt x="39691" y="171202"/>
                    </a:lnTo>
                    <a:lnTo>
                      <a:pt x="43192" y="164922"/>
                    </a:lnTo>
                    <a:lnTo>
                      <a:pt x="45086" y="157661"/>
                    </a:lnTo>
                    <a:lnTo>
                      <a:pt x="43061" y="151177"/>
                    </a:lnTo>
                    <a:lnTo>
                      <a:pt x="50244" y="128787"/>
                    </a:lnTo>
                    <a:lnTo>
                      <a:pt x="54553" y="118337"/>
                    </a:lnTo>
                    <a:lnTo>
                      <a:pt x="59699" y="112052"/>
                    </a:lnTo>
                    <a:lnTo>
                      <a:pt x="63989" y="111006"/>
                    </a:lnTo>
                    <a:lnTo>
                      <a:pt x="66540" y="113008"/>
                    </a:lnTo>
                    <a:lnTo>
                      <a:pt x="68877" y="115836"/>
                    </a:lnTo>
                    <a:lnTo>
                      <a:pt x="72457" y="117244"/>
                    </a:lnTo>
                    <a:lnTo>
                      <a:pt x="74817" y="116960"/>
                    </a:lnTo>
                    <a:lnTo>
                      <a:pt x="83838" y="112012"/>
                    </a:lnTo>
                    <a:lnTo>
                      <a:pt x="81044" y="109843"/>
                    </a:lnTo>
                    <a:lnTo>
                      <a:pt x="70058" y="104203"/>
                    </a:lnTo>
                    <a:lnTo>
                      <a:pt x="75711" y="97943"/>
                    </a:lnTo>
                    <a:lnTo>
                      <a:pt x="78993" y="95355"/>
                    </a:lnTo>
                    <a:lnTo>
                      <a:pt x="92787" y="91121"/>
                    </a:lnTo>
                    <a:lnTo>
                      <a:pt x="95549" y="91953"/>
                    </a:lnTo>
                    <a:lnTo>
                      <a:pt x="97169" y="93316"/>
                    </a:lnTo>
                    <a:lnTo>
                      <a:pt x="98425" y="94898"/>
                    </a:lnTo>
                    <a:lnTo>
                      <a:pt x="100144" y="96291"/>
                    </a:lnTo>
                    <a:lnTo>
                      <a:pt x="108354" y="99043"/>
                    </a:lnTo>
                    <a:lnTo>
                      <a:pt x="112751" y="99351"/>
                    </a:lnTo>
                    <a:lnTo>
                      <a:pt x="130997" y="93726"/>
                    </a:lnTo>
                    <a:lnTo>
                      <a:pt x="134866" y="90937"/>
                    </a:lnTo>
                    <a:lnTo>
                      <a:pt x="119751" y="91016"/>
                    </a:lnTo>
                    <a:lnTo>
                      <a:pt x="119738" y="88404"/>
                    </a:lnTo>
                    <a:lnTo>
                      <a:pt x="123948" y="87669"/>
                    </a:lnTo>
                    <a:lnTo>
                      <a:pt x="127292" y="85474"/>
                    </a:lnTo>
                    <a:lnTo>
                      <a:pt x="130641" y="84056"/>
                    </a:lnTo>
                    <a:lnTo>
                      <a:pt x="134836" y="85712"/>
                    </a:lnTo>
                    <a:lnTo>
                      <a:pt x="134819" y="82867"/>
                    </a:lnTo>
                    <a:lnTo>
                      <a:pt x="129443" y="80378"/>
                    </a:lnTo>
                    <a:lnTo>
                      <a:pt x="128570" y="80616"/>
                    </a:lnTo>
                    <a:lnTo>
                      <a:pt x="128568" y="80618"/>
                    </a:lnTo>
                    <a:lnTo>
                      <a:pt x="129486" y="73664"/>
                    </a:lnTo>
                    <a:lnTo>
                      <a:pt x="132295" y="67705"/>
                    </a:lnTo>
                    <a:lnTo>
                      <a:pt x="132523" y="66045"/>
                    </a:lnTo>
                    <a:lnTo>
                      <a:pt x="132818" y="55993"/>
                    </a:lnTo>
                    <a:lnTo>
                      <a:pt x="133729" y="54130"/>
                    </a:lnTo>
                    <a:lnTo>
                      <a:pt x="134879" y="53433"/>
                    </a:lnTo>
                    <a:lnTo>
                      <a:pt x="136143" y="53821"/>
                    </a:lnTo>
                    <a:lnTo>
                      <a:pt x="144496" y="58134"/>
                    </a:lnTo>
                    <a:lnTo>
                      <a:pt x="146036" y="58401"/>
                    </a:lnTo>
                    <a:lnTo>
                      <a:pt x="149574" y="57745"/>
                    </a:lnTo>
                    <a:lnTo>
                      <a:pt x="150721" y="56750"/>
                    </a:lnTo>
                    <a:lnTo>
                      <a:pt x="151629" y="55559"/>
                    </a:lnTo>
                    <a:lnTo>
                      <a:pt x="155213" y="47239"/>
                    </a:lnTo>
                    <a:lnTo>
                      <a:pt x="156379" y="45987"/>
                    </a:lnTo>
                    <a:lnTo>
                      <a:pt x="163370" y="42657"/>
                    </a:lnTo>
                    <a:lnTo>
                      <a:pt x="164925" y="41363"/>
                    </a:lnTo>
                    <a:lnTo>
                      <a:pt x="166571" y="39374"/>
                    </a:lnTo>
                    <a:lnTo>
                      <a:pt x="167305" y="37927"/>
                    </a:lnTo>
                    <a:lnTo>
                      <a:pt x="172014" y="30729"/>
                    </a:lnTo>
                    <a:lnTo>
                      <a:pt x="178013" y="21547"/>
                    </a:lnTo>
                    <a:lnTo>
                      <a:pt x="181112" y="19110"/>
                    </a:lnTo>
                    <a:lnTo>
                      <a:pt x="184923" y="18011"/>
                    </a:lnTo>
                    <a:lnTo>
                      <a:pt x="194516" y="13359"/>
                    </a:lnTo>
                    <a:lnTo>
                      <a:pt x="200509" y="9093"/>
                    </a:lnTo>
                    <a:lnTo>
                      <a:pt x="205141" y="4406"/>
                    </a:lnTo>
                    <a:lnTo>
                      <a:pt x="207816" y="0"/>
                    </a:lnTo>
                    <a:lnTo>
                      <a:pt x="207816" y="0"/>
                    </a:lnTo>
                    <a:lnTo>
                      <a:pt x="209467" y="1911"/>
                    </a:lnTo>
                    <a:lnTo>
                      <a:pt x="214730" y="18096"/>
                    </a:lnTo>
                    <a:lnTo>
                      <a:pt x="217695" y="22320"/>
                    </a:lnTo>
                    <a:lnTo>
                      <a:pt x="227137" y="25488"/>
                    </a:lnTo>
                    <a:lnTo>
                      <a:pt x="229478" y="33320"/>
                    </a:lnTo>
                    <a:lnTo>
                      <a:pt x="236642" y="384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79" name="Freeform 139">
                <a:extLst>
                  <a:ext uri="{FF2B5EF4-FFF2-40B4-BE49-F238E27FC236}">
                    <a16:creationId xmlns:a16="http://schemas.microsoft.com/office/drawing/2014/main" id="{64AC06D3-A84E-4238-44C5-E5A4E67345AA}"/>
                  </a:ext>
                </a:extLst>
              </p:cNvPr>
              <p:cNvSpPr>
                <a:spLocks noChangeAspect="1"/>
              </p:cNvSpPr>
              <p:nvPr>
                <p:custDataLst>
                  <p:tags r:id="rId110"/>
                </p:custDataLst>
              </p:nvPr>
            </p:nvSpPr>
            <p:spPr>
              <a:xfrm>
                <a:off x="4724237" y="3968656"/>
                <a:ext cx="512165" cy="352001"/>
              </a:xfrm>
              <a:custGeom>
                <a:avLst/>
                <a:gdLst/>
                <a:ahLst/>
                <a:cxnLst/>
                <a:rect l="0" t="0" r="0" b="0"/>
                <a:pathLst>
                  <a:path w="525856" h="361411">
                    <a:moveTo>
                      <a:pt x="525855" y="149224"/>
                    </a:moveTo>
                    <a:lnTo>
                      <a:pt x="525849" y="149239"/>
                    </a:lnTo>
                    <a:lnTo>
                      <a:pt x="525717" y="149531"/>
                    </a:lnTo>
                    <a:lnTo>
                      <a:pt x="523870" y="154203"/>
                    </a:lnTo>
                    <a:lnTo>
                      <a:pt x="521057" y="156883"/>
                    </a:lnTo>
                    <a:lnTo>
                      <a:pt x="504988" y="156452"/>
                    </a:lnTo>
                    <a:lnTo>
                      <a:pt x="500936" y="153332"/>
                    </a:lnTo>
                    <a:lnTo>
                      <a:pt x="491221" y="151942"/>
                    </a:lnTo>
                    <a:lnTo>
                      <a:pt x="486733" y="145991"/>
                    </a:lnTo>
                    <a:lnTo>
                      <a:pt x="481261" y="144526"/>
                    </a:lnTo>
                    <a:lnTo>
                      <a:pt x="477406" y="147450"/>
                    </a:lnTo>
                    <a:lnTo>
                      <a:pt x="476806" y="156717"/>
                    </a:lnTo>
                    <a:lnTo>
                      <a:pt x="470715" y="162720"/>
                    </a:lnTo>
                    <a:lnTo>
                      <a:pt x="472417" y="166254"/>
                    </a:lnTo>
                    <a:lnTo>
                      <a:pt x="471408" y="168956"/>
                    </a:lnTo>
                    <a:lnTo>
                      <a:pt x="456870" y="178708"/>
                    </a:lnTo>
                    <a:lnTo>
                      <a:pt x="449080" y="177429"/>
                    </a:lnTo>
                    <a:lnTo>
                      <a:pt x="443968" y="178704"/>
                    </a:lnTo>
                    <a:lnTo>
                      <a:pt x="436762" y="185480"/>
                    </a:lnTo>
                    <a:lnTo>
                      <a:pt x="428612" y="189205"/>
                    </a:lnTo>
                    <a:lnTo>
                      <a:pt x="427792" y="190304"/>
                    </a:lnTo>
                    <a:lnTo>
                      <a:pt x="429543" y="193515"/>
                    </a:lnTo>
                    <a:lnTo>
                      <a:pt x="429084" y="199384"/>
                    </a:lnTo>
                    <a:lnTo>
                      <a:pt x="423647" y="202365"/>
                    </a:lnTo>
                    <a:lnTo>
                      <a:pt x="423286" y="209177"/>
                    </a:lnTo>
                    <a:lnTo>
                      <a:pt x="415733" y="209038"/>
                    </a:lnTo>
                    <a:lnTo>
                      <a:pt x="408364" y="204006"/>
                    </a:lnTo>
                    <a:lnTo>
                      <a:pt x="373702" y="211049"/>
                    </a:lnTo>
                    <a:lnTo>
                      <a:pt x="367529" y="219017"/>
                    </a:lnTo>
                    <a:lnTo>
                      <a:pt x="365511" y="224840"/>
                    </a:lnTo>
                    <a:lnTo>
                      <a:pt x="359672" y="225047"/>
                    </a:lnTo>
                    <a:lnTo>
                      <a:pt x="352108" y="224235"/>
                    </a:lnTo>
                    <a:lnTo>
                      <a:pt x="348141" y="218493"/>
                    </a:lnTo>
                    <a:lnTo>
                      <a:pt x="347903" y="211557"/>
                    </a:lnTo>
                    <a:lnTo>
                      <a:pt x="347020" y="204107"/>
                    </a:lnTo>
                    <a:lnTo>
                      <a:pt x="342488" y="199995"/>
                    </a:lnTo>
                    <a:lnTo>
                      <a:pt x="337452" y="199624"/>
                    </a:lnTo>
                    <a:lnTo>
                      <a:pt x="327740" y="199950"/>
                    </a:lnTo>
                    <a:lnTo>
                      <a:pt x="320932" y="202851"/>
                    </a:lnTo>
                    <a:lnTo>
                      <a:pt x="315675" y="205157"/>
                    </a:lnTo>
                    <a:lnTo>
                      <a:pt x="313319" y="210035"/>
                    </a:lnTo>
                    <a:lnTo>
                      <a:pt x="312290" y="217023"/>
                    </a:lnTo>
                    <a:lnTo>
                      <a:pt x="309355" y="223519"/>
                    </a:lnTo>
                    <a:lnTo>
                      <a:pt x="305292" y="224182"/>
                    </a:lnTo>
                    <a:lnTo>
                      <a:pt x="300933" y="225397"/>
                    </a:lnTo>
                    <a:lnTo>
                      <a:pt x="297250" y="228188"/>
                    </a:lnTo>
                    <a:lnTo>
                      <a:pt x="296898" y="237268"/>
                    </a:lnTo>
                    <a:lnTo>
                      <a:pt x="301040" y="248894"/>
                    </a:lnTo>
                    <a:lnTo>
                      <a:pt x="310612" y="263012"/>
                    </a:lnTo>
                    <a:lnTo>
                      <a:pt x="318999" y="269162"/>
                    </a:lnTo>
                    <a:lnTo>
                      <a:pt x="332565" y="269782"/>
                    </a:lnTo>
                    <a:lnTo>
                      <a:pt x="345159" y="269356"/>
                    </a:lnTo>
                    <a:lnTo>
                      <a:pt x="357555" y="263581"/>
                    </a:lnTo>
                    <a:lnTo>
                      <a:pt x="364092" y="264607"/>
                    </a:lnTo>
                    <a:lnTo>
                      <a:pt x="364388" y="277015"/>
                    </a:lnTo>
                    <a:lnTo>
                      <a:pt x="369457" y="287455"/>
                    </a:lnTo>
                    <a:lnTo>
                      <a:pt x="367253" y="294440"/>
                    </a:lnTo>
                    <a:lnTo>
                      <a:pt x="366853" y="302624"/>
                    </a:lnTo>
                    <a:lnTo>
                      <a:pt x="360535" y="312529"/>
                    </a:lnTo>
                    <a:lnTo>
                      <a:pt x="361608" y="314824"/>
                    </a:lnTo>
                    <a:lnTo>
                      <a:pt x="369416" y="319961"/>
                    </a:lnTo>
                    <a:lnTo>
                      <a:pt x="365629" y="321162"/>
                    </a:lnTo>
                    <a:lnTo>
                      <a:pt x="356751" y="328153"/>
                    </a:lnTo>
                    <a:lnTo>
                      <a:pt x="348306" y="331427"/>
                    </a:lnTo>
                    <a:lnTo>
                      <a:pt x="331499" y="324763"/>
                    </a:lnTo>
                    <a:lnTo>
                      <a:pt x="331488" y="332419"/>
                    </a:lnTo>
                    <a:lnTo>
                      <a:pt x="328389" y="339427"/>
                    </a:lnTo>
                    <a:lnTo>
                      <a:pt x="336843" y="349775"/>
                    </a:lnTo>
                    <a:lnTo>
                      <a:pt x="328343" y="351639"/>
                    </a:lnTo>
                    <a:lnTo>
                      <a:pt x="325130" y="355459"/>
                    </a:lnTo>
                    <a:lnTo>
                      <a:pt x="322109" y="355340"/>
                    </a:lnTo>
                    <a:lnTo>
                      <a:pt x="319195" y="352886"/>
                    </a:lnTo>
                    <a:lnTo>
                      <a:pt x="308531" y="354196"/>
                    </a:lnTo>
                    <a:lnTo>
                      <a:pt x="305296" y="361410"/>
                    </a:lnTo>
                    <a:lnTo>
                      <a:pt x="301839" y="361242"/>
                    </a:lnTo>
                    <a:lnTo>
                      <a:pt x="297813" y="355697"/>
                    </a:lnTo>
                    <a:lnTo>
                      <a:pt x="297422" y="345081"/>
                    </a:lnTo>
                    <a:lnTo>
                      <a:pt x="297765" y="341771"/>
                    </a:lnTo>
                    <a:lnTo>
                      <a:pt x="301655" y="333056"/>
                    </a:lnTo>
                    <a:lnTo>
                      <a:pt x="305041" y="331151"/>
                    </a:lnTo>
                    <a:lnTo>
                      <a:pt x="305037" y="326905"/>
                    </a:lnTo>
                    <a:lnTo>
                      <a:pt x="302974" y="325271"/>
                    </a:lnTo>
                    <a:lnTo>
                      <a:pt x="294026" y="324382"/>
                    </a:lnTo>
                    <a:lnTo>
                      <a:pt x="287264" y="317044"/>
                    </a:lnTo>
                    <a:lnTo>
                      <a:pt x="283067" y="316973"/>
                    </a:lnTo>
                    <a:lnTo>
                      <a:pt x="283546" y="312495"/>
                    </a:lnTo>
                    <a:lnTo>
                      <a:pt x="287266" y="308984"/>
                    </a:lnTo>
                    <a:lnTo>
                      <a:pt x="286816" y="304532"/>
                    </a:lnTo>
                    <a:lnTo>
                      <a:pt x="283706" y="300893"/>
                    </a:lnTo>
                    <a:lnTo>
                      <a:pt x="282330" y="297022"/>
                    </a:lnTo>
                    <a:lnTo>
                      <a:pt x="282493" y="285758"/>
                    </a:lnTo>
                    <a:lnTo>
                      <a:pt x="277495" y="275714"/>
                    </a:lnTo>
                    <a:lnTo>
                      <a:pt x="273861" y="273590"/>
                    </a:lnTo>
                    <a:lnTo>
                      <a:pt x="273227" y="271059"/>
                    </a:lnTo>
                    <a:lnTo>
                      <a:pt x="281958" y="270048"/>
                    </a:lnTo>
                    <a:lnTo>
                      <a:pt x="282280" y="264091"/>
                    </a:lnTo>
                    <a:lnTo>
                      <a:pt x="281070" y="257115"/>
                    </a:lnTo>
                    <a:lnTo>
                      <a:pt x="284529" y="249266"/>
                    </a:lnTo>
                    <a:lnTo>
                      <a:pt x="283785" y="245258"/>
                    </a:lnTo>
                    <a:lnTo>
                      <a:pt x="274686" y="238105"/>
                    </a:lnTo>
                    <a:lnTo>
                      <a:pt x="262828" y="240567"/>
                    </a:lnTo>
                    <a:lnTo>
                      <a:pt x="254742" y="246548"/>
                    </a:lnTo>
                    <a:lnTo>
                      <a:pt x="254576" y="249516"/>
                    </a:lnTo>
                    <a:lnTo>
                      <a:pt x="252715" y="251822"/>
                    </a:lnTo>
                    <a:lnTo>
                      <a:pt x="247882" y="253736"/>
                    </a:lnTo>
                    <a:lnTo>
                      <a:pt x="236025" y="252287"/>
                    </a:lnTo>
                    <a:lnTo>
                      <a:pt x="233477" y="246489"/>
                    </a:lnTo>
                    <a:lnTo>
                      <a:pt x="229641" y="243096"/>
                    </a:lnTo>
                    <a:lnTo>
                      <a:pt x="226564" y="247209"/>
                    </a:lnTo>
                    <a:lnTo>
                      <a:pt x="226600" y="253372"/>
                    </a:lnTo>
                    <a:lnTo>
                      <a:pt x="225347" y="254610"/>
                    </a:lnTo>
                    <a:lnTo>
                      <a:pt x="218990" y="256536"/>
                    </a:lnTo>
                    <a:lnTo>
                      <a:pt x="205856" y="254445"/>
                    </a:lnTo>
                    <a:lnTo>
                      <a:pt x="193666" y="256983"/>
                    </a:lnTo>
                    <a:lnTo>
                      <a:pt x="186273" y="256629"/>
                    </a:lnTo>
                    <a:lnTo>
                      <a:pt x="182838" y="251399"/>
                    </a:lnTo>
                    <a:lnTo>
                      <a:pt x="178239" y="250521"/>
                    </a:lnTo>
                    <a:lnTo>
                      <a:pt x="174733" y="244579"/>
                    </a:lnTo>
                    <a:lnTo>
                      <a:pt x="170345" y="241601"/>
                    </a:lnTo>
                    <a:lnTo>
                      <a:pt x="161883" y="242970"/>
                    </a:lnTo>
                    <a:lnTo>
                      <a:pt x="159603" y="246290"/>
                    </a:lnTo>
                    <a:lnTo>
                      <a:pt x="153739" y="242985"/>
                    </a:lnTo>
                    <a:lnTo>
                      <a:pt x="152361" y="234502"/>
                    </a:lnTo>
                    <a:lnTo>
                      <a:pt x="146832" y="237566"/>
                    </a:lnTo>
                    <a:lnTo>
                      <a:pt x="137441" y="236721"/>
                    </a:lnTo>
                    <a:lnTo>
                      <a:pt x="134873" y="239520"/>
                    </a:lnTo>
                    <a:lnTo>
                      <a:pt x="136021" y="246605"/>
                    </a:lnTo>
                    <a:lnTo>
                      <a:pt x="131022" y="252338"/>
                    </a:lnTo>
                    <a:lnTo>
                      <a:pt x="133366" y="259934"/>
                    </a:lnTo>
                    <a:lnTo>
                      <a:pt x="133030" y="267900"/>
                    </a:lnTo>
                    <a:lnTo>
                      <a:pt x="130454" y="270620"/>
                    </a:lnTo>
                    <a:lnTo>
                      <a:pt x="124816" y="270518"/>
                    </a:lnTo>
                    <a:lnTo>
                      <a:pt x="118284" y="279180"/>
                    </a:lnTo>
                    <a:lnTo>
                      <a:pt x="110609" y="273555"/>
                    </a:lnTo>
                    <a:lnTo>
                      <a:pt x="103344" y="263828"/>
                    </a:lnTo>
                    <a:lnTo>
                      <a:pt x="101471" y="253890"/>
                    </a:lnTo>
                    <a:lnTo>
                      <a:pt x="85767" y="246002"/>
                    </a:lnTo>
                    <a:lnTo>
                      <a:pt x="84642" y="238912"/>
                    </a:lnTo>
                    <a:lnTo>
                      <a:pt x="81878" y="234714"/>
                    </a:lnTo>
                    <a:lnTo>
                      <a:pt x="74750" y="233989"/>
                    </a:lnTo>
                    <a:lnTo>
                      <a:pt x="73343" y="232197"/>
                    </a:lnTo>
                    <a:lnTo>
                      <a:pt x="73469" y="228383"/>
                    </a:lnTo>
                    <a:lnTo>
                      <a:pt x="63053" y="233435"/>
                    </a:lnTo>
                    <a:lnTo>
                      <a:pt x="60120" y="233048"/>
                    </a:lnTo>
                    <a:lnTo>
                      <a:pt x="57141" y="226204"/>
                    </a:lnTo>
                    <a:lnTo>
                      <a:pt x="49253" y="225588"/>
                    </a:lnTo>
                    <a:lnTo>
                      <a:pt x="46391" y="221377"/>
                    </a:lnTo>
                    <a:lnTo>
                      <a:pt x="48671" y="215299"/>
                    </a:lnTo>
                    <a:lnTo>
                      <a:pt x="46653" y="213849"/>
                    </a:lnTo>
                    <a:lnTo>
                      <a:pt x="45875" y="208114"/>
                    </a:lnTo>
                    <a:lnTo>
                      <a:pt x="44539" y="206021"/>
                    </a:lnTo>
                    <a:lnTo>
                      <a:pt x="38725" y="204944"/>
                    </a:lnTo>
                    <a:lnTo>
                      <a:pt x="28355" y="207958"/>
                    </a:lnTo>
                    <a:lnTo>
                      <a:pt x="23486" y="207296"/>
                    </a:lnTo>
                    <a:lnTo>
                      <a:pt x="21268" y="204552"/>
                    </a:lnTo>
                    <a:lnTo>
                      <a:pt x="20891" y="195227"/>
                    </a:lnTo>
                    <a:lnTo>
                      <a:pt x="18972" y="192162"/>
                    </a:lnTo>
                    <a:lnTo>
                      <a:pt x="7373" y="185631"/>
                    </a:lnTo>
                    <a:lnTo>
                      <a:pt x="1505" y="179446"/>
                    </a:lnTo>
                    <a:lnTo>
                      <a:pt x="0" y="173837"/>
                    </a:lnTo>
                    <a:lnTo>
                      <a:pt x="759" y="165118"/>
                    </a:lnTo>
                    <a:lnTo>
                      <a:pt x="7127" y="161542"/>
                    </a:lnTo>
                    <a:lnTo>
                      <a:pt x="8688" y="157157"/>
                    </a:lnTo>
                    <a:lnTo>
                      <a:pt x="21492" y="139588"/>
                    </a:lnTo>
                    <a:lnTo>
                      <a:pt x="22727" y="134575"/>
                    </a:lnTo>
                    <a:lnTo>
                      <a:pt x="33223" y="135174"/>
                    </a:lnTo>
                    <a:lnTo>
                      <a:pt x="37119" y="130022"/>
                    </a:lnTo>
                    <a:lnTo>
                      <a:pt x="43828" y="126524"/>
                    </a:lnTo>
                    <a:lnTo>
                      <a:pt x="49031" y="130157"/>
                    </a:lnTo>
                    <a:lnTo>
                      <a:pt x="53417" y="129130"/>
                    </a:lnTo>
                    <a:lnTo>
                      <a:pt x="54689" y="127094"/>
                    </a:lnTo>
                    <a:lnTo>
                      <a:pt x="55389" y="120714"/>
                    </a:lnTo>
                    <a:lnTo>
                      <a:pt x="52812" y="114594"/>
                    </a:lnTo>
                    <a:lnTo>
                      <a:pt x="54047" y="110328"/>
                    </a:lnTo>
                    <a:lnTo>
                      <a:pt x="53756" y="99610"/>
                    </a:lnTo>
                    <a:lnTo>
                      <a:pt x="52214" y="96040"/>
                    </a:lnTo>
                    <a:lnTo>
                      <a:pt x="45821" y="91459"/>
                    </a:lnTo>
                    <a:lnTo>
                      <a:pt x="44421" y="88400"/>
                    </a:lnTo>
                    <a:lnTo>
                      <a:pt x="58443" y="75756"/>
                    </a:lnTo>
                    <a:lnTo>
                      <a:pt x="58369" y="71195"/>
                    </a:lnTo>
                    <a:lnTo>
                      <a:pt x="55515" y="62433"/>
                    </a:lnTo>
                    <a:lnTo>
                      <a:pt x="59597" y="55573"/>
                    </a:lnTo>
                    <a:lnTo>
                      <a:pt x="66619" y="50677"/>
                    </a:lnTo>
                    <a:lnTo>
                      <a:pt x="77861" y="51017"/>
                    </a:lnTo>
                    <a:lnTo>
                      <a:pt x="83501" y="45920"/>
                    </a:lnTo>
                    <a:lnTo>
                      <a:pt x="86460" y="47407"/>
                    </a:lnTo>
                    <a:lnTo>
                      <a:pt x="90112" y="49631"/>
                    </a:lnTo>
                    <a:lnTo>
                      <a:pt x="98681" y="42460"/>
                    </a:lnTo>
                    <a:lnTo>
                      <a:pt x="110623" y="37767"/>
                    </a:lnTo>
                    <a:lnTo>
                      <a:pt x="119253" y="40359"/>
                    </a:lnTo>
                    <a:lnTo>
                      <a:pt x="130674" y="47017"/>
                    </a:lnTo>
                    <a:lnTo>
                      <a:pt x="136347" y="46798"/>
                    </a:lnTo>
                    <a:lnTo>
                      <a:pt x="153829" y="36539"/>
                    </a:lnTo>
                    <a:lnTo>
                      <a:pt x="153972" y="31658"/>
                    </a:lnTo>
                    <a:lnTo>
                      <a:pt x="156954" y="27343"/>
                    </a:lnTo>
                    <a:lnTo>
                      <a:pt x="159502" y="27918"/>
                    </a:lnTo>
                    <a:lnTo>
                      <a:pt x="167943" y="35781"/>
                    </a:lnTo>
                    <a:lnTo>
                      <a:pt x="169495" y="28318"/>
                    </a:lnTo>
                    <a:lnTo>
                      <a:pt x="172091" y="23377"/>
                    </a:lnTo>
                    <a:lnTo>
                      <a:pt x="172021" y="17751"/>
                    </a:lnTo>
                    <a:lnTo>
                      <a:pt x="176002" y="16915"/>
                    </a:lnTo>
                    <a:lnTo>
                      <a:pt x="181408" y="18908"/>
                    </a:lnTo>
                    <a:lnTo>
                      <a:pt x="183826" y="16300"/>
                    </a:lnTo>
                    <a:lnTo>
                      <a:pt x="190881" y="16324"/>
                    </a:lnTo>
                    <a:lnTo>
                      <a:pt x="195214" y="16334"/>
                    </a:lnTo>
                    <a:lnTo>
                      <a:pt x="199713" y="19084"/>
                    </a:lnTo>
                    <a:lnTo>
                      <a:pt x="201393" y="24247"/>
                    </a:lnTo>
                    <a:lnTo>
                      <a:pt x="202575" y="24750"/>
                    </a:lnTo>
                    <a:lnTo>
                      <a:pt x="209118" y="22990"/>
                    </a:lnTo>
                    <a:lnTo>
                      <a:pt x="211259" y="24416"/>
                    </a:lnTo>
                    <a:lnTo>
                      <a:pt x="214343" y="31565"/>
                    </a:lnTo>
                    <a:lnTo>
                      <a:pt x="224638" y="40634"/>
                    </a:lnTo>
                    <a:lnTo>
                      <a:pt x="227337" y="40027"/>
                    </a:lnTo>
                    <a:lnTo>
                      <a:pt x="226020" y="34650"/>
                    </a:lnTo>
                    <a:lnTo>
                      <a:pt x="232818" y="35196"/>
                    </a:lnTo>
                    <a:lnTo>
                      <a:pt x="235251" y="38111"/>
                    </a:lnTo>
                    <a:lnTo>
                      <a:pt x="238202" y="46840"/>
                    </a:lnTo>
                    <a:lnTo>
                      <a:pt x="240922" y="49214"/>
                    </a:lnTo>
                    <a:lnTo>
                      <a:pt x="243360" y="48078"/>
                    </a:lnTo>
                    <a:lnTo>
                      <a:pt x="243971" y="45513"/>
                    </a:lnTo>
                    <a:lnTo>
                      <a:pt x="239072" y="33541"/>
                    </a:lnTo>
                    <a:lnTo>
                      <a:pt x="238883" y="29199"/>
                    </a:lnTo>
                    <a:lnTo>
                      <a:pt x="240503" y="27455"/>
                    </a:lnTo>
                    <a:lnTo>
                      <a:pt x="243280" y="27693"/>
                    </a:lnTo>
                    <a:lnTo>
                      <a:pt x="245765" y="30389"/>
                    </a:lnTo>
                    <a:lnTo>
                      <a:pt x="246789" y="33934"/>
                    </a:lnTo>
                    <a:lnTo>
                      <a:pt x="250215" y="35142"/>
                    </a:lnTo>
                    <a:lnTo>
                      <a:pt x="251906" y="29462"/>
                    </a:lnTo>
                    <a:lnTo>
                      <a:pt x="256445" y="30713"/>
                    </a:lnTo>
                    <a:lnTo>
                      <a:pt x="257717" y="28878"/>
                    </a:lnTo>
                    <a:lnTo>
                      <a:pt x="260515" y="30594"/>
                    </a:lnTo>
                    <a:lnTo>
                      <a:pt x="262475" y="38707"/>
                    </a:lnTo>
                    <a:lnTo>
                      <a:pt x="268830" y="38518"/>
                    </a:lnTo>
                    <a:lnTo>
                      <a:pt x="270369" y="40496"/>
                    </a:lnTo>
                    <a:lnTo>
                      <a:pt x="286915" y="30627"/>
                    </a:lnTo>
                    <a:lnTo>
                      <a:pt x="287461" y="30314"/>
                    </a:lnTo>
                    <a:lnTo>
                      <a:pt x="290273" y="25543"/>
                    </a:lnTo>
                    <a:lnTo>
                      <a:pt x="297586" y="22982"/>
                    </a:lnTo>
                    <a:lnTo>
                      <a:pt x="302526" y="23574"/>
                    </a:lnTo>
                    <a:lnTo>
                      <a:pt x="317089" y="25315"/>
                    </a:lnTo>
                    <a:lnTo>
                      <a:pt x="325807" y="22376"/>
                    </a:lnTo>
                    <a:lnTo>
                      <a:pt x="336013" y="26812"/>
                    </a:lnTo>
                    <a:lnTo>
                      <a:pt x="347679" y="23543"/>
                    </a:lnTo>
                    <a:lnTo>
                      <a:pt x="352336" y="24329"/>
                    </a:lnTo>
                    <a:lnTo>
                      <a:pt x="357531" y="28294"/>
                    </a:lnTo>
                    <a:lnTo>
                      <a:pt x="368866" y="24368"/>
                    </a:lnTo>
                    <a:lnTo>
                      <a:pt x="378413" y="27320"/>
                    </a:lnTo>
                    <a:lnTo>
                      <a:pt x="378131" y="16382"/>
                    </a:lnTo>
                    <a:lnTo>
                      <a:pt x="379781" y="10906"/>
                    </a:lnTo>
                    <a:lnTo>
                      <a:pt x="382900" y="6758"/>
                    </a:lnTo>
                    <a:lnTo>
                      <a:pt x="388636" y="3994"/>
                    </a:lnTo>
                    <a:lnTo>
                      <a:pt x="390469" y="309"/>
                    </a:lnTo>
                    <a:lnTo>
                      <a:pt x="390602" y="37"/>
                    </a:lnTo>
                    <a:lnTo>
                      <a:pt x="390601" y="27"/>
                    </a:lnTo>
                    <a:lnTo>
                      <a:pt x="390600" y="0"/>
                    </a:lnTo>
                    <a:lnTo>
                      <a:pt x="439636" y="28685"/>
                    </a:lnTo>
                    <a:lnTo>
                      <a:pt x="446175" y="34673"/>
                    </a:lnTo>
                    <a:lnTo>
                      <a:pt x="449012" y="39878"/>
                    </a:lnTo>
                    <a:lnTo>
                      <a:pt x="449390" y="43317"/>
                    </a:lnTo>
                    <a:lnTo>
                      <a:pt x="449115" y="46316"/>
                    </a:lnTo>
                    <a:lnTo>
                      <a:pt x="449981" y="50172"/>
                    </a:lnTo>
                    <a:lnTo>
                      <a:pt x="452429" y="53323"/>
                    </a:lnTo>
                    <a:lnTo>
                      <a:pt x="460036" y="58499"/>
                    </a:lnTo>
                    <a:lnTo>
                      <a:pt x="463288" y="61505"/>
                    </a:lnTo>
                    <a:lnTo>
                      <a:pt x="466881" y="67391"/>
                    </a:lnTo>
                    <a:lnTo>
                      <a:pt x="471087" y="76348"/>
                    </a:lnTo>
                    <a:lnTo>
                      <a:pt x="474197" y="85879"/>
                    </a:lnTo>
                    <a:lnTo>
                      <a:pt x="474616" y="93552"/>
                    </a:lnTo>
                    <a:lnTo>
                      <a:pt x="475504" y="96049"/>
                    </a:lnTo>
                    <a:lnTo>
                      <a:pt x="476844" y="98498"/>
                    </a:lnTo>
                    <a:lnTo>
                      <a:pt x="478669" y="100381"/>
                    </a:lnTo>
                    <a:lnTo>
                      <a:pt x="481034" y="101087"/>
                    </a:lnTo>
                    <a:lnTo>
                      <a:pt x="480279" y="105088"/>
                    </a:lnTo>
                    <a:lnTo>
                      <a:pt x="479745" y="106622"/>
                    </a:lnTo>
                    <a:lnTo>
                      <a:pt x="481681" y="108499"/>
                    </a:lnTo>
                    <a:lnTo>
                      <a:pt x="486143" y="114562"/>
                    </a:lnTo>
                    <a:lnTo>
                      <a:pt x="487944" y="116475"/>
                    </a:lnTo>
                    <a:lnTo>
                      <a:pt x="497147" y="118531"/>
                    </a:lnTo>
                    <a:lnTo>
                      <a:pt x="499473" y="120123"/>
                    </a:lnTo>
                    <a:lnTo>
                      <a:pt x="502223" y="122662"/>
                    </a:lnTo>
                    <a:lnTo>
                      <a:pt x="507481" y="125074"/>
                    </a:lnTo>
                    <a:lnTo>
                      <a:pt x="509324" y="128851"/>
                    </a:lnTo>
                    <a:lnTo>
                      <a:pt x="511351" y="138923"/>
                    </a:lnTo>
                    <a:lnTo>
                      <a:pt x="511912" y="140471"/>
                    </a:lnTo>
                    <a:lnTo>
                      <a:pt x="518116" y="14650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0" name="Freeform 140">
                <a:extLst>
                  <a:ext uri="{FF2B5EF4-FFF2-40B4-BE49-F238E27FC236}">
                    <a16:creationId xmlns:a16="http://schemas.microsoft.com/office/drawing/2014/main" id="{8F9144C8-AE13-B62B-779E-F6B970708EFE}"/>
                  </a:ext>
                </a:extLst>
              </p:cNvPr>
              <p:cNvSpPr>
                <a:spLocks noChangeAspect="1"/>
              </p:cNvSpPr>
              <p:nvPr>
                <p:custDataLst>
                  <p:tags r:id="rId111"/>
                </p:custDataLst>
              </p:nvPr>
            </p:nvSpPr>
            <p:spPr>
              <a:xfrm>
                <a:off x="4351824" y="5512162"/>
                <a:ext cx="36659" cy="32667"/>
              </a:xfrm>
              <a:custGeom>
                <a:avLst/>
                <a:gdLst/>
                <a:ahLst/>
                <a:cxnLst/>
                <a:rect l="0" t="0" r="0" b="0"/>
                <a:pathLst>
                  <a:path w="37639" h="33540">
                    <a:moveTo>
                      <a:pt x="18143" y="33539"/>
                    </a:moveTo>
                    <a:lnTo>
                      <a:pt x="17488" y="32005"/>
                    </a:lnTo>
                    <a:lnTo>
                      <a:pt x="20911" y="24860"/>
                    </a:lnTo>
                    <a:lnTo>
                      <a:pt x="11933" y="25394"/>
                    </a:lnTo>
                    <a:lnTo>
                      <a:pt x="9259" y="24745"/>
                    </a:lnTo>
                    <a:lnTo>
                      <a:pt x="6165" y="22538"/>
                    </a:lnTo>
                    <a:lnTo>
                      <a:pt x="4742" y="20069"/>
                    </a:lnTo>
                    <a:lnTo>
                      <a:pt x="3721" y="16982"/>
                    </a:lnTo>
                    <a:lnTo>
                      <a:pt x="1798" y="13061"/>
                    </a:lnTo>
                    <a:lnTo>
                      <a:pt x="0" y="6718"/>
                    </a:lnTo>
                    <a:lnTo>
                      <a:pt x="1125" y="3546"/>
                    </a:lnTo>
                    <a:lnTo>
                      <a:pt x="1143" y="3546"/>
                    </a:lnTo>
                    <a:lnTo>
                      <a:pt x="1627" y="3572"/>
                    </a:lnTo>
                    <a:lnTo>
                      <a:pt x="1711" y="3316"/>
                    </a:lnTo>
                    <a:lnTo>
                      <a:pt x="5510" y="3119"/>
                    </a:lnTo>
                    <a:lnTo>
                      <a:pt x="9072" y="0"/>
                    </a:lnTo>
                    <a:lnTo>
                      <a:pt x="12596" y="36"/>
                    </a:lnTo>
                    <a:lnTo>
                      <a:pt x="16373" y="74"/>
                    </a:lnTo>
                    <a:lnTo>
                      <a:pt x="21136" y="2882"/>
                    </a:lnTo>
                    <a:lnTo>
                      <a:pt x="26895" y="6488"/>
                    </a:lnTo>
                    <a:lnTo>
                      <a:pt x="31901" y="10085"/>
                    </a:lnTo>
                    <a:lnTo>
                      <a:pt x="36407" y="14072"/>
                    </a:lnTo>
                    <a:lnTo>
                      <a:pt x="37638" y="17634"/>
                    </a:lnTo>
                    <a:lnTo>
                      <a:pt x="37621" y="19607"/>
                    </a:lnTo>
                    <a:lnTo>
                      <a:pt x="37097" y="21970"/>
                    </a:lnTo>
                    <a:lnTo>
                      <a:pt x="33303" y="23515"/>
                    </a:lnTo>
                    <a:lnTo>
                      <a:pt x="27723" y="26621"/>
                    </a:lnTo>
                    <a:lnTo>
                      <a:pt x="21896" y="28935"/>
                    </a:lnTo>
                    <a:lnTo>
                      <a:pt x="18146" y="3353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1" name="Freeform 141">
                <a:extLst>
                  <a:ext uri="{FF2B5EF4-FFF2-40B4-BE49-F238E27FC236}">
                    <a16:creationId xmlns:a16="http://schemas.microsoft.com/office/drawing/2014/main" id="{9E6BA824-2F72-AA87-9D3D-F7F50F9FB7D9}"/>
                  </a:ext>
                </a:extLst>
              </p:cNvPr>
              <p:cNvSpPr>
                <a:spLocks noChangeAspect="1"/>
              </p:cNvSpPr>
              <p:nvPr>
                <p:custDataLst>
                  <p:tags r:id="rId112"/>
                </p:custDataLst>
              </p:nvPr>
            </p:nvSpPr>
            <p:spPr>
              <a:xfrm>
                <a:off x="4480664" y="5485661"/>
                <a:ext cx="38255" cy="49410"/>
              </a:xfrm>
              <a:custGeom>
                <a:avLst/>
                <a:gdLst/>
                <a:ahLst/>
                <a:cxnLst/>
                <a:rect l="0" t="0" r="0" b="0"/>
                <a:pathLst>
                  <a:path w="39278" h="50731">
                    <a:moveTo>
                      <a:pt x="33732" y="428"/>
                    </a:moveTo>
                    <a:lnTo>
                      <a:pt x="34932" y="361"/>
                    </a:lnTo>
                    <a:lnTo>
                      <a:pt x="34937" y="359"/>
                    </a:lnTo>
                    <a:lnTo>
                      <a:pt x="35015" y="3015"/>
                    </a:lnTo>
                    <a:lnTo>
                      <a:pt x="39277" y="18974"/>
                    </a:lnTo>
                    <a:lnTo>
                      <a:pt x="33848" y="19326"/>
                    </a:lnTo>
                    <a:lnTo>
                      <a:pt x="28397" y="20732"/>
                    </a:lnTo>
                    <a:lnTo>
                      <a:pt x="24181" y="23880"/>
                    </a:lnTo>
                    <a:lnTo>
                      <a:pt x="22507" y="29377"/>
                    </a:lnTo>
                    <a:lnTo>
                      <a:pt x="24191" y="35686"/>
                    </a:lnTo>
                    <a:lnTo>
                      <a:pt x="28412" y="37744"/>
                    </a:lnTo>
                    <a:lnTo>
                      <a:pt x="39261" y="37244"/>
                    </a:lnTo>
                    <a:lnTo>
                      <a:pt x="39260" y="39840"/>
                    </a:lnTo>
                    <a:lnTo>
                      <a:pt x="36813" y="46486"/>
                    </a:lnTo>
                    <a:lnTo>
                      <a:pt x="36613" y="47884"/>
                    </a:lnTo>
                    <a:lnTo>
                      <a:pt x="34410" y="48224"/>
                    </a:lnTo>
                    <a:lnTo>
                      <a:pt x="32543" y="49308"/>
                    </a:lnTo>
                    <a:lnTo>
                      <a:pt x="31625" y="50730"/>
                    </a:lnTo>
                    <a:lnTo>
                      <a:pt x="31619" y="50729"/>
                    </a:lnTo>
                    <a:lnTo>
                      <a:pt x="29924" y="50104"/>
                    </a:lnTo>
                    <a:lnTo>
                      <a:pt x="20933" y="46183"/>
                    </a:lnTo>
                    <a:lnTo>
                      <a:pt x="13453" y="41461"/>
                    </a:lnTo>
                    <a:lnTo>
                      <a:pt x="6966" y="39107"/>
                    </a:lnTo>
                    <a:lnTo>
                      <a:pt x="2983" y="33610"/>
                    </a:lnTo>
                    <a:lnTo>
                      <a:pt x="0" y="28905"/>
                    </a:lnTo>
                    <a:lnTo>
                      <a:pt x="520" y="23432"/>
                    </a:lnTo>
                    <a:lnTo>
                      <a:pt x="1540" y="17170"/>
                    </a:lnTo>
                    <a:lnTo>
                      <a:pt x="5050" y="10146"/>
                    </a:lnTo>
                    <a:lnTo>
                      <a:pt x="9555" y="3893"/>
                    </a:lnTo>
                    <a:lnTo>
                      <a:pt x="15044" y="0"/>
                    </a:lnTo>
                    <a:lnTo>
                      <a:pt x="22019" y="15"/>
                    </a:lnTo>
                    <a:lnTo>
                      <a:pt x="29001" y="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2" name="Freeform 142">
                <a:extLst>
                  <a:ext uri="{FF2B5EF4-FFF2-40B4-BE49-F238E27FC236}">
                    <a16:creationId xmlns:a16="http://schemas.microsoft.com/office/drawing/2014/main" id="{10C65254-C237-508D-B117-62642DE87C1F}"/>
                  </a:ext>
                </a:extLst>
              </p:cNvPr>
              <p:cNvSpPr>
                <a:spLocks noChangeAspect="1"/>
              </p:cNvSpPr>
              <p:nvPr>
                <p:custDataLst>
                  <p:tags r:id="rId113"/>
                </p:custDataLst>
              </p:nvPr>
            </p:nvSpPr>
            <p:spPr>
              <a:xfrm>
                <a:off x="5321540" y="4875101"/>
                <a:ext cx="295014" cy="212763"/>
              </a:xfrm>
              <a:custGeom>
                <a:avLst/>
                <a:gdLst/>
                <a:ahLst/>
                <a:cxnLst/>
                <a:rect l="0" t="0" r="0" b="0"/>
                <a:pathLst>
                  <a:path w="302900" h="218450">
                    <a:moveTo>
                      <a:pt x="87983" y="19695"/>
                    </a:moveTo>
                    <a:lnTo>
                      <a:pt x="90256" y="16803"/>
                    </a:lnTo>
                    <a:lnTo>
                      <a:pt x="88123" y="13518"/>
                    </a:lnTo>
                    <a:lnTo>
                      <a:pt x="91690" y="10379"/>
                    </a:lnTo>
                    <a:lnTo>
                      <a:pt x="110297" y="5599"/>
                    </a:lnTo>
                    <a:lnTo>
                      <a:pt x="113506" y="11373"/>
                    </a:lnTo>
                    <a:lnTo>
                      <a:pt x="119146" y="13084"/>
                    </a:lnTo>
                    <a:lnTo>
                      <a:pt x="144642" y="1421"/>
                    </a:lnTo>
                    <a:lnTo>
                      <a:pt x="154506" y="0"/>
                    </a:lnTo>
                    <a:lnTo>
                      <a:pt x="160051" y="3403"/>
                    </a:lnTo>
                    <a:lnTo>
                      <a:pt x="163886" y="12128"/>
                    </a:lnTo>
                    <a:lnTo>
                      <a:pt x="162747" y="16003"/>
                    </a:lnTo>
                    <a:lnTo>
                      <a:pt x="165334" y="23296"/>
                    </a:lnTo>
                    <a:lnTo>
                      <a:pt x="166099" y="24320"/>
                    </a:lnTo>
                    <a:lnTo>
                      <a:pt x="169786" y="22392"/>
                    </a:lnTo>
                    <a:lnTo>
                      <a:pt x="172706" y="31148"/>
                    </a:lnTo>
                    <a:lnTo>
                      <a:pt x="180407" y="44101"/>
                    </a:lnTo>
                    <a:lnTo>
                      <a:pt x="182910" y="45217"/>
                    </a:lnTo>
                    <a:lnTo>
                      <a:pt x="201148" y="42317"/>
                    </a:lnTo>
                    <a:lnTo>
                      <a:pt x="212361" y="38218"/>
                    </a:lnTo>
                    <a:lnTo>
                      <a:pt x="225071" y="39132"/>
                    </a:lnTo>
                    <a:lnTo>
                      <a:pt x="237457" y="43469"/>
                    </a:lnTo>
                    <a:lnTo>
                      <a:pt x="246579" y="43447"/>
                    </a:lnTo>
                    <a:lnTo>
                      <a:pt x="251301" y="42512"/>
                    </a:lnTo>
                    <a:lnTo>
                      <a:pt x="251345" y="42503"/>
                    </a:lnTo>
                    <a:lnTo>
                      <a:pt x="255452" y="44134"/>
                    </a:lnTo>
                    <a:lnTo>
                      <a:pt x="294775" y="44089"/>
                    </a:lnTo>
                    <a:lnTo>
                      <a:pt x="299276" y="40938"/>
                    </a:lnTo>
                    <a:lnTo>
                      <a:pt x="298919" y="48113"/>
                    </a:lnTo>
                    <a:lnTo>
                      <a:pt x="281590" y="68504"/>
                    </a:lnTo>
                    <a:lnTo>
                      <a:pt x="284727" y="70602"/>
                    </a:lnTo>
                    <a:lnTo>
                      <a:pt x="288511" y="71989"/>
                    </a:lnTo>
                    <a:lnTo>
                      <a:pt x="297199" y="72707"/>
                    </a:lnTo>
                    <a:lnTo>
                      <a:pt x="299475" y="70140"/>
                    </a:lnTo>
                    <a:lnTo>
                      <a:pt x="300982" y="66112"/>
                    </a:lnTo>
                    <a:lnTo>
                      <a:pt x="301989" y="65624"/>
                    </a:lnTo>
                    <a:lnTo>
                      <a:pt x="302899" y="73636"/>
                    </a:lnTo>
                    <a:lnTo>
                      <a:pt x="300494" y="79841"/>
                    </a:lnTo>
                    <a:lnTo>
                      <a:pt x="287847" y="93299"/>
                    </a:lnTo>
                    <a:lnTo>
                      <a:pt x="276246" y="102332"/>
                    </a:lnTo>
                    <a:lnTo>
                      <a:pt x="268811" y="106072"/>
                    </a:lnTo>
                    <a:lnTo>
                      <a:pt x="252450" y="109582"/>
                    </a:lnTo>
                    <a:lnTo>
                      <a:pt x="247972" y="109197"/>
                    </a:lnTo>
                    <a:lnTo>
                      <a:pt x="245643" y="107382"/>
                    </a:lnTo>
                    <a:lnTo>
                      <a:pt x="241399" y="99846"/>
                    </a:lnTo>
                    <a:lnTo>
                      <a:pt x="233073" y="89761"/>
                    </a:lnTo>
                    <a:lnTo>
                      <a:pt x="230652" y="84819"/>
                    </a:lnTo>
                    <a:lnTo>
                      <a:pt x="230442" y="92091"/>
                    </a:lnTo>
                    <a:lnTo>
                      <a:pt x="227163" y="96438"/>
                    </a:lnTo>
                    <a:lnTo>
                      <a:pt x="218710" y="101261"/>
                    </a:lnTo>
                    <a:lnTo>
                      <a:pt x="211845" y="108552"/>
                    </a:lnTo>
                    <a:lnTo>
                      <a:pt x="210173" y="109605"/>
                    </a:lnTo>
                    <a:lnTo>
                      <a:pt x="210163" y="111692"/>
                    </a:lnTo>
                    <a:lnTo>
                      <a:pt x="209745" y="116296"/>
                    </a:lnTo>
                    <a:lnTo>
                      <a:pt x="208941" y="120924"/>
                    </a:lnTo>
                    <a:lnTo>
                      <a:pt x="207836" y="123079"/>
                    </a:lnTo>
                    <a:lnTo>
                      <a:pt x="205107" y="123914"/>
                    </a:lnTo>
                    <a:lnTo>
                      <a:pt x="201519" y="127496"/>
                    </a:lnTo>
                    <a:lnTo>
                      <a:pt x="199166" y="128806"/>
                    </a:lnTo>
                    <a:lnTo>
                      <a:pt x="196279" y="128934"/>
                    </a:lnTo>
                    <a:lnTo>
                      <a:pt x="190937" y="127012"/>
                    </a:lnTo>
                    <a:lnTo>
                      <a:pt x="188616" y="126590"/>
                    </a:lnTo>
                    <a:lnTo>
                      <a:pt x="182829" y="127589"/>
                    </a:lnTo>
                    <a:lnTo>
                      <a:pt x="172156" y="132534"/>
                    </a:lnTo>
                    <a:lnTo>
                      <a:pt x="167064" y="135946"/>
                    </a:lnTo>
                    <a:lnTo>
                      <a:pt x="170861" y="137546"/>
                    </a:lnTo>
                    <a:lnTo>
                      <a:pt x="175203" y="137867"/>
                    </a:lnTo>
                    <a:lnTo>
                      <a:pt x="179303" y="139650"/>
                    </a:lnTo>
                    <a:lnTo>
                      <a:pt x="182365" y="145510"/>
                    </a:lnTo>
                    <a:lnTo>
                      <a:pt x="188674" y="138454"/>
                    </a:lnTo>
                    <a:lnTo>
                      <a:pt x="203597" y="134207"/>
                    </a:lnTo>
                    <a:lnTo>
                      <a:pt x="210627" y="130727"/>
                    </a:lnTo>
                    <a:lnTo>
                      <a:pt x="217098" y="124723"/>
                    </a:lnTo>
                    <a:lnTo>
                      <a:pt x="221222" y="123675"/>
                    </a:lnTo>
                    <a:lnTo>
                      <a:pt x="225122" y="127218"/>
                    </a:lnTo>
                    <a:lnTo>
                      <a:pt x="225760" y="130419"/>
                    </a:lnTo>
                    <a:lnTo>
                      <a:pt x="225313" y="134184"/>
                    </a:lnTo>
                    <a:lnTo>
                      <a:pt x="224505" y="137101"/>
                    </a:lnTo>
                    <a:lnTo>
                      <a:pt x="224004" y="137754"/>
                    </a:lnTo>
                    <a:lnTo>
                      <a:pt x="224668" y="140750"/>
                    </a:lnTo>
                    <a:lnTo>
                      <a:pt x="225754" y="143689"/>
                    </a:lnTo>
                    <a:lnTo>
                      <a:pt x="227883" y="148213"/>
                    </a:lnTo>
                    <a:lnTo>
                      <a:pt x="225621" y="150410"/>
                    </a:lnTo>
                    <a:lnTo>
                      <a:pt x="224932" y="153723"/>
                    </a:lnTo>
                    <a:lnTo>
                      <a:pt x="225507" y="162581"/>
                    </a:lnTo>
                    <a:lnTo>
                      <a:pt x="224822" y="164679"/>
                    </a:lnTo>
                    <a:lnTo>
                      <a:pt x="223048" y="166689"/>
                    </a:lnTo>
                    <a:lnTo>
                      <a:pt x="219588" y="169612"/>
                    </a:lnTo>
                    <a:lnTo>
                      <a:pt x="225960" y="168783"/>
                    </a:lnTo>
                    <a:lnTo>
                      <a:pt x="228314" y="169961"/>
                    </a:lnTo>
                    <a:lnTo>
                      <a:pt x="229305" y="171628"/>
                    </a:lnTo>
                    <a:lnTo>
                      <a:pt x="223488" y="182968"/>
                    </a:lnTo>
                    <a:lnTo>
                      <a:pt x="212011" y="194714"/>
                    </a:lnTo>
                    <a:lnTo>
                      <a:pt x="201733" y="202080"/>
                    </a:lnTo>
                    <a:lnTo>
                      <a:pt x="201729" y="202083"/>
                    </a:lnTo>
                    <a:lnTo>
                      <a:pt x="201644" y="201804"/>
                    </a:lnTo>
                    <a:lnTo>
                      <a:pt x="199786" y="199937"/>
                    </a:lnTo>
                    <a:lnTo>
                      <a:pt x="183627" y="194969"/>
                    </a:lnTo>
                    <a:lnTo>
                      <a:pt x="175402" y="193082"/>
                    </a:lnTo>
                    <a:lnTo>
                      <a:pt x="167144" y="190598"/>
                    </a:lnTo>
                    <a:lnTo>
                      <a:pt x="158488" y="194066"/>
                    </a:lnTo>
                    <a:lnTo>
                      <a:pt x="155745" y="204309"/>
                    </a:lnTo>
                    <a:lnTo>
                      <a:pt x="158334" y="206592"/>
                    </a:lnTo>
                    <a:lnTo>
                      <a:pt x="158770" y="207104"/>
                    </a:lnTo>
                    <a:lnTo>
                      <a:pt x="158769" y="207104"/>
                    </a:lnTo>
                    <a:lnTo>
                      <a:pt x="158157" y="207249"/>
                    </a:lnTo>
                    <a:lnTo>
                      <a:pt x="157881" y="207856"/>
                    </a:lnTo>
                    <a:lnTo>
                      <a:pt x="153529" y="212497"/>
                    </a:lnTo>
                    <a:lnTo>
                      <a:pt x="150096" y="213861"/>
                    </a:lnTo>
                    <a:lnTo>
                      <a:pt x="146916" y="214183"/>
                    </a:lnTo>
                    <a:lnTo>
                      <a:pt x="143887" y="215149"/>
                    </a:lnTo>
                    <a:lnTo>
                      <a:pt x="140871" y="218449"/>
                    </a:lnTo>
                    <a:lnTo>
                      <a:pt x="136842" y="215003"/>
                    </a:lnTo>
                    <a:lnTo>
                      <a:pt x="135533" y="215170"/>
                    </a:lnTo>
                    <a:lnTo>
                      <a:pt x="135524" y="215171"/>
                    </a:lnTo>
                    <a:lnTo>
                      <a:pt x="134697" y="210844"/>
                    </a:lnTo>
                    <a:lnTo>
                      <a:pt x="130551" y="209298"/>
                    </a:lnTo>
                    <a:lnTo>
                      <a:pt x="119318" y="206365"/>
                    </a:lnTo>
                    <a:lnTo>
                      <a:pt x="106344" y="205297"/>
                    </a:lnTo>
                    <a:lnTo>
                      <a:pt x="89239" y="202664"/>
                    </a:lnTo>
                    <a:lnTo>
                      <a:pt x="80747" y="202781"/>
                    </a:lnTo>
                    <a:lnTo>
                      <a:pt x="79750" y="201213"/>
                    </a:lnTo>
                    <a:lnTo>
                      <a:pt x="77588" y="194961"/>
                    </a:lnTo>
                    <a:lnTo>
                      <a:pt x="71821" y="193348"/>
                    </a:lnTo>
                    <a:lnTo>
                      <a:pt x="68340" y="189814"/>
                    </a:lnTo>
                    <a:lnTo>
                      <a:pt x="63278" y="181143"/>
                    </a:lnTo>
                    <a:lnTo>
                      <a:pt x="62357" y="177158"/>
                    </a:lnTo>
                    <a:lnTo>
                      <a:pt x="58363" y="176723"/>
                    </a:lnTo>
                    <a:lnTo>
                      <a:pt x="47486" y="181010"/>
                    </a:lnTo>
                    <a:lnTo>
                      <a:pt x="38943" y="182186"/>
                    </a:lnTo>
                    <a:lnTo>
                      <a:pt x="30380" y="183358"/>
                    </a:lnTo>
                    <a:lnTo>
                      <a:pt x="26661" y="188426"/>
                    </a:lnTo>
                    <a:lnTo>
                      <a:pt x="23936" y="189214"/>
                    </a:lnTo>
                    <a:lnTo>
                      <a:pt x="10986" y="182203"/>
                    </a:lnTo>
                    <a:lnTo>
                      <a:pt x="10133" y="180170"/>
                    </a:lnTo>
                    <a:lnTo>
                      <a:pt x="8455" y="176259"/>
                    </a:lnTo>
                    <a:lnTo>
                      <a:pt x="3238" y="173134"/>
                    </a:lnTo>
                    <a:lnTo>
                      <a:pt x="2603" y="172829"/>
                    </a:lnTo>
                    <a:lnTo>
                      <a:pt x="120" y="171684"/>
                    </a:lnTo>
                    <a:lnTo>
                      <a:pt x="1218" y="165465"/>
                    </a:lnTo>
                    <a:lnTo>
                      <a:pt x="0" y="161254"/>
                    </a:lnTo>
                    <a:lnTo>
                      <a:pt x="1654" y="139809"/>
                    </a:lnTo>
                    <a:lnTo>
                      <a:pt x="9415" y="125971"/>
                    </a:lnTo>
                    <a:lnTo>
                      <a:pt x="26432" y="121610"/>
                    </a:lnTo>
                    <a:lnTo>
                      <a:pt x="37926" y="116049"/>
                    </a:lnTo>
                    <a:lnTo>
                      <a:pt x="38880" y="110149"/>
                    </a:lnTo>
                    <a:lnTo>
                      <a:pt x="45039" y="105683"/>
                    </a:lnTo>
                    <a:lnTo>
                      <a:pt x="40802" y="102618"/>
                    </a:lnTo>
                    <a:lnTo>
                      <a:pt x="40497" y="93808"/>
                    </a:lnTo>
                    <a:lnTo>
                      <a:pt x="46192" y="86825"/>
                    </a:lnTo>
                    <a:lnTo>
                      <a:pt x="45601" y="84306"/>
                    </a:lnTo>
                    <a:lnTo>
                      <a:pt x="42709" y="81785"/>
                    </a:lnTo>
                    <a:lnTo>
                      <a:pt x="43549" y="77611"/>
                    </a:lnTo>
                    <a:lnTo>
                      <a:pt x="32293" y="80615"/>
                    </a:lnTo>
                    <a:lnTo>
                      <a:pt x="29173" y="72074"/>
                    </a:lnTo>
                    <a:lnTo>
                      <a:pt x="27634" y="62150"/>
                    </a:lnTo>
                    <a:lnTo>
                      <a:pt x="24548" y="55189"/>
                    </a:lnTo>
                    <a:lnTo>
                      <a:pt x="23341" y="46749"/>
                    </a:lnTo>
                    <a:lnTo>
                      <a:pt x="16495" y="43375"/>
                    </a:lnTo>
                    <a:lnTo>
                      <a:pt x="15689" y="36092"/>
                    </a:lnTo>
                    <a:lnTo>
                      <a:pt x="21747" y="26223"/>
                    </a:lnTo>
                    <a:lnTo>
                      <a:pt x="20771" y="15764"/>
                    </a:lnTo>
                    <a:lnTo>
                      <a:pt x="22913" y="15321"/>
                    </a:lnTo>
                    <a:lnTo>
                      <a:pt x="28707" y="20346"/>
                    </a:lnTo>
                    <a:lnTo>
                      <a:pt x="37471" y="17569"/>
                    </a:lnTo>
                    <a:lnTo>
                      <a:pt x="41200" y="13978"/>
                    </a:lnTo>
                    <a:lnTo>
                      <a:pt x="40893" y="6541"/>
                    </a:lnTo>
                    <a:lnTo>
                      <a:pt x="43797" y="4375"/>
                    </a:lnTo>
                    <a:lnTo>
                      <a:pt x="55417" y="5590"/>
                    </a:lnTo>
                    <a:lnTo>
                      <a:pt x="62489" y="2136"/>
                    </a:lnTo>
                    <a:lnTo>
                      <a:pt x="67300" y="3047"/>
                    </a:lnTo>
                    <a:lnTo>
                      <a:pt x="71769" y="5776"/>
                    </a:lnTo>
                    <a:lnTo>
                      <a:pt x="81810" y="167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3" name="Freeform 143">
                <a:extLst>
                  <a:ext uri="{FF2B5EF4-FFF2-40B4-BE49-F238E27FC236}">
                    <a16:creationId xmlns:a16="http://schemas.microsoft.com/office/drawing/2014/main" id="{D11C82A0-5BCE-5856-2E25-6BF063956D40}"/>
                  </a:ext>
                </a:extLst>
              </p:cNvPr>
              <p:cNvSpPr>
                <a:spLocks noChangeAspect="1"/>
              </p:cNvSpPr>
              <p:nvPr>
                <p:custDataLst>
                  <p:tags r:id="rId114"/>
                </p:custDataLst>
              </p:nvPr>
            </p:nvSpPr>
            <p:spPr>
              <a:xfrm>
                <a:off x="5393431" y="4687360"/>
                <a:ext cx="317028" cy="231782"/>
              </a:xfrm>
              <a:custGeom>
                <a:avLst/>
                <a:gdLst/>
                <a:ahLst/>
                <a:cxnLst/>
                <a:rect l="0" t="0" r="0" b="0"/>
                <a:pathLst>
                  <a:path w="325503" h="237978">
                    <a:moveTo>
                      <a:pt x="317487" y="3525"/>
                    </a:moveTo>
                    <a:lnTo>
                      <a:pt x="318349" y="3368"/>
                    </a:lnTo>
                    <a:lnTo>
                      <a:pt x="318732" y="2613"/>
                    </a:lnTo>
                    <a:lnTo>
                      <a:pt x="325502" y="20076"/>
                    </a:lnTo>
                    <a:lnTo>
                      <a:pt x="324806" y="23558"/>
                    </a:lnTo>
                    <a:lnTo>
                      <a:pt x="322124" y="27435"/>
                    </a:lnTo>
                    <a:lnTo>
                      <a:pt x="317709" y="47591"/>
                    </a:lnTo>
                    <a:lnTo>
                      <a:pt x="318183" y="51268"/>
                    </a:lnTo>
                    <a:lnTo>
                      <a:pt x="317917" y="54966"/>
                    </a:lnTo>
                    <a:lnTo>
                      <a:pt x="309575" y="83076"/>
                    </a:lnTo>
                    <a:lnTo>
                      <a:pt x="303139" y="97105"/>
                    </a:lnTo>
                    <a:lnTo>
                      <a:pt x="300832" y="100077"/>
                    </a:lnTo>
                    <a:lnTo>
                      <a:pt x="298671" y="104582"/>
                    </a:lnTo>
                    <a:lnTo>
                      <a:pt x="298829" y="114392"/>
                    </a:lnTo>
                    <a:lnTo>
                      <a:pt x="300648" y="131517"/>
                    </a:lnTo>
                    <a:lnTo>
                      <a:pt x="299915" y="139006"/>
                    </a:lnTo>
                    <a:lnTo>
                      <a:pt x="296613" y="152430"/>
                    </a:lnTo>
                    <a:lnTo>
                      <a:pt x="296183" y="159397"/>
                    </a:lnTo>
                    <a:lnTo>
                      <a:pt x="293552" y="169935"/>
                    </a:lnTo>
                    <a:lnTo>
                      <a:pt x="293539" y="175235"/>
                    </a:lnTo>
                    <a:lnTo>
                      <a:pt x="292446" y="177417"/>
                    </a:lnTo>
                    <a:lnTo>
                      <a:pt x="274568" y="186534"/>
                    </a:lnTo>
                    <a:lnTo>
                      <a:pt x="270931" y="191370"/>
                    </a:lnTo>
                    <a:lnTo>
                      <a:pt x="267272" y="188866"/>
                    </a:lnTo>
                    <a:lnTo>
                      <a:pt x="266265" y="192085"/>
                    </a:lnTo>
                    <a:lnTo>
                      <a:pt x="265912" y="197035"/>
                    </a:lnTo>
                    <a:lnTo>
                      <a:pt x="264194" y="199693"/>
                    </a:lnTo>
                    <a:lnTo>
                      <a:pt x="262682" y="201154"/>
                    </a:lnTo>
                    <a:lnTo>
                      <a:pt x="257607" y="210357"/>
                    </a:lnTo>
                    <a:lnTo>
                      <a:pt x="242393" y="229707"/>
                    </a:lnTo>
                    <a:lnTo>
                      <a:pt x="240018" y="234154"/>
                    </a:lnTo>
                    <a:lnTo>
                      <a:pt x="237449" y="235386"/>
                    </a:lnTo>
                    <a:lnTo>
                      <a:pt x="220143" y="215761"/>
                    </a:lnTo>
                    <a:lnTo>
                      <a:pt x="213061" y="213955"/>
                    </a:lnTo>
                    <a:lnTo>
                      <a:pt x="200800" y="205273"/>
                    </a:lnTo>
                    <a:lnTo>
                      <a:pt x="194300" y="204388"/>
                    </a:lnTo>
                    <a:lnTo>
                      <a:pt x="194467" y="206995"/>
                    </a:lnTo>
                    <a:lnTo>
                      <a:pt x="203343" y="214408"/>
                    </a:lnTo>
                    <a:lnTo>
                      <a:pt x="208464" y="217656"/>
                    </a:lnTo>
                    <a:lnTo>
                      <a:pt x="219407" y="219471"/>
                    </a:lnTo>
                    <a:lnTo>
                      <a:pt x="221954" y="220563"/>
                    </a:lnTo>
                    <a:lnTo>
                      <a:pt x="223099" y="222216"/>
                    </a:lnTo>
                    <a:lnTo>
                      <a:pt x="223329" y="228371"/>
                    </a:lnTo>
                    <a:lnTo>
                      <a:pt x="222636" y="230116"/>
                    </a:lnTo>
                    <a:lnTo>
                      <a:pt x="217796" y="229223"/>
                    </a:lnTo>
                    <a:lnTo>
                      <a:pt x="215047" y="229779"/>
                    </a:lnTo>
                    <a:lnTo>
                      <a:pt x="210143" y="231755"/>
                    </a:lnTo>
                    <a:lnTo>
                      <a:pt x="207373" y="232279"/>
                    </a:lnTo>
                    <a:lnTo>
                      <a:pt x="204377" y="231681"/>
                    </a:lnTo>
                    <a:lnTo>
                      <a:pt x="197536" y="227720"/>
                    </a:lnTo>
                    <a:lnTo>
                      <a:pt x="192340" y="228431"/>
                    </a:lnTo>
                    <a:lnTo>
                      <a:pt x="181166" y="233015"/>
                    </a:lnTo>
                    <a:lnTo>
                      <a:pt x="175258" y="234358"/>
                    </a:lnTo>
                    <a:lnTo>
                      <a:pt x="177533" y="235263"/>
                    </a:lnTo>
                    <a:lnTo>
                      <a:pt x="177489" y="235272"/>
                    </a:lnTo>
                    <a:lnTo>
                      <a:pt x="172767" y="236207"/>
                    </a:lnTo>
                    <a:lnTo>
                      <a:pt x="163645" y="236229"/>
                    </a:lnTo>
                    <a:lnTo>
                      <a:pt x="151259" y="231892"/>
                    </a:lnTo>
                    <a:lnTo>
                      <a:pt x="138549" y="230978"/>
                    </a:lnTo>
                    <a:lnTo>
                      <a:pt x="127336" y="235077"/>
                    </a:lnTo>
                    <a:lnTo>
                      <a:pt x="109098" y="237977"/>
                    </a:lnTo>
                    <a:lnTo>
                      <a:pt x="106595" y="236861"/>
                    </a:lnTo>
                    <a:lnTo>
                      <a:pt x="98894" y="223908"/>
                    </a:lnTo>
                    <a:lnTo>
                      <a:pt x="95974" y="215152"/>
                    </a:lnTo>
                    <a:lnTo>
                      <a:pt x="92287" y="217080"/>
                    </a:lnTo>
                    <a:lnTo>
                      <a:pt x="91522" y="216056"/>
                    </a:lnTo>
                    <a:lnTo>
                      <a:pt x="88935" y="208763"/>
                    </a:lnTo>
                    <a:lnTo>
                      <a:pt x="90074" y="204888"/>
                    </a:lnTo>
                    <a:lnTo>
                      <a:pt x="86239" y="196163"/>
                    </a:lnTo>
                    <a:lnTo>
                      <a:pt x="80694" y="192760"/>
                    </a:lnTo>
                    <a:lnTo>
                      <a:pt x="70830" y="194181"/>
                    </a:lnTo>
                    <a:lnTo>
                      <a:pt x="45334" y="205844"/>
                    </a:lnTo>
                    <a:lnTo>
                      <a:pt x="39694" y="204133"/>
                    </a:lnTo>
                    <a:lnTo>
                      <a:pt x="36485" y="198359"/>
                    </a:lnTo>
                    <a:lnTo>
                      <a:pt x="17878" y="203139"/>
                    </a:lnTo>
                    <a:lnTo>
                      <a:pt x="14410" y="186085"/>
                    </a:lnTo>
                    <a:lnTo>
                      <a:pt x="20801" y="176266"/>
                    </a:lnTo>
                    <a:lnTo>
                      <a:pt x="21458" y="170180"/>
                    </a:lnTo>
                    <a:lnTo>
                      <a:pt x="26146" y="164189"/>
                    </a:lnTo>
                    <a:lnTo>
                      <a:pt x="28085" y="162579"/>
                    </a:lnTo>
                    <a:lnTo>
                      <a:pt x="33480" y="164614"/>
                    </a:lnTo>
                    <a:lnTo>
                      <a:pt x="36804" y="163262"/>
                    </a:lnTo>
                    <a:lnTo>
                      <a:pt x="36389" y="157016"/>
                    </a:lnTo>
                    <a:lnTo>
                      <a:pt x="40116" y="144053"/>
                    </a:lnTo>
                    <a:lnTo>
                      <a:pt x="39693" y="141210"/>
                    </a:lnTo>
                    <a:lnTo>
                      <a:pt x="36820" y="137435"/>
                    </a:lnTo>
                    <a:lnTo>
                      <a:pt x="31319" y="137850"/>
                    </a:lnTo>
                    <a:lnTo>
                      <a:pt x="26651" y="133649"/>
                    </a:lnTo>
                    <a:lnTo>
                      <a:pt x="23577" y="135935"/>
                    </a:lnTo>
                    <a:lnTo>
                      <a:pt x="18431" y="134734"/>
                    </a:lnTo>
                    <a:lnTo>
                      <a:pt x="14882" y="140147"/>
                    </a:lnTo>
                    <a:lnTo>
                      <a:pt x="10654" y="140149"/>
                    </a:lnTo>
                    <a:lnTo>
                      <a:pt x="0" y="128188"/>
                    </a:lnTo>
                    <a:lnTo>
                      <a:pt x="3501" y="115671"/>
                    </a:lnTo>
                    <a:lnTo>
                      <a:pt x="6979" y="117600"/>
                    </a:lnTo>
                    <a:lnTo>
                      <a:pt x="7325" y="120468"/>
                    </a:lnTo>
                    <a:lnTo>
                      <a:pt x="18958" y="128653"/>
                    </a:lnTo>
                    <a:lnTo>
                      <a:pt x="33906" y="123578"/>
                    </a:lnTo>
                    <a:lnTo>
                      <a:pt x="37153" y="119678"/>
                    </a:lnTo>
                    <a:lnTo>
                      <a:pt x="37056" y="117014"/>
                    </a:lnTo>
                    <a:lnTo>
                      <a:pt x="27624" y="107335"/>
                    </a:lnTo>
                    <a:lnTo>
                      <a:pt x="18655" y="107294"/>
                    </a:lnTo>
                    <a:lnTo>
                      <a:pt x="18441" y="104439"/>
                    </a:lnTo>
                    <a:lnTo>
                      <a:pt x="21356" y="98426"/>
                    </a:lnTo>
                    <a:lnTo>
                      <a:pt x="20949" y="95581"/>
                    </a:lnTo>
                    <a:lnTo>
                      <a:pt x="14215" y="89900"/>
                    </a:lnTo>
                    <a:lnTo>
                      <a:pt x="6645" y="77142"/>
                    </a:lnTo>
                    <a:lnTo>
                      <a:pt x="6088" y="72684"/>
                    </a:lnTo>
                    <a:lnTo>
                      <a:pt x="6998" y="70300"/>
                    </a:lnTo>
                    <a:lnTo>
                      <a:pt x="19178" y="60391"/>
                    </a:lnTo>
                    <a:lnTo>
                      <a:pt x="29589" y="60142"/>
                    </a:lnTo>
                    <a:lnTo>
                      <a:pt x="44730" y="53546"/>
                    </a:lnTo>
                    <a:lnTo>
                      <a:pt x="63524" y="55024"/>
                    </a:lnTo>
                    <a:lnTo>
                      <a:pt x="72164" y="51764"/>
                    </a:lnTo>
                    <a:lnTo>
                      <a:pt x="75098" y="54144"/>
                    </a:lnTo>
                    <a:lnTo>
                      <a:pt x="80110" y="54918"/>
                    </a:lnTo>
                    <a:lnTo>
                      <a:pt x="71533" y="62223"/>
                    </a:lnTo>
                    <a:lnTo>
                      <a:pt x="70578" y="64929"/>
                    </a:lnTo>
                    <a:lnTo>
                      <a:pt x="71722" y="70174"/>
                    </a:lnTo>
                    <a:lnTo>
                      <a:pt x="77373" y="73572"/>
                    </a:lnTo>
                    <a:lnTo>
                      <a:pt x="86836" y="73550"/>
                    </a:lnTo>
                    <a:lnTo>
                      <a:pt x="91112" y="76481"/>
                    </a:lnTo>
                    <a:lnTo>
                      <a:pt x="99534" y="75128"/>
                    </a:lnTo>
                    <a:lnTo>
                      <a:pt x="110847" y="69236"/>
                    </a:lnTo>
                    <a:lnTo>
                      <a:pt x="121287" y="73397"/>
                    </a:lnTo>
                    <a:lnTo>
                      <a:pt x="132945" y="72877"/>
                    </a:lnTo>
                    <a:lnTo>
                      <a:pt x="143234" y="80754"/>
                    </a:lnTo>
                    <a:lnTo>
                      <a:pt x="157268" y="74441"/>
                    </a:lnTo>
                    <a:lnTo>
                      <a:pt x="167299" y="77205"/>
                    </a:lnTo>
                    <a:lnTo>
                      <a:pt x="178239" y="76720"/>
                    </a:lnTo>
                    <a:lnTo>
                      <a:pt x="187130" y="79329"/>
                    </a:lnTo>
                    <a:lnTo>
                      <a:pt x="196747" y="79659"/>
                    </a:lnTo>
                    <a:lnTo>
                      <a:pt x="204092" y="76631"/>
                    </a:lnTo>
                    <a:lnTo>
                      <a:pt x="212797" y="67849"/>
                    </a:lnTo>
                    <a:lnTo>
                      <a:pt x="224203" y="66441"/>
                    </a:lnTo>
                    <a:lnTo>
                      <a:pt x="226825" y="63730"/>
                    </a:lnTo>
                    <a:lnTo>
                      <a:pt x="232399" y="51002"/>
                    </a:lnTo>
                    <a:lnTo>
                      <a:pt x="243271" y="44716"/>
                    </a:lnTo>
                    <a:lnTo>
                      <a:pt x="249972" y="43195"/>
                    </a:lnTo>
                    <a:lnTo>
                      <a:pt x="250597" y="42092"/>
                    </a:lnTo>
                    <a:lnTo>
                      <a:pt x="245965" y="37830"/>
                    </a:lnTo>
                    <a:lnTo>
                      <a:pt x="246962" y="35099"/>
                    </a:lnTo>
                    <a:lnTo>
                      <a:pt x="249794" y="34903"/>
                    </a:lnTo>
                    <a:lnTo>
                      <a:pt x="255217" y="38367"/>
                    </a:lnTo>
                    <a:lnTo>
                      <a:pt x="260972" y="35411"/>
                    </a:lnTo>
                    <a:lnTo>
                      <a:pt x="267996" y="37573"/>
                    </a:lnTo>
                    <a:lnTo>
                      <a:pt x="273557" y="34627"/>
                    </a:lnTo>
                    <a:lnTo>
                      <a:pt x="279965" y="37261"/>
                    </a:lnTo>
                    <a:lnTo>
                      <a:pt x="280287" y="32557"/>
                    </a:lnTo>
                    <a:lnTo>
                      <a:pt x="282593" y="29314"/>
                    </a:lnTo>
                    <a:lnTo>
                      <a:pt x="285775" y="29294"/>
                    </a:lnTo>
                    <a:lnTo>
                      <a:pt x="296065" y="34624"/>
                    </a:lnTo>
                    <a:lnTo>
                      <a:pt x="300546" y="32162"/>
                    </a:lnTo>
                    <a:lnTo>
                      <a:pt x="306237" y="25374"/>
                    </a:lnTo>
                    <a:lnTo>
                      <a:pt x="307734" y="27424"/>
                    </a:lnTo>
                    <a:lnTo>
                      <a:pt x="309797" y="24582"/>
                    </a:lnTo>
                    <a:lnTo>
                      <a:pt x="309005" y="20589"/>
                    </a:lnTo>
                    <a:lnTo>
                      <a:pt x="303185" y="19102"/>
                    </a:lnTo>
                    <a:lnTo>
                      <a:pt x="297420" y="12600"/>
                    </a:lnTo>
                    <a:lnTo>
                      <a:pt x="299220" y="4382"/>
                    </a:lnTo>
                    <a:lnTo>
                      <a:pt x="301652" y="1334"/>
                    </a:lnTo>
                    <a:lnTo>
                      <a:pt x="30531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4" name="Freeform 144">
                <a:extLst>
                  <a:ext uri="{FF2B5EF4-FFF2-40B4-BE49-F238E27FC236}">
                    <a16:creationId xmlns:a16="http://schemas.microsoft.com/office/drawing/2014/main" id="{424E1FF1-6F0C-083C-FCC0-A12E7753A2AA}"/>
                  </a:ext>
                </a:extLst>
              </p:cNvPr>
              <p:cNvSpPr>
                <a:spLocks noChangeAspect="1"/>
              </p:cNvSpPr>
              <p:nvPr>
                <p:custDataLst>
                  <p:tags r:id="rId115"/>
                </p:custDataLst>
              </p:nvPr>
            </p:nvSpPr>
            <p:spPr>
              <a:xfrm>
                <a:off x="5341923" y="4537205"/>
                <a:ext cx="361943" cy="228808"/>
              </a:xfrm>
              <a:custGeom>
                <a:avLst/>
                <a:gdLst/>
                <a:ahLst/>
                <a:cxnLst/>
                <a:rect l="0" t="0" r="0" b="0"/>
                <a:pathLst>
                  <a:path w="371618" h="234924">
                    <a:moveTo>
                      <a:pt x="371617" y="156782"/>
                    </a:moveTo>
                    <a:lnTo>
                      <a:pt x="371234" y="157537"/>
                    </a:lnTo>
                    <a:lnTo>
                      <a:pt x="370372" y="157694"/>
                    </a:lnTo>
                    <a:lnTo>
                      <a:pt x="358198" y="154169"/>
                    </a:lnTo>
                    <a:lnTo>
                      <a:pt x="354537" y="155503"/>
                    </a:lnTo>
                    <a:lnTo>
                      <a:pt x="352105" y="158551"/>
                    </a:lnTo>
                    <a:lnTo>
                      <a:pt x="350305" y="166769"/>
                    </a:lnTo>
                    <a:lnTo>
                      <a:pt x="356070" y="173271"/>
                    </a:lnTo>
                    <a:lnTo>
                      <a:pt x="361890" y="174758"/>
                    </a:lnTo>
                    <a:lnTo>
                      <a:pt x="362682" y="178751"/>
                    </a:lnTo>
                    <a:lnTo>
                      <a:pt x="360619" y="181593"/>
                    </a:lnTo>
                    <a:lnTo>
                      <a:pt x="359122" y="179543"/>
                    </a:lnTo>
                    <a:lnTo>
                      <a:pt x="353431" y="186331"/>
                    </a:lnTo>
                    <a:lnTo>
                      <a:pt x="348950" y="188793"/>
                    </a:lnTo>
                    <a:lnTo>
                      <a:pt x="338660" y="183463"/>
                    </a:lnTo>
                    <a:lnTo>
                      <a:pt x="335478" y="183483"/>
                    </a:lnTo>
                    <a:lnTo>
                      <a:pt x="333172" y="186726"/>
                    </a:lnTo>
                    <a:lnTo>
                      <a:pt x="332850" y="191430"/>
                    </a:lnTo>
                    <a:lnTo>
                      <a:pt x="326442" y="188796"/>
                    </a:lnTo>
                    <a:lnTo>
                      <a:pt x="320881" y="191742"/>
                    </a:lnTo>
                    <a:lnTo>
                      <a:pt x="313857" y="189580"/>
                    </a:lnTo>
                    <a:lnTo>
                      <a:pt x="308102" y="192536"/>
                    </a:lnTo>
                    <a:lnTo>
                      <a:pt x="302679" y="189072"/>
                    </a:lnTo>
                    <a:lnTo>
                      <a:pt x="299847" y="189268"/>
                    </a:lnTo>
                    <a:lnTo>
                      <a:pt x="298850" y="191999"/>
                    </a:lnTo>
                    <a:lnTo>
                      <a:pt x="303482" y="196261"/>
                    </a:lnTo>
                    <a:lnTo>
                      <a:pt x="302857" y="197364"/>
                    </a:lnTo>
                    <a:lnTo>
                      <a:pt x="296156" y="198885"/>
                    </a:lnTo>
                    <a:lnTo>
                      <a:pt x="285284" y="205171"/>
                    </a:lnTo>
                    <a:lnTo>
                      <a:pt x="279710" y="217899"/>
                    </a:lnTo>
                    <a:lnTo>
                      <a:pt x="277088" y="220610"/>
                    </a:lnTo>
                    <a:lnTo>
                      <a:pt x="265682" y="222018"/>
                    </a:lnTo>
                    <a:lnTo>
                      <a:pt x="256977" y="230800"/>
                    </a:lnTo>
                    <a:lnTo>
                      <a:pt x="249632" y="233828"/>
                    </a:lnTo>
                    <a:lnTo>
                      <a:pt x="240015" y="233498"/>
                    </a:lnTo>
                    <a:lnTo>
                      <a:pt x="231124" y="230889"/>
                    </a:lnTo>
                    <a:lnTo>
                      <a:pt x="220184" y="231374"/>
                    </a:lnTo>
                    <a:lnTo>
                      <a:pt x="210153" y="228610"/>
                    </a:lnTo>
                    <a:lnTo>
                      <a:pt x="196119" y="234923"/>
                    </a:lnTo>
                    <a:lnTo>
                      <a:pt x="185830" y="227046"/>
                    </a:lnTo>
                    <a:lnTo>
                      <a:pt x="174172" y="227566"/>
                    </a:lnTo>
                    <a:lnTo>
                      <a:pt x="163732" y="223405"/>
                    </a:lnTo>
                    <a:lnTo>
                      <a:pt x="152419" y="229297"/>
                    </a:lnTo>
                    <a:lnTo>
                      <a:pt x="143997" y="230650"/>
                    </a:lnTo>
                    <a:lnTo>
                      <a:pt x="139721" y="227719"/>
                    </a:lnTo>
                    <a:lnTo>
                      <a:pt x="130258" y="227741"/>
                    </a:lnTo>
                    <a:lnTo>
                      <a:pt x="124607" y="224343"/>
                    </a:lnTo>
                    <a:lnTo>
                      <a:pt x="123463" y="219098"/>
                    </a:lnTo>
                    <a:lnTo>
                      <a:pt x="124418" y="216392"/>
                    </a:lnTo>
                    <a:lnTo>
                      <a:pt x="132995" y="209087"/>
                    </a:lnTo>
                    <a:lnTo>
                      <a:pt x="127983" y="208313"/>
                    </a:lnTo>
                    <a:lnTo>
                      <a:pt x="125049" y="205933"/>
                    </a:lnTo>
                    <a:lnTo>
                      <a:pt x="116409" y="209193"/>
                    </a:lnTo>
                    <a:lnTo>
                      <a:pt x="97615" y="207715"/>
                    </a:lnTo>
                    <a:lnTo>
                      <a:pt x="82474" y="214311"/>
                    </a:lnTo>
                    <a:lnTo>
                      <a:pt x="72063" y="214560"/>
                    </a:lnTo>
                    <a:lnTo>
                      <a:pt x="60154" y="206391"/>
                    </a:lnTo>
                    <a:lnTo>
                      <a:pt x="51764" y="195999"/>
                    </a:lnTo>
                    <a:lnTo>
                      <a:pt x="51168" y="193382"/>
                    </a:lnTo>
                    <a:lnTo>
                      <a:pt x="43029" y="188924"/>
                    </a:lnTo>
                    <a:lnTo>
                      <a:pt x="33162" y="190723"/>
                    </a:lnTo>
                    <a:lnTo>
                      <a:pt x="27867" y="195885"/>
                    </a:lnTo>
                    <a:lnTo>
                      <a:pt x="25796" y="195894"/>
                    </a:lnTo>
                    <a:lnTo>
                      <a:pt x="20973" y="188710"/>
                    </a:lnTo>
                    <a:lnTo>
                      <a:pt x="21255" y="185504"/>
                    </a:lnTo>
                    <a:lnTo>
                      <a:pt x="18166" y="183222"/>
                    </a:lnTo>
                    <a:lnTo>
                      <a:pt x="16635" y="175016"/>
                    </a:lnTo>
                    <a:lnTo>
                      <a:pt x="18626" y="168210"/>
                    </a:lnTo>
                    <a:lnTo>
                      <a:pt x="15881" y="163885"/>
                    </a:lnTo>
                    <a:lnTo>
                      <a:pt x="16218" y="159299"/>
                    </a:lnTo>
                    <a:lnTo>
                      <a:pt x="21719" y="154229"/>
                    </a:lnTo>
                    <a:lnTo>
                      <a:pt x="21901" y="152519"/>
                    </a:lnTo>
                    <a:lnTo>
                      <a:pt x="7168" y="142328"/>
                    </a:lnTo>
                    <a:lnTo>
                      <a:pt x="6914" y="139692"/>
                    </a:lnTo>
                    <a:lnTo>
                      <a:pt x="10702" y="134297"/>
                    </a:lnTo>
                    <a:lnTo>
                      <a:pt x="9522" y="130305"/>
                    </a:lnTo>
                    <a:lnTo>
                      <a:pt x="0" y="127313"/>
                    </a:lnTo>
                    <a:lnTo>
                      <a:pt x="2505" y="106465"/>
                    </a:lnTo>
                    <a:lnTo>
                      <a:pt x="8863" y="107166"/>
                    </a:lnTo>
                    <a:lnTo>
                      <a:pt x="25902" y="93002"/>
                    </a:lnTo>
                    <a:lnTo>
                      <a:pt x="26359" y="90635"/>
                    </a:lnTo>
                    <a:lnTo>
                      <a:pt x="22314" y="85755"/>
                    </a:lnTo>
                    <a:lnTo>
                      <a:pt x="25010" y="76162"/>
                    </a:lnTo>
                    <a:lnTo>
                      <a:pt x="25495" y="74446"/>
                    </a:lnTo>
                    <a:lnTo>
                      <a:pt x="25503" y="74418"/>
                    </a:lnTo>
                    <a:lnTo>
                      <a:pt x="27075" y="74103"/>
                    </a:lnTo>
                    <a:lnTo>
                      <a:pt x="36322" y="74531"/>
                    </a:lnTo>
                    <a:lnTo>
                      <a:pt x="40192" y="76520"/>
                    </a:lnTo>
                    <a:lnTo>
                      <a:pt x="47165" y="85487"/>
                    </a:lnTo>
                    <a:lnTo>
                      <a:pt x="50641" y="87074"/>
                    </a:lnTo>
                    <a:lnTo>
                      <a:pt x="50502" y="84466"/>
                    </a:lnTo>
                    <a:lnTo>
                      <a:pt x="48963" y="78570"/>
                    </a:lnTo>
                    <a:lnTo>
                      <a:pt x="53238" y="71191"/>
                    </a:lnTo>
                    <a:lnTo>
                      <a:pt x="58895" y="64047"/>
                    </a:lnTo>
                    <a:lnTo>
                      <a:pt x="61639" y="58789"/>
                    </a:lnTo>
                    <a:lnTo>
                      <a:pt x="62373" y="49436"/>
                    </a:lnTo>
                    <a:lnTo>
                      <a:pt x="64737" y="38997"/>
                    </a:lnTo>
                    <a:lnTo>
                      <a:pt x="67824" y="29467"/>
                    </a:lnTo>
                    <a:lnTo>
                      <a:pt x="70537" y="22792"/>
                    </a:lnTo>
                    <a:lnTo>
                      <a:pt x="78030" y="14041"/>
                    </a:lnTo>
                    <a:lnTo>
                      <a:pt x="89064" y="8045"/>
                    </a:lnTo>
                    <a:lnTo>
                      <a:pt x="101285" y="4916"/>
                    </a:lnTo>
                    <a:lnTo>
                      <a:pt x="112453" y="4736"/>
                    </a:lnTo>
                    <a:lnTo>
                      <a:pt x="110570" y="1995"/>
                    </a:lnTo>
                    <a:lnTo>
                      <a:pt x="115143" y="0"/>
                    </a:lnTo>
                    <a:lnTo>
                      <a:pt x="120277" y="913"/>
                    </a:lnTo>
                    <a:lnTo>
                      <a:pt x="125544" y="2799"/>
                    </a:lnTo>
                    <a:lnTo>
                      <a:pt x="130510" y="3673"/>
                    </a:lnTo>
                    <a:lnTo>
                      <a:pt x="150079" y="2498"/>
                    </a:lnTo>
                    <a:lnTo>
                      <a:pt x="159363" y="4332"/>
                    </a:lnTo>
                    <a:lnTo>
                      <a:pt x="170145" y="8840"/>
                    </a:lnTo>
                    <a:lnTo>
                      <a:pt x="181195" y="10896"/>
                    </a:lnTo>
                    <a:lnTo>
                      <a:pt x="191347" y="5412"/>
                    </a:lnTo>
                    <a:lnTo>
                      <a:pt x="188826" y="3811"/>
                    </a:lnTo>
                    <a:lnTo>
                      <a:pt x="186033" y="2942"/>
                    </a:lnTo>
                    <a:lnTo>
                      <a:pt x="183132" y="2766"/>
                    </a:lnTo>
                    <a:lnTo>
                      <a:pt x="180180" y="3262"/>
                    </a:lnTo>
                    <a:lnTo>
                      <a:pt x="180019" y="655"/>
                    </a:lnTo>
                    <a:lnTo>
                      <a:pt x="252011" y="13325"/>
                    </a:lnTo>
                    <a:lnTo>
                      <a:pt x="280868" y="25832"/>
                    </a:lnTo>
                    <a:lnTo>
                      <a:pt x="341078" y="65881"/>
                    </a:lnTo>
                    <a:lnTo>
                      <a:pt x="348344" y="73073"/>
                    </a:lnTo>
                    <a:lnTo>
                      <a:pt x="354480" y="82075"/>
                    </a:lnTo>
                    <a:lnTo>
                      <a:pt x="360117" y="99781"/>
                    </a:lnTo>
                    <a:lnTo>
                      <a:pt x="365150" y="110576"/>
                    </a:lnTo>
                    <a:lnTo>
                      <a:pt x="368991" y="121566"/>
                    </a:lnTo>
                    <a:lnTo>
                      <a:pt x="368072" y="129789"/>
                    </a:lnTo>
                    <a:lnTo>
                      <a:pt x="369909" y="135548"/>
                    </a:lnTo>
                    <a:lnTo>
                      <a:pt x="370888" y="14303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5" name="Freeform 145">
                <a:extLst>
                  <a:ext uri="{FF2B5EF4-FFF2-40B4-BE49-F238E27FC236}">
                    <a16:creationId xmlns:a16="http://schemas.microsoft.com/office/drawing/2014/main" id="{4EE7EB50-DDC2-D5F4-0FED-3FB5EE79C2AC}"/>
                  </a:ext>
                </a:extLst>
              </p:cNvPr>
              <p:cNvSpPr>
                <a:spLocks noChangeAspect="1"/>
              </p:cNvSpPr>
              <p:nvPr>
                <p:custDataLst>
                  <p:tags r:id="rId116"/>
                </p:custDataLst>
              </p:nvPr>
            </p:nvSpPr>
            <p:spPr>
              <a:xfrm>
                <a:off x="5284250" y="5325772"/>
                <a:ext cx="59704" cy="37659"/>
              </a:xfrm>
              <a:custGeom>
                <a:avLst/>
                <a:gdLst/>
                <a:ahLst/>
                <a:cxnLst/>
                <a:rect l="0" t="0" r="0" b="0"/>
                <a:pathLst>
                  <a:path w="61300" h="38666">
                    <a:moveTo>
                      <a:pt x="24305" y="4386"/>
                    </a:moveTo>
                    <a:lnTo>
                      <a:pt x="24314" y="3071"/>
                    </a:lnTo>
                    <a:lnTo>
                      <a:pt x="32308" y="9247"/>
                    </a:lnTo>
                    <a:lnTo>
                      <a:pt x="42918" y="15403"/>
                    </a:lnTo>
                    <a:lnTo>
                      <a:pt x="53647" y="23958"/>
                    </a:lnTo>
                    <a:lnTo>
                      <a:pt x="60257" y="34525"/>
                    </a:lnTo>
                    <a:lnTo>
                      <a:pt x="61299" y="38665"/>
                    </a:lnTo>
                    <a:lnTo>
                      <a:pt x="61296" y="38663"/>
                    </a:lnTo>
                    <a:lnTo>
                      <a:pt x="14494" y="23998"/>
                    </a:lnTo>
                    <a:lnTo>
                      <a:pt x="6509" y="23585"/>
                    </a:lnTo>
                    <a:lnTo>
                      <a:pt x="5857" y="23972"/>
                    </a:lnTo>
                    <a:lnTo>
                      <a:pt x="5852" y="23975"/>
                    </a:lnTo>
                    <a:lnTo>
                      <a:pt x="233" y="13985"/>
                    </a:lnTo>
                    <a:lnTo>
                      <a:pt x="0" y="9964"/>
                    </a:lnTo>
                    <a:lnTo>
                      <a:pt x="4022" y="6918"/>
                    </a:lnTo>
                    <a:lnTo>
                      <a:pt x="11698" y="7516"/>
                    </a:lnTo>
                    <a:lnTo>
                      <a:pt x="13822" y="2539"/>
                    </a:lnTo>
                    <a:lnTo>
                      <a:pt x="16660" y="175"/>
                    </a:lnTo>
                    <a:lnTo>
                      <a:pt x="18336" y="0"/>
                    </a:lnTo>
                    <a:lnTo>
                      <a:pt x="21399" y="398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6" name="Freeform 146">
                <a:extLst>
                  <a:ext uri="{FF2B5EF4-FFF2-40B4-BE49-F238E27FC236}">
                    <a16:creationId xmlns:a16="http://schemas.microsoft.com/office/drawing/2014/main" id="{F9D71E87-0BE4-DD1A-28C1-C6FF2ADBA1B4}"/>
                  </a:ext>
                </a:extLst>
              </p:cNvPr>
              <p:cNvSpPr>
                <a:spLocks noChangeAspect="1"/>
              </p:cNvSpPr>
              <p:nvPr>
                <p:custDataLst>
                  <p:tags r:id="rId117"/>
                </p:custDataLst>
              </p:nvPr>
            </p:nvSpPr>
            <p:spPr>
              <a:xfrm>
                <a:off x="5359470" y="5047223"/>
                <a:ext cx="44815" cy="54904"/>
              </a:xfrm>
              <a:custGeom>
                <a:avLst/>
                <a:gdLst/>
                <a:ahLst/>
                <a:cxnLst/>
                <a:rect l="0" t="0" r="0" b="0"/>
                <a:pathLst>
                  <a:path w="46013" h="56372">
                    <a:moveTo>
                      <a:pt x="41804" y="26058"/>
                    </a:moveTo>
                    <a:lnTo>
                      <a:pt x="46012" y="32713"/>
                    </a:lnTo>
                    <a:lnTo>
                      <a:pt x="32939" y="38405"/>
                    </a:lnTo>
                    <a:lnTo>
                      <a:pt x="31428" y="42419"/>
                    </a:lnTo>
                    <a:lnTo>
                      <a:pt x="25422" y="41448"/>
                    </a:lnTo>
                    <a:lnTo>
                      <a:pt x="24518" y="49579"/>
                    </a:lnTo>
                    <a:lnTo>
                      <a:pt x="20532" y="53541"/>
                    </a:lnTo>
                    <a:lnTo>
                      <a:pt x="16686" y="55677"/>
                    </a:lnTo>
                    <a:lnTo>
                      <a:pt x="12589" y="56371"/>
                    </a:lnTo>
                    <a:lnTo>
                      <a:pt x="12008" y="55966"/>
                    </a:lnTo>
                    <a:lnTo>
                      <a:pt x="6995" y="50252"/>
                    </a:lnTo>
                    <a:lnTo>
                      <a:pt x="6392" y="50016"/>
                    </a:lnTo>
                    <a:lnTo>
                      <a:pt x="6254" y="44024"/>
                    </a:lnTo>
                    <a:lnTo>
                      <a:pt x="6635" y="41910"/>
                    </a:lnTo>
                    <a:lnTo>
                      <a:pt x="6815" y="41456"/>
                    </a:lnTo>
                    <a:lnTo>
                      <a:pt x="6978" y="40410"/>
                    </a:lnTo>
                    <a:lnTo>
                      <a:pt x="11823" y="30883"/>
                    </a:lnTo>
                    <a:lnTo>
                      <a:pt x="11897" y="30405"/>
                    </a:lnTo>
                    <a:lnTo>
                      <a:pt x="11846" y="29142"/>
                    </a:lnTo>
                    <a:lnTo>
                      <a:pt x="11774" y="28928"/>
                    </a:lnTo>
                    <a:lnTo>
                      <a:pt x="11437" y="28352"/>
                    </a:lnTo>
                    <a:lnTo>
                      <a:pt x="10340" y="27064"/>
                    </a:lnTo>
                    <a:lnTo>
                      <a:pt x="10072" y="26485"/>
                    </a:lnTo>
                    <a:lnTo>
                      <a:pt x="10051" y="26327"/>
                    </a:lnTo>
                    <a:lnTo>
                      <a:pt x="10075" y="25457"/>
                    </a:lnTo>
                    <a:lnTo>
                      <a:pt x="10027" y="25222"/>
                    </a:lnTo>
                    <a:lnTo>
                      <a:pt x="9930" y="25010"/>
                    </a:lnTo>
                    <a:lnTo>
                      <a:pt x="9695" y="24726"/>
                    </a:lnTo>
                    <a:lnTo>
                      <a:pt x="9361" y="24575"/>
                    </a:lnTo>
                    <a:lnTo>
                      <a:pt x="9048" y="24591"/>
                    </a:lnTo>
                    <a:lnTo>
                      <a:pt x="5285" y="26789"/>
                    </a:lnTo>
                    <a:lnTo>
                      <a:pt x="4627" y="26782"/>
                    </a:lnTo>
                    <a:lnTo>
                      <a:pt x="4215" y="26527"/>
                    </a:lnTo>
                    <a:lnTo>
                      <a:pt x="3696" y="25980"/>
                    </a:lnTo>
                    <a:lnTo>
                      <a:pt x="2583" y="23743"/>
                    </a:lnTo>
                    <a:lnTo>
                      <a:pt x="1991" y="21599"/>
                    </a:lnTo>
                    <a:lnTo>
                      <a:pt x="650" y="19335"/>
                    </a:lnTo>
                    <a:lnTo>
                      <a:pt x="589" y="19100"/>
                    </a:lnTo>
                    <a:lnTo>
                      <a:pt x="537" y="18055"/>
                    </a:lnTo>
                    <a:lnTo>
                      <a:pt x="587" y="17560"/>
                    </a:lnTo>
                    <a:lnTo>
                      <a:pt x="843" y="16538"/>
                    </a:lnTo>
                    <a:lnTo>
                      <a:pt x="1281" y="12483"/>
                    </a:lnTo>
                    <a:lnTo>
                      <a:pt x="611" y="7142"/>
                    </a:lnTo>
                    <a:lnTo>
                      <a:pt x="0" y="5463"/>
                    </a:lnTo>
                    <a:lnTo>
                      <a:pt x="8543" y="4287"/>
                    </a:lnTo>
                    <a:lnTo>
                      <a:pt x="19420" y="0"/>
                    </a:lnTo>
                    <a:lnTo>
                      <a:pt x="23414" y="435"/>
                    </a:lnTo>
                    <a:lnTo>
                      <a:pt x="24335" y="4420"/>
                    </a:lnTo>
                    <a:lnTo>
                      <a:pt x="29397" y="13091"/>
                    </a:lnTo>
                    <a:lnTo>
                      <a:pt x="32878" y="16625"/>
                    </a:lnTo>
                    <a:lnTo>
                      <a:pt x="38645" y="18238"/>
                    </a:lnTo>
                    <a:lnTo>
                      <a:pt x="40807" y="244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7" name="Freeform 147">
                <a:extLst>
                  <a:ext uri="{FF2B5EF4-FFF2-40B4-BE49-F238E27FC236}">
                    <a16:creationId xmlns:a16="http://schemas.microsoft.com/office/drawing/2014/main" id="{D5FFE810-BC8F-19DB-7AFC-63F09873598D}"/>
                  </a:ext>
                </a:extLst>
              </p:cNvPr>
              <p:cNvSpPr>
                <a:spLocks noChangeAspect="1"/>
              </p:cNvSpPr>
              <p:nvPr>
                <p:custDataLst>
                  <p:tags r:id="rId118"/>
                </p:custDataLst>
              </p:nvPr>
            </p:nvSpPr>
            <p:spPr>
              <a:xfrm>
                <a:off x="5377824" y="5072489"/>
                <a:ext cx="75713" cy="41118"/>
              </a:xfrm>
              <a:custGeom>
                <a:avLst/>
                <a:gdLst/>
                <a:ahLst/>
                <a:cxnLst/>
                <a:rect l="0" t="0" r="0" b="0"/>
                <a:pathLst>
                  <a:path w="77737" h="42217">
                    <a:moveTo>
                      <a:pt x="77736" y="12507"/>
                    </a:moveTo>
                    <a:lnTo>
                      <a:pt x="72583" y="13107"/>
                    </a:lnTo>
                    <a:lnTo>
                      <a:pt x="56349" y="18350"/>
                    </a:lnTo>
                    <a:lnTo>
                      <a:pt x="55261" y="21198"/>
                    </a:lnTo>
                    <a:lnTo>
                      <a:pt x="54790" y="25068"/>
                    </a:lnTo>
                    <a:lnTo>
                      <a:pt x="53510" y="29420"/>
                    </a:lnTo>
                    <a:lnTo>
                      <a:pt x="50578" y="33377"/>
                    </a:lnTo>
                    <a:lnTo>
                      <a:pt x="47259" y="35552"/>
                    </a:lnTo>
                    <a:lnTo>
                      <a:pt x="43788" y="37078"/>
                    </a:lnTo>
                    <a:lnTo>
                      <a:pt x="40411" y="39285"/>
                    </a:lnTo>
                    <a:lnTo>
                      <a:pt x="40435" y="39279"/>
                    </a:lnTo>
                    <a:lnTo>
                      <a:pt x="40405" y="39294"/>
                    </a:lnTo>
                    <a:lnTo>
                      <a:pt x="36620" y="41158"/>
                    </a:lnTo>
                    <a:lnTo>
                      <a:pt x="33846" y="42216"/>
                    </a:lnTo>
                    <a:lnTo>
                      <a:pt x="29313" y="41568"/>
                    </a:lnTo>
                    <a:lnTo>
                      <a:pt x="27197" y="38697"/>
                    </a:lnTo>
                    <a:lnTo>
                      <a:pt x="25344" y="34801"/>
                    </a:lnTo>
                    <a:lnTo>
                      <a:pt x="21536" y="35023"/>
                    </a:lnTo>
                    <a:lnTo>
                      <a:pt x="14145" y="38081"/>
                    </a:lnTo>
                    <a:lnTo>
                      <a:pt x="1586" y="34148"/>
                    </a:lnTo>
                    <a:lnTo>
                      <a:pt x="0" y="31996"/>
                    </a:lnTo>
                    <a:lnTo>
                      <a:pt x="374" y="28913"/>
                    </a:lnTo>
                    <a:lnTo>
                      <a:pt x="1687" y="27600"/>
                    </a:lnTo>
                    <a:lnTo>
                      <a:pt x="5673" y="23638"/>
                    </a:lnTo>
                    <a:lnTo>
                      <a:pt x="6577" y="15507"/>
                    </a:lnTo>
                    <a:lnTo>
                      <a:pt x="12583" y="16478"/>
                    </a:lnTo>
                    <a:lnTo>
                      <a:pt x="14094" y="12464"/>
                    </a:lnTo>
                    <a:lnTo>
                      <a:pt x="27167" y="6772"/>
                    </a:lnTo>
                    <a:lnTo>
                      <a:pt x="22959" y="117"/>
                    </a:lnTo>
                    <a:lnTo>
                      <a:pt x="31451" y="0"/>
                    </a:lnTo>
                    <a:lnTo>
                      <a:pt x="48556" y="2633"/>
                    </a:lnTo>
                    <a:lnTo>
                      <a:pt x="61530" y="3701"/>
                    </a:lnTo>
                    <a:lnTo>
                      <a:pt x="72763" y="6634"/>
                    </a:lnTo>
                    <a:lnTo>
                      <a:pt x="76909" y="818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8" name="Freeform 148">
                <a:extLst>
                  <a:ext uri="{FF2B5EF4-FFF2-40B4-BE49-F238E27FC236}">
                    <a16:creationId xmlns:a16="http://schemas.microsoft.com/office/drawing/2014/main" id="{D5FDA730-2288-D6F9-B644-9DFC4344100B}"/>
                  </a:ext>
                </a:extLst>
              </p:cNvPr>
              <p:cNvSpPr>
                <a:spLocks noChangeAspect="1"/>
              </p:cNvSpPr>
              <p:nvPr>
                <p:custDataLst>
                  <p:tags r:id="rId119"/>
                </p:custDataLst>
              </p:nvPr>
            </p:nvSpPr>
            <p:spPr>
              <a:xfrm>
                <a:off x="5307931" y="5228612"/>
                <a:ext cx="233840" cy="146324"/>
              </a:xfrm>
              <a:custGeom>
                <a:avLst/>
                <a:gdLst/>
                <a:ahLst/>
                <a:cxnLst/>
                <a:rect l="0" t="0" r="0" b="0"/>
                <a:pathLst>
                  <a:path w="240091" h="150235">
                    <a:moveTo>
                      <a:pt x="60546" y="12295"/>
                    </a:moveTo>
                    <a:lnTo>
                      <a:pt x="79733" y="7393"/>
                    </a:lnTo>
                    <a:lnTo>
                      <a:pt x="90870" y="11281"/>
                    </a:lnTo>
                    <a:lnTo>
                      <a:pt x="106122" y="6762"/>
                    </a:lnTo>
                    <a:lnTo>
                      <a:pt x="107107" y="7560"/>
                    </a:lnTo>
                    <a:lnTo>
                      <a:pt x="107383" y="11676"/>
                    </a:lnTo>
                    <a:lnTo>
                      <a:pt x="113154" y="13502"/>
                    </a:lnTo>
                    <a:lnTo>
                      <a:pt x="113044" y="19242"/>
                    </a:lnTo>
                    <a:lnTo>
                      <a:pt x="118782" y="17766"/>
                    </a:lnTo>
                    <a:lnTo>
                      <a:pt x="123604" y="20373"/>
                    </a:lnTo>
                    <a:lnTo>
                      <a:pt x="127652" y="26527"/>
                    </a:lnTo>
                    <a:lnTo>
                      <a:pt x="141956" y="32436"/>
                    </a:lnTo>
                    <a:lnTo>
                      <a:pt x="143507" y="39052"/>
                    </a:lnTo>
                    <a:lnTo>
                      <a:pt x="157500" y="42841"/>
                    </a:lnTo>
                    <a:lnTo>
                      <a:pt x="165752" y="49394"/>
                    </a:lnTo>
                    <a:lnTo>
                      <a:pt x="186678" y="42881"/>
                    </a:lnTo>
                    <a:lnTo>
                      <a:pt x="190888" y="44239"/>
                    </a:lnTo>
                    <a:lnTo>
                      <a:pt x="196133" y="49351"/>
                    </a:lnTo>
                    <a:lnTo>
                      <a:pt x="212306" y="47767"/>
                    </a:lnTo>
                    <a:lnTo>
                      <a:pt x="218113" y="50823"/>
                    </a:lnTo>
                    <a:lnTo>
                      <a:pt x="227365" y="67157"/>
                    </a:lnTo>
                    <a:lnTo>
                      <a:pt x="231261" y="67258"/>
                    </a:lnTo>
                    <a:lnTo>
                      <a:pt x="233981" y="64326"/>
                    </a:lnTo>
                    <a:lnTo>
                      <a:pt x="238330" y="66613"/>
                    </a:lnTo>
                    <a:lnTo>
                      <a:pt x="240090" y="71490"/>
                    </a:lnTo>
                    <a:lnTo>
                      <a:pt x="239503" y="73695"/>
                    </a:lnTo>
                    <a:lnTo>
                      <a:pt x="222952" y="69308"/>
                    </a:lnTo>
                    <a:lnTo>
                      <a:pt x="213565" y="73043"/>
                    </a:lnTo>
                    <a:lnTo>
                      <a:pt x="191279" y="97527"/>
                    </a:lnTo>
                    <a:lnTo>
                      <a:pt x="181843" y="102506"/>
                    </a:lnTo>
                    <a:lnTo>
                      <a:pt x="130217" y="116621"/>
                    </a:lnTo>
                    <a:lnTo>
                      <a:pt x="121459" y="121123"/>
                    </a:lnTo>
                    <a:lnTo>
                      <a:pt x="120238" y="121111"/>
                    </a:lnTo>
                    <a:lnTo>
                      <a:pt x="117774" y="124822"/>
                    </a:lnTo>
                    <a:lnTo>
                      <a:pt x="115608" y="128985"/>
                    </a:lnTo>
                    <a:lnTo>
                      <a:pt x="115174" y="130502"/>
                    </a:lnTo>
                    <a:lnTo>
                      <a:pt x="107204" y="136355"/>
                    </a:lnTo>
                    <a:lnTo>
                      <a:pt x="98897" y="149629"/>
                    </a:lnTo>
                    <a:lnTo>
                      <a:pt x="89938" y="150234"/>
                    </a:lnTo>
                    <a:lnTo>
                      <a:pt x="85124" y="149751"/>
                    </a:lnTo>
                    <a:lnTo>
                      <a:pt x="73850" y="146157"/>
                    </a:lnTo>
                    <a:lnTo>
                      <a:pt x="71193" y="145825"/>
                    </a:lnTo>
                    <a:lnTo>
                      <a:pt x="62667" y="146347"/>
                    </a:lnTo>
                    <a:lnTo>
                      <a:pt x="60423" y="145185"/>
                    </a:lnTo>
                    <a:lnTo>
                      <a:pt x="55995" y="141235"/>
                    </a:lnTo>
                    <a:lnTo>
                      <a:pt x="51452" y="139951"/>
                    </a:lnTo>
                    <a:lnTo>
                      <a:pt x="41150" y="139711"/>
                    </a:lnTo>
                    <a:lnTo>
                      <a:pt x="36985" y="138422"/>
                    </a:lnTo>
                    <a:lnTo>
                      <a:pt x="35943" y="134282"/>
                    </a:lnTo>
                    <a:lnTo>
                      <a:pt x="29333" y="123715"/>
                    </a:lnTo>
                    <a:lnTo>
                      <a:pt x="18604" y="115160"/>
                    </a:lnTo>
                    <a:lnTo>
                      <a:pt x="7994" y="109004"/>
                    </a:lnTo>
                    <a:lnTo>
                      <a:pt x="0" y="102828"/>
                    </a:lnTo>
                    <a:lnTo>
                      <a:pt x="29" y="99882"/>
                    </a:lnTo>
                    <a:lnTo>
                      <a:pt x="67" y="95644"/>
                    </a:lnTo>
                    <a:lnTo>
                      <a:pt x="2037" y="85771"/>
                    </a:lnTo>
                    <a:lnTo>
                      <a:pt x="7191" y="76934"/>
                    </a:lnTo>
                    <a:lnTo>
                      <a:pt x="4025" y="69120"/>
                    </a:lnTo>
                    <a:lnTo>
                      <a:pt x="12764" y="59895"/>
                    </a:lnTo>
                    <a:lnTo>
                      <a:pt x="14367" y="59819"/>
                    </a:lnTo>
                    <a:lnTo>
                      <a:pt x="18594" y="64399"/>
                    </a:lnTo>
                    <a:lnTo>
                      <a:pt x="25382" y="63639"/>
                    </a:lnTo>
                    <a:lnTo>
                      <a:pt x="26782" y="59125"/>
                    </a:lnTo>
                    <a:lnTo>
                      <a:pt x="26865" y="48066"/>
                    </a:lnTo>
                    <a:lnTo>
                      <a:pt x="28292" y="44173"/>
                    </a:lnTo>
                    <a:lnTo>
                      <a:pt x="32557" y="37070"/>
                    </a:lnTo>
                    <a:lnTo>
                      <a:pt x="31196" y="35120"/>
                    </a:lnTo>
                    <a:lnTo>
                      <a:pt x="27858" y="34986"/>
                    </a:lnTo>
                    <a:lnTo>
                      <a:pt x="26277" y="29925"/>
                    </a:lnTo>
                    <a:lnTo>
                      <a:pt x="20539" y="27336"/>
                    </a:lnTo>
                    <a:lnTo>
                      <a:pt x="22171" y="22278"/>
                    </a:lnTo>
                    <a:lnTo>
                      <a:pt x="27213" y="21323"/>
                    </a:lnTo>
                    <a:lnTo>
                      <a:pt x="30631" y="19004"/>
                    </a:lnTo>
                    <a:lnTo>
                      <a:pt x="31016" y="14301"/>
                    </a:lnTo>
                    <a:lnTo>
                      <a:pt x="35654" y="13660"/>
                    </a:lnTo>
                    <a:lnTo>
                      <a:pt x="31542" y="4474"/>
                    </a:lnTo>
                    <a:lnTo>
                      <a:pt x="41459" y="3988"/>
                    </a:lnTo>
                    <a:lnTo>
                      <a:pt x="49566" y="3290"/>
                    </a:lnTo>
                    <a:lnTo>
                      <a:pt x="58018" y="0"/>
                    </a:lnTo>
                    <a:lnTo>
                      <a:pt x="63338" y="158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89" name="Freeform 149">
                <a:extLst>
                  <a:ext uri="{FF2B5EF4-FFF2-40B4-BE49-F238E27FC236}">
                    <a16:creationId xmlns:a16="http://schemas.microsoft.com/office/drawing/2014/main" id="{B59D0C62-9408-E6C3-49B8-51971C63E967}"/>
                  </a:ext>
                </a:extLst>
              </p:cNvPr>
              <p:cNvSpPr>
                <a:spLocks noChangeAspect="1"/>
              </p:cNvSpPr>
              <p:nvPr>
                <p:custDataLst>
                  <p:tags r:id="rId120"/>
                </p:custDataLst>
              </p:nvPr>
            </p:nvSpPr>
            <p:spPr>
              <a:xfrm>
                <a:off x="5433429" y="5094505"/>
                <a:ext cx="62323" cy="65951"/>
              </a:xfrm>
              <a:custGeom>
                <a:avLst/>
                <a:gdLst/>
                <a:ahLst/>
                <a:cxnLst/>
                <a:rect l="0" t="0" r="0" b="0"/>
                <a:pathLst>
                  <a:path w="63989" h="67714">
                    <a:moveTo>
                      <a:pt x="52322" y="36558"/>
                    </a:moveTo>
                    <a:lnTo>
                      <a:pt x="52320" y="36572"/>
                    </a:lnTo>
                    <a:lnTo>
                      <a:pt x="52036" y="39397"/>
                    </a:lnTo>
                    <a:lnTo>
                      <a:pt x="51110" y="43108"/>
                    </a:lnTo>
                    <a:lnTo>
                      <a:pt x="48586" y="57491"/>
                    </a:lnTo>
                    <a:lnTo>
                      <a:pt x="42937" y="62561"/>
                    </a:lnTo>
                    <a:lnTo>
                      <a:pt x="35806" y="67713"/>
                    </a:lnTo>
                    <a:lnTo>
                      <a:pt x="28823" y="62178"/>
                    </a:lnTo>
                    <a:lnTo>
                      <a:pt x="21474" y="56660"/>
                    </a:lnTo>
                    <a:lnTo>
                      <a:pt x="14356" y="55278"/>
                    </a:lnTo>
                    <a:lnTo>
                      <a:pt x="10355" y="56687"/>
                    </a:lnTo>
                    <a:lnTo>
                      <a:pt x="6417" y="59276"/>
                    </a:lnTo>
                    <a:lnTo>
                      <a:pt x="3849" y="60012"/>
                    </a:lnTo>
                    <a:lnTo>
                      <a:pt x="496" y="59602"/>
                    </a:lnTo>
                    <a:lnTo>
                      <a:pt x="0" y="57258"/>
                    </a:lnTo>
                    <a:lnTo>
                      <a:pt x="2206" y="50019"/>
                    </a:lnTo>
                    <a:lnTo>
                      <a:pt x="9025" y="38968"/>
                    </a:lnTo>
                    <a:lnTo>
                      <a:pt x="12861" y="34602"/>
                    </a:lnTo>
                    <a:lnTo>
                      <a:pt x="14191" y="25039"/>
                    </a:lnTo>
                    <a:lnTo>
                      <a:pt x="12522" y="21572"/>
                    </a:lnTo>
                    <a:lnTo>
                      <a:pt x="7696" y="21248"/>
                    </a:lnTo>
                    <a:lnTo>
                      <a:pt x="5997" y="17189"/>
                    </a:lnTo>
                    <a:lnTo>
                      <a:pt x="6446" y="11826"/>
                    </a:lnTo>
                    <a:lnTo>
                      <a:pt x="9779" y="5117"/>
                    </a:lnTo>
                    <a:lnTo>
                      <a:pt x="11802" y="2899"/>
                    </a:lnTo>
                    <a:lnTo>
                      <a:pt x="12557" y="2738"/>
                    </a:lnTo>
                    <a:lnTo>
                      <a:pt x="12828" y="1843"/>
                    </a:lnTo>
                    <a:lnTo>
                      <a:pt x="12831" y="1836"/>
                    </a:lnTo>
                    <a:lnTo>
                      <a:pt x="18260" y="0"/>
                    </a:lnTo>
                    <a:lnTo>
                      <a:pt x="56593" y="3411"/>
                    </a:lnTo>
                    <a:lnTo>
                      <a:pt x="60216" y="5690"/>
                    </a:lnTo>
                    <a:lnTo>
                      <a:pt x="63488" y="10949"/>
                    </a:lnTo>
                    <a:lnTo>
                      <a:pt x="63988" y="14578"/>
                    </a:lnTo>
                    <a:lnTo>
                      <a:pt x="61727" y="16812"/>
                    </a:lnTo>
                    <a:lnTo>
                      <a:pt x="56829" y="17753"/>
                    </a:lnTo>
                    <a:lnTo>
                      <a:pt x="48184" y="16339"/>
                    </a:lnTo>
                    <a:lnTo>
                      <a:pt x="44495" y="16692"/>
                    </a:lnTo>
                    <a:lnTo>
                      <a:pt x="37391" y="24386"/>
                    </a:lnTo>
                    <a:lnTo>
                      <a:pt x="28794" y="26993"/>
                    </a:lnTo>
                    <a:lnTo>
                      <a:pt x="24611" y="30062"/>
                    </a:lnTo>
                    <a:lnTo>
                      <a:pt x="26569" y="32100"/>
                    </a:lnTo>
                    <a:lnTo>
                      <a:pt x="28343" y="34662"/>
                    </a:lnTo>
                    <a:lnTo>
                      <a:pt x="30233" y="36844"/>
                    </a:lnTo>
                    <a:lnTo>
                      <a:pt x="32535" y="3769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0" name="Freeform 150">
                <a:extLst>
                  <a:ext uri="{FF2B5EF4-FFF2-40B4-BE49-F238E27FC236}">
                    <a16:creationId xmlns:a16="http://schemas.microsoft.com/office/drawing/2014/main" id="{7484D75C-0C3A-093E-8FFB-6F5ABA4B4756}"/>
                  </a:ext>
                </a:extLst>
              </p:cNvPr>
              <p:cNvSpPr>
                <a:spLocks noChangeAspect="1"/>
              </p:cNvSpPr>
              <p:nvPr>
                <p:custDataLst>
                  <p:tags r:id="rId121"/>
                </p:custDataLst>
              </p:nvPr>
            </p:nvSpPr>
            <p:spPr>
              <a:xfrm>
                <a:off x="5473231" y="5060737"/>
                <a:ext cx="44788" cy="17021"/>
              </a:xfrm>
              <a:custGeom>
                <a:avLst/>
                <a:gdLst/>
                <a:ahLst/>
                <a:cxnLst/>
                <a:rect l="0" t="0" r="0" b="0"/>
                <a:pathLst>
                  <a:path w="45985" h="17476">
                    <a:moveTo>
                      <a:pt x="45984" y="11485"/>
                    </a:moveTo>
                    <a:lnTo>
                      <a:pt x="43235" y="13438"/>
                    </a:lnTo>
                    <a:lnTo>
                      <a:pt x="32753" y="17475"/>
                    </a:lnTo>
                    <a:lnTo>
                      <a:pt x="13781" y="15508"/>
                    </a:lnTo>
                    <a:lnTo>
                      <a:pt x="7241" y="16372"/>
                    </a:lnTo>
                    <a:lnTo>
                      <a:pt x="7076" y="16195"/>
                    </a:lnTo>
                    <a:lnTo>
                      <a:pt x="3942" y="16282"/>
                    </a:lnTo>
                    <a:lnTo>
                      <a:pt x="3025" y="16506"/>
                    </a:lnTo>
                    <a:lnTo>
                      <a:pt x="2589" y="15994"/>
                    </a:lnTo>
                    <a:lnTo>
                      <a:pt x="0" y="13711"/>
                    </a:lnTo>
                    <a:lnTo>
                      <a:pt x="2743" y="3468"/>
                    </a:lnTo>
                    <a:lnTo>
                      <a:pt x="11399" y="0"/>
                    </a:lnTo>
                    <a:lnTo>
                      <a:pt x="19657" y="2484"/>
                    </a:lnTo>
                    <a:lnTo>
                      <a:pt x="27882" y="4371"/>
                    </a:lnTo>
                    <a:lnTo>
                      <a:pt x="44041" y="9339"/>
                    </a:lnTo>
                    <a:lnTo>
                      <a:pt x="45899" y="1120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1" name="Freeform 151">
                <a:extLst>
                  <a:ext uri="{FF2B5EF4-FFF2-40B4-BE49-F238E27FC236}">
                    <a16:creationId xmlns:a16="http://schemas.microsoft.com/office/drawing/2014/main" id="{19868B60-7FC6-226D-0C5E-0E9EF2A09E7C}"/>
                  </a:ext>
                </a:extLst>
              </p:cNvPr>
              <p:cNvSpPr>
                <a:spLocks noChangeAspect="1"/>
              </p:cNvSpPr>
              <p:nvPr>
                <p:custDataLst>
                  <p:tags r:id="rId122"/>
                </p:custDataLst>
              </p:nvPr>
            </p:nvSpPr>
            <p:spPr>
              <a:xfrm>
                <a:off x="4532128" y="2191827"/>
                <a:ext cx="198004" cy="234362"/>
              </a:xfrm>
              <a:custGeom>
                <a:avLst/>
                <a:gdLst/>
                <a:ahLst/>
                <a:cxnLst/>
                <a:rect l="l" t="t" r="r" b="b"/>
                <a:pathLst>
                  <a:path w="203297" h="240627">
                    <a:moveTo>
                      <a:pt x="95032" y="198905"/>
                    </a:moveTo>
                    <a:lnTo>
                      <a:pt x="104133" y="199569"/>
                    </a:lnTo>
                    <a:lnTo>
                      <a:pt x="108764" y="201788"/>
                    </a:lnTo>
                    <a:lnTo>
                      <a:pt x="108463" y="206422"/>
                    </a:lnTo>
                    <a:lnTo>
                      <a:pt x="102909" y="210115"/>
                    </a:lnTo>
                    <a:lnTo>
                      <a:pt x="101761" y="211662"/>
                    </a:lnTo>
                    <a:lnTo>
                      <a:pt x="101448" y="215083"/>
                    </a:lnTo>
                    <a:lnTo>
                      <a:pt x="102531" y="217686"/>
                    </a:lnTo>
                    <a:lnTo>
                      <a:pt x="102903" y="219905"/>
                    </a:lnTo>
                    <a:lnTo>
                      <a:pt x="100468" y="222114"/>
                    </a:lnTo>
                    <a:lnTo>
                      <a:pt x="102686" y="228578"/>
                    </a:lnTo>
                    <a:lnTo>
                      <a:pt x="103588" y="233716"/>
                    </a:lnTo>
                    <a:lnTo>
                      <a:pt x="102270" y="237673"/>
                    </a:lnTo>
                    <a:lnTo>
                      <a:pt x="97907" y="240627"/>
                    </a:lnTo>
                    <a:lnTo>
                      <a:pt x="88346" y="230495"/>
                    </a:lnTo>
                    <a:lnTo>
                      <a:pt x="88327" y="227651"/>
                    </a:lnTo>
                    <a:lnTo>
                      <a:pt x="90971" y="224883"/>
                    </a:lnTo>
                    <a:lnTo>
                      <a:pt x="88853" y="219148"/>
                    </a:lnTo>
                    <a:lnTo>
                      <a:pt x="82683" y="209426"/>
                    </a:lnTo>
                    <a:lnTo>
                      <a:pt x="85030" y="211121"/>
                    </a:lnTo>
                    <a:lnTo>
                      <a:pt x="87523" y="211697"/>
                    </a:lnTo>
                    <a:lnTo>
                      <a:pt x="89985" y="211090"/>
                    </a:lnTo>
                    <a:lnTo>
                      <a:pt x="92285" y="209366"/>
                    </a:lnTo>
                    <a:lnTo>
                      <a:pt x="92266" y="206538"/>
                    </a:lnTo>
                    <a:lnTo>
                      <a:pt x="78735" y="206621"/>
                    </a:lnTo>
                    <a:lnTo>
                      <a:pt x="78721" y="204228"/>
                    </a:lnTo>
                    <a:lnTo>
                      <a:pt x="86334" y="200763"/>
                    </a:lnTo>
                    <a:close/>
                    <a:moveTo>
                      <a:pt x="18984" y="165336"/>
                    </a:moveTo>
                    <a:lnTo>
                      <a:pt x="22006" y="167258"/>
                    </a:lnTo>
                    <a:lnTo>
                      <a:pt x="28781" y="174006"/>
                    </a:lnTo>
                    <a:lnTo>
                      <a:pt x="33155" y="175489"/>
                    </a:lnTo>
                    <a:lnTo>
                      <a:pt x="36986" y="177717"/>
                    </a:lnTo>
                    <a:lnTo>
                      <a:pt x="47490" y="193956"/>
                    </a:lnTo>
                    <a:lnTo>
                      <a:pt x="44689" y="196328"/>
                    </a:lnTo>
                    <a:lnTo>
                      <a:pt x="44698" y="199156"/>
                    </a:lnTo>
                    <a:lnTo>
                      <a:pt x="47041" y="199365"/>
                    </a:lnTo>
                    <a:lnTo>
                      <a:pt x="48687" y="200478"/>
                    </a:lnTo>
                    <a:lnTo>
                      <a:pt x="51576" y="204354"/>
                    </a:lnTo>
                    <a:lnTo>
                      <a:pt x="51585" y="206747"/>
                    </a:lnTo>
                    <a:lnTo>
                      <a:pt x="47809" y="207288"/>
                    </a:lnTo>
                    <a:lnTo>
                      <a:pt x="43126" y="208981"/>
                    </a:lnTo>
                    <a:lnTo>
                      <a:pt x="38939" y="212256"/>
                    </a:lnTo>
                    <a:lnTo>
                      <a:pt x="36631" y="217437"/>
                    </a:lnTo>
                    <a:lnTo>
                      <a:pt x="42555" y="217002"/>
                    </a:lnTo>
                    <a:lnTo>
                      <a:pt x="54092" y="211337"/>
                    </a:lnTo>
                    <a:lnTo>
                      <a:pt x="59726" y="211905"/>
                    </a:lnTo>
                    <a:lnTo>
                      <a:pt x="54881" y="219446"/>
                    </a:lnTo>
                    <a:lnTo>
                      <a:pt x="45063" y="222434"/>
                    </a:lnTo>
                    <a:lnTo>
                      <a:pt x="26557" y="222448"/>
                    </a:lnTo>
                    <a:lnTo>
                      <a:pt x="25570" y="220647"/>
                    </a:lnTo>
                    <a:lnTo>
                      <a:pt x="21750" y="210847"/>
                    </a:lnTo>
                    <a:lnTo>
                      <a:pt x="20891" y="207492"/>
                    </a:lnTo>
                    <a:lnTo>
                      <a:pt x="18939" y="205350"/>
                    </a:lnTo>
                    <a:lnTo>
                      <a:pt x="16650" y="203628"/>
                    </a:lnTo>
                    <a:lnTo>
                      <a:pt x="14852" y="201827"/>
                    </a:lnTo>
                    <a:lnTo>
                      <a:pt x="10789" y="194029"/>
                    </a:lnTo>
                    <a:lnTo>
                      <a:pt x="10570" y="191855"/>
                    </a:lnTo>
                    <a:lnTo>
                      <a:pt x="11341" y="190206"/>
                    </a:lnTo>
                    <a:lnTo>
                      <a:pt x="11823" y="188528"/>
                    </a:lnTo>
                    <a:lnTo>
                      <a:pt x="10784" y="186198"/>
                    </a:lnTo>
                    <a:lnTo>
                      <a:pt x="9408" y="185701"/>
                    </a:lnTo>
                    <a:lnTo>
                      <a:pt x="7061" y="187940"/>
                    </a:lnTo>
                    <a:lnTo>
                      <a:pt x="6128" y="187505"/>
                    </a:lnTo>
                    <a:lnTo>
                      <a:pt x="4221" y="185859"/>
                    </a:lnTo>
                    <a:lnTo>
                      <a:pt x="2203" y="186233"/>
                    </a:lnTo>
                    <a:lnTo>
                      <a:pt x="627" y="185921"/>
                    </a:lnTo>
                    <a:lnTo>
                      <a:pt x="0" y="182051"/>
                    </a:lnTo>
                    <a:lnTo>
                      <a:pt x="2942" y="174592"/>
                    </a:lnTo>
                    <a:lnTo>
                      <a:pt x="3359" y="173147"/>
                    </a:lnTo>
                    <a:lnTo>
                      <a:pt x="7921" y="168577"/>
                    </a:lnTo>
                    <a:lnTo>
                      <a:pt x="16575" y="165401"/>
                    </a:lnTo>
                    <a:close/>
                    <a:moveTo>
                      <a:pt x="39675" y="81384"/>
                    </a:moveTo>
                    <a:lnTo>
                      <a:pt x="49155" y="81835"/>
                    </a:lnTo>
                    <a:lnTo>
                      <a:pt x="54373" y="83697"/>
                    </a:lnTo>
                    <a:lnTo>
                      <a:pt x="61187" y="90645"/>
                    </a:lnTo>
                    <a:lnTo>
                      <a:pt x="63789" y="90540"/>
                    </a:lnTo>
                    <a:lnTo>
                      <a:pt x="66211" y="89333"/>
                    </a:lnTo>
                    <a:lnTo>
                      <a:pt x="68445" y="89073"/>
                    </a:lnTo>
                    <a:lnTo>
                      <a:pt x="70481" y="90679"/>
                    </a:lnTo>
                    <a:lnTo>
                      <a:pt x="73596" y="95246"/>
                    </a:lnTo>
                    <a:lnTo>
                      <a:pt x="75425" y="96635"/>
                    </a:lnTo>
                    <a:lnTo>
                      <a:pt x="72618" y="98981"/>
                    </a:lnTo>
                    <a:lnTo>
                      <a:pt x="71293" y="99267"/>
                    </a:lnTo>
                    <a:lnTo>
                      <a:pt x="75024" y="103490"/>
                    </a:lnTo>
                    <a:lnTo>
                      <a:pt x="86245" y="109857"/>
                    </a:lnTo>
                    <a:lnTo>
                      <a:pt x="84802" y="110458"/>
                    </a:lnTo>
                    <a:lnTo>
                      <a:pt x="84190" y="111036"/>
                    </a:lnTo>
                    <a:lnTo>
                      <a:pt x="83575" y="112454"/>
                    </a:lnTo>
                    <a:lnTo>
                      <a:pt x="84444" y="113257"/>
                    </a:lnTo>
                    <a:lnTo>
                      <a:pt x="85386" y="114370"/>
                    </a:lnTo>
                    <a:lnTo>
                      <a:pt x="86278" y="115048"/>
                    </a:lnTo>
                    <a:lnTo>
                      <a:pt x="74666" y="119870"/>
                    </a:lnTo>
                    <a:lnTo>
                      <a:pt x="72869" y="119040"/>
                    </a:lnTo>
                    <a:lnTo>
                      <a:pt x="71253" y="125172"/>
                    </a:lnTo>
                    <a:lnTo>
                      <a:pt x="67399" y="130800"/>
                    </a:lnTo>
                    <a:lnTo>
                      <a:pt x="62892" y="134846"/>
                    </a:lnTo>
                    <a:lnTo>
                      <a:pt x="59397" y="136057"/>
                    </a:lnTo>
                    <a:lnTo>
                      <a:pt x="62365" y="138671"/>
                    </a:lnTo>
                    <a:lnTo>
                      <a:pt x="66187" y="140238"/>
                    </a:lnTo>
                    <a:lnTo>
                      <a:pt x="73597" y="141210"/>
                    </a:lnTo>
                    <a:lnTo>
                      <a:pt x="76565" y="138677"/>
                    </a:lnTo>
                    <a:lnTo>
                      <a:pt x="79566" y="133952"/>
                    </a:lnTo>
                    <a:lnTo>
                      <a:pt x="82946" y="131228"/>
                    </a:lnTo>
                    <a:lnTo>
                      <a:pt x="90377" y="138175"/>
                    </a:lnTo>
                    <a:lnTo>
                      <a:pt x="93143" y="137364"/>
                    </a:lnTo>
                    <a:lnTo>
                      <a:pt x="95730" y="134907"/>
                    </a:lnTo>
                    <a:lnTo>
                      <a:pt x="98484" y="133458"/>
                    </a:lnTo>
                    <a:lnTo>
                      <a:pt x="101606" y="135393"/>
                    </a:lnTo>
                    <a:lnTo>
                      <a:pt x="103749" y="139045"/>
                    </a:lnTo>
                    <a:lnTo>
                      <a:pt x="105970" y="141141"/>
                    </a:lnTo>
                    <a:lnTo>
                      <a:pt x="109290" y="138364"/>
                    </a:lnTo>
                    <a:lnTo>
                      <a:pt x="108887" y="140139"/>
                    </a:lnTo>
                    <a:lnTo>
                      <a:pt x="108346" y="144604"/>
                    </a:lnTo>
                    <a:lnTo>
                      <a:pt x="107984" y="146440"/>
                    </a:lnTo>
                    <a:lnTo>
                      <a:pt x="112056" y="147279"/>
                    </a:lnTo>
                    <a:lnTo>
                      <a:pt x="115406" y="145168"/>
                    </a:lnTo>
                    <a:lnTo>
                      <a:pt x="118628" y="142313"/>
                    </a:lnTo>
                    <a:lnTo>
                      <a:pt x="122198" y="140867"/>
                    </a:lnTo>
                    <a:lnTo>
                      <a:pt x="126691" y="140500"/>
                    </a:lnTo>
                    <a:lnTo>
                      <a:pt x="128574" y="141229"/>
                    </a:lnTo>
                    <a:lnTo>
                      <a:pt x="129631" y="143643"/>
                    </a:lnTo>
                    <a:lnTo>
                      <a:pt x="128385" y="147477"/>
                    </a:lnTo>
                    <a:lnTo>
                      <a:pt x="120435" y="153423"/>
                    </a:lnTo>
                    <a:lnTo>
                      <a:pt x="117494" y="156572"/>
                    </a:lnTo>
                    <a:lnTo>
                      <a:pt x="119768" y="161510"/>
                    </a:lnTo>
                    <a:lnTo>
                      <a:pt x="122622" y="164639"/>
                    </a:lnTo>
                    <a:lnTo>
                      <a:pt x="126014" y="165774"/>
                    </a:lnTo>
                    <a:lnTo>
                      <a:pt x="129834" y="164745"/>
                    </a:lnTo>
                    <a:lnTo>
                      <a:pt x="126988" y="156674"/>
                    </a:lnTo>
                    <a:lnTo>
                      <a:pt x="125672" y="154092"/>
                    </a:lnTo>
                    <a:lnTo>
                      <a:pt x="129295" y="153748"/>
                    </a:lnTo>
                    <a:lnTo>
                      <a:pt x="135860" y="149224"/>
                    </a:lnTo>
                    <a:lnTo>
                      <a:pt x="139086" y="148539"/>
                    </a:lnTo>
                    <a:lnTo>
                      <a:pt x="141868" y="150049"/>
                    </a:lnTo>
                    <a:lnTo>
                      <a:pt x="143079" y="153052"/>
                    </a:lnTo>
                    <a:lnTo>
                      <a:pt x="143407" y="157446"/>
                    </a:lnTo>
                    <a:lnTo>
                      <a:pt x="143404" y="163180"/>
                    </a:lnTo>
                    <a:lnTo>
                      <a:pt x="141810" y="165854"/>
                    </a:lnTo>
                    <a:lnTo>
                      <a:pt x="138081" y="167929"/>
                    </a:lnTo>
                    <a:lnTo>
                      <a:pt x="130556" y="169695"/>
                    </a:lnTo>
                    <a:lnTo>
                      <a:pt x="127996" y="171630"/>
                    </a:lnTo>
                    <a:lnTo>
                      <a:pt x="123537" y="180342"/>
                    </a:lnTo>
                    <a:lnTo>
                      <a:pt x="120432" y="182840"/>
                    </a:lnTo>
                    <a:lnTo>
                      <a:pt x="117365" y="182447"/>
                    </a:lnTo>
                    <a:lnTo>
                      <a:pt x="102364" y="176272"/>
                    </a:lnTo>
                    <a:lnTo>
                      <a:pt x="100017" y="174098"/>
                    </a:lnTo>
                    <a:lnTo>
                      <a:pt x="97937" y="170912"/>
                    </a:lnTo>
                    <a:lnTo>
                      <a:pt x="90653" y="155468"/>
                    </a:lnTo>
                    <a:lnTo>
                      <a:pt x="89144" y="153070"/>
                    </a:lnTo>
                    <a:lnTo>
                      <a:pt x="86669" y="153582"/>
                    </a:lnTo>
                    <a:lnTo>
                      <a:pt x="83924" y="157329"/>
                    </a:lnTo>
                    <a:lnTo>
                      <a:pt x="80782" y="160611"/>
                    </a:lnTo>
                    <a:lnTo>
                      <a:pt x="77117" y="159668"/>
                    </a:lnTo>
                    <a:lnTo>
                      <a:pt x="75119" y="161295"/>
                    </a:lnTo>
                    <a:lnTo>
                      <a:pt x="73304" y="161071"/>
                    </a:lnTo>
                    <a:lnTo>
                      <a:pt x="71340" y="160149"/>
                    </a:lnTo>
                    <a:lnTo>
                      <a:pt x="68802" y="159712"/>
                    </a:lnTo>
                    <a:lnTo>
                      <a:pt x="71639" y="165168"/>
                    </a:lnTo>
                    <a:lnTo>
                      <a:pt x="65535" y="164653"/>
                    </a:lnTo>
                    <a:lnTo>
                      <a:pt x="63180" y="165985"/>
                    </a:lnTo>
                    <a:lnTo>
                      <a:pt x="62244" y="170169"/>
                    </a:lnTo>
                    <a:lnTo>
                      <a:pt x="57375" y="168092"/>
                    </a:lnTo>
                    <a:lnTo>
                      <a:pt x="45512" y="170156"/>
                    </a:lnTo>
                    <a:lnTo>
                      <a:pt x="40542" y="165292"/>
                    </a:lnTo>
                    <a:lnTo>
                      <a:pt x="38423" y="156814"/>
                    </a:lnTo>
                    <a:lnTo>
                      <a:pt x="39026" y="148544"/>
                    </a:lnTo>
                    <a:lnTo>
                      <a:pt x="41378" y="141359"/>
                    </a:lnTo>
                    <a:lnTo>
                      <a:pt x="44495" y="136112"/>
                    </a:lnTo>
                    <a:lnTo>
                      <a:pt x="44487" y="133735"/>
                    </a:lnTo>
                    <a:lnTo>
                      <a:pt x="43030" y="131378"/>
                    </a:lnTo>
                    <a:lnTo>
                      <a:pt x="41901" y="128848"/>
                    </a:lnTo>
                    <a:lnTo>
                      <a:pt x="41060" y="126146"/>
                    </a:lnTo>
                    <a:lnTo>
                      <a:pt x="40420" y="123337"/>
                    </a:lnTo>
                    <a:lnTo>
                      <a:pt x="38286" y="124648"/>
                    </a:lnTo>
                    <a:lnTo>
                      <a:pt x="36898" y="126423"/>
                    </a:lnTo>
                    <a:lnTo>
                      <a:pt x="36631" y="128583"/>
                    </a:lnTo>
                    <a:lnTo>
                      <a:pt x="37872" y="131143"/>
                    </a:lnTo>
                    <a:lnTo>
                      <a:pt x="37879" y="133754"/>
                    </a:lnTo>
                    <a:lnTo>
                      <a:pt x="36017" y="132547"/>
                    </a:lnTo>
                    <a:lnTo>
                      <a:pt x="34286" y="132038"/>
                    </a:lnTo>
                    <a:lnTo>
                      <a:pt x="32653" y="132462"/>
                    </a:lnTo>
                    <a:lnTo>
                      <a:pt x="31022" y="133770"/>
                    </a:lnTo>
                    <a:lnTo>
                      <a:pt x="32836" y="135351"/>
                    </a:lnTo>
                    <a:lnTo>
                      <a:pt x="33539" y="137727"/>
                    </a:lnTo>
                    <a:lnTo>
                      <a:pt x="33346" y="140727"/>
                    </a:lnTo>
                    <a:lnTo>
                      <a:pt x="33740" y="141363"/>
                    </a:lnTo>
                    <a:lnTo>
                      <a:pt x="34754" y="146348"/>
                    </a:lnTo>
                    <a:lnTo>
                      <a:pt x="33111" y="149849"/>
                    </a:lnTo>
                    <a:lnTo>
                      <a:pt x="28380" y="154630"/>
                    </a:lnTo>
                    <a:lnTo>
                      <a:pt x="28385" y="157038"/>
                    </a:lnTo>
                    <a:lnTo>
                      <a:pt x="21713" y="154455"/>
                    </a:lnTo>
                    <a:lnTo>
                      <a:pt x="15782" y="144673"/>
                    </a:lnTo>
                    <a:lnTo>
                      <a:pt x="13125" y="131965"/>
                    </a:lnTo>
                    <a:lnTo>
                      <a:pt x="16237" y="120525"/>
                    </a:lnTo>
                    <a:lnTo>
                      <a:pt x="17578" y="117943"/>
                    </a:lnTo>
                    <a:lnTo>
                      <a:pt x="16335" y="100697"/>
                    </a:lnTo>
                    <a:lnTo>
                      <a:pt x="21503" y="89441"/>
                    </a:lnTo>
                    <a:lnTo>
                      <a:pt x="30224" y="83272"/>
                    </a:lnTo>
                    <a:close/>
                    <a:moveTo>
                      <a:pt x="158322" y="75185"/>
                    </a:moveTo>
                    <a:lnTo>
                      <a:pt x="161086" y="75526"/>
                    </a:lnTo>
                    <a:lnTo>
                      <a:pt x="161115" y="77903"/>
                    </a:lnTo>
                    <a:lnTo>
                      <a:pt x="160483" y="79076"/>
                    </a:lnTo>
                    <a:lnTo>
                      <a:pt x="159925" y="80513"/>
                    </a:lnTo>
                    <a:lnTo>
                      <a:pt x="165356" y="80277"/>
                    </a:lnTo>
                    <a:lnTo>
                      <a:pt x="167742" y="80886"/>
                    </a:lnTo>
                    <a:lnTo>
                      <a:pt x="169441" y="82760"/>
                    </a:lnTo>
                    <a:lnTo>
                      <a:pt x="166896" y="82123"/>
                    </a:lnTo>
                    <a:lnTo>
                      <a:pt x="164855" y="84215"/>
                    </a:lnTo>
                    <a:lnTo>
                      <a:pt x="164442" y="87669"/>
                    </a:lnTo>
                    <a:lnTo>
                      <a:pt x="166752" y="91075"/>
                    </a:lnTo>
                    <a:lnTo>
                      <a:pt x="169123" y="91699"/>
                    </a:lnTo>
                    <a:lnTo>
                      <a:pt x="171645" y="90907"/>
                    </a:lnTo>
                    <a:lnTo>
                      <a:pt x="176208" y="88113"/>
                    </a:lnTo>
                    <a:lnTo>
                      <a:pt x="176337" y="90069"/>
                    </a:lnTo>
                    <a:lnTo>
                      <a:pt x="176001" y="90572"/>
                    </a:lnTo>
                    <a:lnTo>
                      <a:pt x="175449" y="90516"/>
                    </a:lnTo>
                    <a:lnTo>
                      <a:pt x="174928" y="90973"/>
                    </a:lnTo>
                    <a:lnTo>
                      <a:pt x="173716" y="95387"/>
                    </a:lnTo>
                    <a:lnTo>
                      <a:pt x="174936" y="97686"/>
                    </a:lnTo>
                    <a:lnTo>
                      <a:pt x="180407" y="101112"/>
                    </a:lnTo>
                    <a:lnTo>
                      <a:pt x="176951" y="105073"/>
                    </a:lnTo>
                    <a:lnTo>
                      <a:pt x="168440" y="106518"/>
                    </a:lnTo>
                    <a:lnTo>
                      <a:pt x="164291" y="109147"/>
                    </a:lnTo>
                    <a:lnTo>
                      <a:pt x="163761" y="100529"/>
                    </a:lnTo>
                    <a:lnTo>
                      <a:pt x="160785" y="96228"/>
                    </a:lnTo>
                    <a:lnTo>
                      <a:pt x="156841" y="95747"/>
                    </a:lnTo>
                    <a:lnTo>
                      <a:pt x="153454" y="98597"/>
                    </a:lnTo>
                    <a:lnTo>
                      <a:pt x="154051" y="104604"/>
                    </a:lnTo>
                    <a:lnTo>
                      <a:pt x="149832" y="106174"/>
                    </a:lnTo>
                    <a:lnTo>
                      <a:pt x="146778" y="103285"/>
                    </a:lnTo>
                    <a:lnTo>
                      <a:pt x="150741" y="96016"/>
                    </a:lnTo>
                    <a:lnTo>
                      <a:pt x="153672" y="94585"/>
                    </a:lnTo>
                    <a:lnTo>
                      <a:pt x="156742" y="94177"/>
                    </a:lnTo>
                    <a:lnTo>
                      <a:pt x="159162" y="92736"/>
                    </a:lnTo>
                    <a:lnTo>
                      <a:pt x="160019" y="88312"/>
                    </a:lnTo>
                    <a:lnTo>
                      <a:pt x="158723" y="86089"/>
                    </a:lnTo>
                    <a:lnTo>
                      <a:pt x="152581" y="79509"/>
                    </a:lnTo>
                    <a:lnTo>
                      <a:pt x="150538" y="78024"/>
                    </a:lnTo>
                    <a:close/>
                    <a:moveTo>
                      <a:pt x="70335" y="62525"/>
                    </a:moveTo>
                    <a:lnTo>
                      <a:pt x="75236" y="62746"/>
                    </a:lnTo>
                    <a:lnTo>
                      <a:pt x="75455" y="63491"/>
                    </a:lnTo>
                    <a:lnTo>
                      <a:pt x="75814" y="65027"/>
                    </a:lnTo>
                    <a:lnTo>
                      <a:pt x="76557" y="66748"/>
                    </a:lnTo>
                    <a:lnTo>
                      <a:pt x="77935" y="67952"/>
                    </a:lnTo>
                    <a:lnTo>
                      <a:pt x="79196" y="68257"/>
                    </a:lnTo>
                    <a:lnTo>
                      <a:pt x="80623" y="68263"/>
                    </a:lnTo>
                    <a:lnTo>
                      <a:pt x="88645" y="66256"/>
                    </a:lnTo>
                    <a:lnTo>
                      <a:pt x="91179" y="66240"/>
                    </a:lnTo>
                    <a:lnTo>
                      <a:pt x="94115" y="67852"/>
                    </a:lnTo>
                    <a:lnTo>
                      <a:pt x="94224" y="69762"/>
                    </a:lnTo>
                    <a:lnTo>
                      <a:pt x="93957" y="70309"/>
                    </a:lnTo>
                    <a:lnTo>
                      <a:pt x="93383" y="70327"/>
                    </a:lnTo>
                    <a:lnTo>
                      <a:pt x="92684" y="70690"/>
                    </a:lnTo>
                    <a:lnTo>
                      <a:pt x="89423" y="75434"/>
                    </a:lnTo>
                    <a:lnTo>
                      <a:pt x="90078" y="81490"/>
                    </a:lnTo>
                    <a:lnTo>
                      <a:pt x="89873" y="86745"/>
                    </a:lnTo>
                    <a:lnTo>
                      <a:pt x="84092" y="88986"/>
                    </a:lnTo>
                    <a:lnTo>
                      <a:pt x="77879" y="88603"/>
                    </a:lnTo>
                    <a:lnTo>
                      <a:pt x="72154" y="86909"/>
                    </a:lnTo>
                    <a:lnTo>
                      <a:pt x="66996" y="83425"/>
                    </a:lnTo>
                    <a:lnTo>
                      <a:pt x="62484" y="77509"/>
                    </a:lnTo>
                    <a:lnTo>
                      <a:pt x="61320" y="70553"/>
                    </a:lnTo>
                    <a:lnTo>
                      <a:pt x="64827" y="65316"/>
                    </a:lnTo>
                    <a:close/>
                    <a:moveTo>
                      <a:pt x="128235" y="40943"/>
                    </a:moveTo>
                    <a:lnTo>
                      <a:pt x="131436" y="41223"/>
                    </a:lnTo>
                    <a:lnTo>
                      <a:pt x="131464" y="44082"/>
                    </a:lnTo>
                    <a:lnTo>
                      <a:pt x="129992" y="44096"/>
                    </a:lnTo>
                    <a:lnTo>
                      <a:pt x="130018" y="46674"/>
                    </a:lnTo>
                    <a:lnTo>
                      <a:pt x="132590" y="46060"/>
                    </a:lnTo>
                    <a:lnTo>
                      <a:pt x="134903" y="46534"/>
                    </a:lnTo>
                    <a:lnTo>
                      <a:pt x="136768" y="48333"/>
                    </a:lnTo>
                    <a:lnTo>
                      <a:pt x="138085" y="51816"/>
                    </a:lnTo>
                    <a:lnTo>
                      <a:pt x="136837" y="55138"/>
                    </a:lnTo>
                    <a:lnTo>
                      <a:pt x="132572" y="61847"/>
                    </a:lnTo>
                    <a:lnTo>
                      <a:pt x="131658" y="63752"/>
                    </a:lnTo>
                    <a:lnTo>
                      <a:pt x="131717" y="69780"/>
                    </a:lnTo>
                    <a:lnTo>
                      <a:pt x="132190" y="74779"/>
                    </a:lnTo>
                    <a:lnTo>
                      <a:pt x="133760" y="77871"/>
                    </a:lnTo>
                    <a:lnTo>
                      <a:pt x="137018" y="78165"/>
                    </a:lnTo>
                    <a:lnTo>
                      <a:pt x="137044" y="80761"/>
                    </a:lnTo>
                    <a:lnTo>
                      <a:pt x="131274" y="83023"/>
                    </a:lnTo>
                    <a:lnTo>
                      <a:pt x="127879" y="83521"/>
                    </a:lnTo>
                    <a:lnTo>
                      <a:pt x="126340" y="82044"/>
                    </a:lnTo>
                    <a:lnTo>
                      <a:pt x="125622" y="76969"/>
                    </a:lnTo>
                    <a:lnTo>
                      <a:pt x="123810" y="73350"/>
                    </a:lnTo>
                    <a:lnTo>
                      <a:pt x="121215" y="71182"/>
                    </a:lnTo>
                    <a:lnTo>
                      <a:pt x="118211" y="70494"/>
                    </a:lnTo>
                    <a:lnTo>
                      <a:pt x="118140" y="62445"/>
                    </a:lnTo>
                    <a:lnTo>
                      <a:pt x="120661" y="64567"/>
                    </a:lnTo>
                    <a:lnTo>
                      <a:pt x="122651" y="64332"/>
                    </a:lnTo>
                    <a:lnTo>
                      <a:pt x="124568" y="63087"/>
                    </a:lnTo>
                    <a:lnTo>
                      <a:pt x="126776" y="62368"/>
                    </a:lnTo>
                    <a:lnTo>
                      <a:pt x="126970" y="61030"/>
                    </a:lnTo>
                    <a:lnTo>
                      <a:pt x="125857" y="54451"/>
                    </a:lnTo>
                    <a:lnTo>
                      <a:pt x="126056" y="51932"/>
                    </a:lnTo>
                    <a:lnTo>
                      <a:pt x="125469" y="47059"/>
                    </a:lnTo>
                    <a:lnTo>
                      <a:pt x="126212" y="43136"/>
                    </a:lnTo>
                    <a:close/>
                    <a:moveTo>
                      <a:pt x="199480" y="14850"/>
                    </a:moveTo>
                    <a:lnTo>
                      <a:pt x="200694" y="15842"/>
                    </a:lnTo>
                    <a:lnTo>
                      <a:pt x="202653" y="23940"/>
                    </a:lnTo>
                    <a:lnTo>
                      <a:pt x="203297" y="27597"/>
                    </a:lnTo>
                    <a:lnTo>
                      <a:pt x="194062" y="28230"/>
                    </a:lnTo>
                    <a:lnTo>
                      <a:pt x="190348" y="30209"/>
                    </a:lnTo>
                    <a:lnTo>
                      <a:pt x="188849" y="34395"/>
                    </a:lnTo>
                    <a:lnTo>
                      <a:pt x="186747" y="36506"/>
                    </a:lnTo>
                    <a:lnTo>
                      <a:pt x="183055" y="45553"/>
                    </a:lnTo>
                    <a:lnTo>
                      <a:pt x="181693" y="47794"/>
                    </a:lnTo>
                    <a:lnTo>
                      <a:pt x="179703" y="48954"/>
                    </a:lnTo>
                    <a:lnTo>
                      <a:pt x="179296" y="40662"/>
                    </a:lnTo>
                    <a:lnTo>
                      <a:pt x="176008" y="41077"/>
                    </a:lnTo>
                    <a:lnTo>
                      <a:pt x="167595" y="51486"/>
                    </a:lnTo>
                    <a:lnTo>
                      <a:pt x="168532" y="47512"/>
                    </a:lnTo>
                    <a:lnTo>
                      <a:pt x="168978" y="46248"/>
                    </a:lnTo>
                    <a:lnTo>
                      <a:pt x="168945" y="43669"/>
                    </a:lnTo>
                    <a:lnTo>
                      <a:pt x="165218" y="45983"/>
                    </a:lnTo>
                    <a:lnTo>
                      <a:pt x="163616" y="45816"/>
                    </a:lnTo>
                    <a:lnTo>
                      <a:pt x="162150" y="43752"/>
                    </a:lnTo>
                    <a:lnTo>
                      <a:pt x="155021" y="54012"/>
                    </a:lnTo>
                    <a:lnTo>
                      <a:pt x="151031" y="58206"/>
                    </a:lnTo>
                    <a:lnTo>
                      <a:pt x="147611" y="57171"/>
                    </a:lnTo>
                    <a:lnTo>
                      <a:pt x="147158" y="62350"/>
                    </a:lnTo>
                    <a:lnTo>
                      <a:pt x="146053" y="64725"/>
                    </a:lnTo>
                    <a:lnTo>
                      <a:pt x="145072" y="63927"/>
                    </a:lnTo>
                    <a:lnTo>
                      <a:pt x="144960" y="59577"/>
                    </a:lnTo>
                    <a:lnTo>
                      <a:pt x="145873" y="54113"/>
                    </a:lnTo>
                    <a:lnTo>
                      <a:pt x="147212" y="52126"/>
                    </a:lnTo>
                    <a:lnTo>
                      <a:pt x="149058" y="51267"/>
                    </a:lnTo>
                    <a:lnTo>
                      <a:pt x="151527" y="49296"/>
                    </a:lnTo>
                    <a:lnTo>
                      <a:pt x="153273" y="46775"/>
                    </a:lnTo>
                    <a:lnTo>
                      <a:pt x="156443" y="40896"/>
                    </a:lnTo>
                    <a:lnTo>
                      <a:pt x="158087" y="38579"/>
                    </a:lnTo>
                    <a:lnTo>
                      <a:pt x="160418" y="37307"/>
                    </a:lnTo>
                    <a:lnTo>
                      <a:pt x="162343" y="37331"/>
                    </a:lnTo>
                    <a:lnTo>
                      <a:pt x="163734" y="36009"/>
                    </a:lnTo>
                    <a:lnTo>
                      <a:pt x="164535" y="30685"/>
                    </a:lnTo>
                    <a:lnTo>
                      <a:pt x="163440" y="29533"/>
                    </a:lnTo>
                    <a:lnTo>
                      <a:pt x="160479" y="25279"/>
                    </a:lnTo>
                    <a:lnTo>
                      <a:pt x="165134" y="25177"/>
                    </a:lnTo>
                    <a:lnTo>
                      <a:pt x="172976" y="20278"/>
                    </a:lnTo>
                    <a:lnTo>
                      <a:pt x="177871" y="19842"/>
                    </a:lnTo>
                    <a:lnTo>
                      <a:pt x="177910" y="22685"/>
                    </a:lnTo>
                    <a:lnTo>
                      <a:pt x="175035" y="24587"/>
                    </a:lnTo>
                    <a:lnTo>
                      <a:pt x="172170" y="27281"/>
                    </a:lnTo>
                    <a:lnTo>
                      <a:pt x="167368" y="33494"/>
                    </a:lnTo>
                    <a:lnTo>
                      <a:pt x="168837" y="33912"/>
                    </a:lnTo>
                    <a:lnTo>
                      <a:pt x="169440" y="34433"/>
                    </a:lnTo>
                    <a:lnTo>
                      <a:pt x="170054" y="35839"/>
                    </a:lnTo>
                    <a:lnTo>
                      <a:pt x="172292" y="33619"/>
                    </a:lnTo>
                    <a:lnTo>
                      <a:pt x="178689" y="32201"/>
                    </a:lnTo>
                    <a:lnTo>
                      <a:pt x="183760" y="26383"/>
                    </a:lnTo>
                    <a:lnTo>
                      <a:pt x="186724" y="25816"/>
                    </a:lnTo>
                    <a:lnTo>
                      <a:pt x="189855" y="25803"/>
                    </a:lnTo>
                    <a:lnTo>
                      <a:pt x="192726" y="24861"/>
                    </a:lnTo>
                    <a:lnTo>
                      <a:pt x="196814" y="18152"/>
                    </a:lnTo>
                    <a:close/>
                    <a:moveTo>
                      <a:pt x="91252" y="0"/>
                    </a:moveTo>
                    <a:lnTo>
                      <a:pt x="94879" y="2649"/>
                    </a:lnTo>
                    <a:lnTo>
                      <a:pt x="94955" y="4310"/>
                    </a:lnTo>
                    <a:lnTo>
                      <a:pt x="94704" y="4701"/>
                    </a:lnTo>
                    <a:lnTo>
                      <a:pt x="94212" y="4674"/>
                    </a:lnTo>
                    <a:lnTo>
                      <a:pt x="93675" y="5018"/>
                    </a:lnTo>
                    <a:lnTo>
                      <a:pt x="91552" y="7892"/>
                    </a:lnTo>
                    <a:lnTo>
                      <a:pt x="91454" y="9757"/>
                    </a:lnTo>
                    <a:lnTo>
                      <a:pt x="92287" y="13108"/>
                    </a:lnTo>
                    <a:lnTo>
                      <a:pt x="88272" y="13383"/>
                    </a:lnTo>
                    <a:lnTo>
                      <a:pt x="86937" y="13143"/>
                    </a:lnTo>
                    <a:lnTo>
                      <a:pt x="86954" y="15737"/>
                    </a:lnTo>
                    <a:lnTo>
                      <a:pt x="102258" y="20495"/>
                    </a:lnTo>
                    <a:lnTo>
                      <a:pt x="105010" y="22029"/>
                    </a:lnTo>
                    <a:lnTo>
                      <a:pt x="108792" y="31943"/>
                    </a:lnTo>
                    <a:lnTo>
                      <a:pt x="109899" y="34078"/>
                    </a:lnTo>
                    <a:lnTo>
                      <a:pt x="112129" y="35505"/>
                    </a:lnTo>
                    <a:lnTo>
                      <a:pt x="114231" y="35767"/>
                    </a:lnTo>
                    <a:lnTo>
                      <a:pt x="116160" y="36404"/>
                    </a:lnTo>
                    <a:lnTo>
                      <a:pt x="117933" y="38984"/>
                    </a:lnTo>
                    <a:lnTo>
                      <a:pt x="117954" y="41346"/>
                    </a:lnTo>
                    <a:lnTo>
                      <a:pt x="114040" y="41363"/>
                    </a:lnTo>
                    <a:lnTo>
                      <a:pt x="111693" y="43263"/>
                    </a:lnTo>
                    <a:lnTo>
                      <a:pt x="107210" y="49715"/>
                    </a:lnTo>
                    <a:lnTo>
                      <a:pt x="107445" y="46343"/>
                    </a:lnTo>
                    <a:lnTo>
                      <a:pt x="107774" y="43744"/>
                    </a:lnTo>
                    <a:lnTo>
                      <a:pt x="108504" y="41486"/>
                    </a:lnTo>
                    <a:lnTo>
                      <a:pt x="109940" y="39051"/>
                    </a:lnTo>
                    <a:lnTo>
                      <a:pt x="100221" y="29630"/>
                    </a:lnTo>
                    <a:lnTo>
                      <a:pt x="94907" y="26592"/>
                    </a:lnTo>
                    <a:lnTo>
                      <a:pt x="89579" y="25928"/>
                    </a:lnTo>
                    <a:lnTo>
                      <a:pt x="89598" y="28772"/>
                    </a:lnTo>
                    <a:lnTo>
                      <a:pt x="90561" y="30164"/>
                    </a:lnTo>
                    <a:lnTo>
                      <a:pt x="92432" y="34207"/>
                    </a:lnTo>
                    <a:lnTo>
                      <a:pt x="89615" y="31382"/>
                    </a:lnTo>
                    <a:lnTo>
                      <a:pt x="88127" y="34764"/>
                    </a:lnTo>
                    <a:lnTo>
                      <a:pt x="86719" y="35861"/>
                    </a:lnTo>
                    <a:lnTo>
                      <a:pt x="85126" y="35466"/>
                    </a:lnTo>
                    <a:lnTo>
                      <a:pt x="83091" y="34266"/>
                    </a:lnTo>
                    <a:lnTo>
                      <a:pt x="81723" y="32908"/>
                    </a:lnTo>
                    <a:lnTo>
                      <a:pt x="80709" y="30831"/>
                    </a:lnTo>
                    <a:lnTo>
                      <a:pt x="77849" y="22877"/>
                    </a:lnTo>
                    <a:lnTo>
                      <a:pt x="77440" y="20781"/>
                    </a:lnTo>
                    <a:lnTo>
                      <a:pt x="76793" y="18766"/>
                    </a:lnTo>
                    <a:lnTo>
                      <a:pt x="74974" y="15807"/>
                    </a:lnTo>
                    <a:lnTo>
                      <a:pt x="73109" y="14591"/>
                    </a:lnTo>
                    <a:lnTo>
                      <a:pt x="71491" y="14707"/>
                    </a:lnTo>
                    <a:lnTo>
                      <a:pt x="70249" y="14014"/>
                    </a:lnTo>
                    <a:lnTo>
                      <a:pt x="69507" y="10382"/>
                    </a:lnTo>
                    <a:lnTo>
                      <a:pt x="73562" y="10268"/>
                    </a:lnTo>
                    <a:lnTo>
                      <a:pt x="79800" y="11725"/>
                    </a:lnTo>
                    <a:lnTo>
                      <a:pt x="82943" y="10308"/>
                    </a:lnTo>
                    <a:lnTo>
                      <a:pt x="88318" y="225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2" name="Freeform 159">
                <a:extLst>
                  <a:ext uri="{FF2B5EF4-FFF2-40B4-BE49-F238E27FC236}">
                    <a16:creationId xmlns:a16="http://schemas.microsoft.com/office/drawing/2014/main" id="{8B27F0A4-E8C7-BCDE-1ACE-EE8278C65F23}"/>
                  </a:ext>
                </a:extLst>
              </p:cNvPr>
              <p:cNvSpPr>
                <a:spLocks noChangeAspect="1"/>
              </p:cNvSpPr>
              <p:nvPr>
                <p:custDataLst>
                  <p:tags r:id="rId123"/>
                </p:custDataLst>
              </p:nvPr>
            </p:nvSpPr>
            <p:spPr>
              <a:xfrm>
                <a:off x="3861417" y="2446461"/>
                <a:ext cx="750966" cy="803717"/>
              </a:xfrm>
              <a:custGeom>
                <a:avLst/>
                <a:gdLst/>
                <a:ahLst/>
                <a:cxnLst/>
                <a:rect l="l" t="t" r="r" b="b"/>
                <a:pathLst>
                  <a:path w="771041" h="825202">
                    <a:moveTo>
                      <a:pt x="87762" y="605687"/>
                    </a:moveTo>
                    <a:lnTo>
                      <a:pt x="98318" y="613141"/>
                    </a:lnTo>
                    <a:lnTo>
                      <a:pt x="102668" y="618547"/>
                    </a:lnTo>
                    <a:lnTo>
                      <a:pt x="98594" y="621820"/>
                    </a:lnTo>
                    <a:lnTo>
                      <a:pt x="98477" y="624631"/>
                    </a:lnTo>
                    <a:lnTo>
                      <a:pt x="104018" y="624857"/>
                    </a:lnTo>
                    <a:lnTo>
                      <a:pt x="100636" y="638647"/>
                    </a:lnTo>
                    <a:lnTo>
                      <a:pt x="96295" y="646375"/>
                    </a:lnTo>
                    <a:lnTo>
                      <a:pt x="90405" y="649617"/>
                    </a:lnTo>
                    <a:lnTo>
                      <a:pt x="82405" y="650093"/>
                    </a:lnTo>
                    <a:lnTo>
                      <a:pt x="78765" y="647853"/>
                    </a:lnTo>
                    <a:lnTo>
                      <a:pt x="75750" y="638607"/>
                    </a:lnTo>
                    <a:lnTo>
                      <a:pt x="72894" y="636399"/>
                    </a:lnTo>
                    <a:lnTo>
                      <a:pt x="69817" y="634774"/>
                    </a:lnTo>
                    <a:lnTo>
                      <a:pt x="63591" y="627642"/>
                    </a:lnTo>
                    <a:lnTo>
                      <a:pt x="59792" y="625376"/>
                    </a:lnTo>
                    <a:lnTo>
                      <a:pt x="72940" y="611424"/>
                    </a:lnTo>
                    <a:lnTo>
                      <a:pt x="79604" y="606464"/>
                    </a:lnTo>
                    <a:close/>
                    <a:moveTo>
                      <a:pt x="43939" y="598342"/>
                    </a:moveTo>
                    <a:lnTo>
                      <a:pt x="46247" y="600625"/>
                    </a:lnTo>
                    <a:lnTo>
                      <a:pt x="51237" y="602169"/>
                    </a:lnTo>
                    <a:lnTo>
                      <a:pt x="53617" y="604221"/>
                    </a:lnTo>
                    <a:lnTo>
                      <a:pt x="48024" y="606991"/>
                    </a:lnTo>
                    <a:lnTo>
                      <a:pt x="41262" y="607872"/>
                    </a:lnTo>
                    <a:lnTo>
                      <a:pt x="34593" y="607258"/>
                    </a:lnTo>
                    <a:lnTo>
                      <a:pt x="29271" y="605740"/>
                    </a:lnTo>
                    <a:lnTo>
                      <a:pt x="32625" y="603123"/>
                    </a:lnTo>
                    <a:lnTo>
                      <a:pt x="39982" y="599191"/>
                    </a:lnTo>
                    <a:close/>
                    <a:moveTo>
                      <a:pt x="161178" y="506508"/>
                    </a:moveTo>
                    <a:lnTo>
                      <a:pt x="168187" y="508258"/>
                    </a:lnTo>
                    <a:lnTo>
                      <a:pt x="173423" y="513955"/>
                    </a:lnTo>
                    <a:lnTo>
                      <a:pt x="174012" y="519904"/>
                    </a:lnTo>
                    <a:lnTo>
                      <a:pt x="167067" y="522406"/>
                    </a:lnTo>
                    <a:lnTo>
                      <a:pt x="161734" y="519939"/>
                    </a:lnTo>
                    <a:lnTo>
                      <a:pt x="157189" y="514730"/>
                    </a:lnTo>
                    <a:lnTo>
                      <a:pt x="156129" y="509401"/>
                    </a:lnTo>
                    <a:close/>
                    <a:moveTo>
                      <a:pt x="159762" y="435515"/>
                    </a:moveTo>
                    <a:lnTo>
                      <a:pt x="161579" y="436096"/>
                    </a:lnTo>
                    <a:lnTo>
                      <a:pt x="163093" y="437179"/>
                    </a:lnTo>
                    <a:lnTo>
                      <a:pt x="164285" y="438810"/>
                    </a:lnTo>
                    <a:lnTo>
                      <a:pt x="165168" y="440912"/>
                    </a:lnTo>
                    <a:lnTo>
                      <a:pt x="164091" y="446690"/>
                    </a:lnTo>
                    <a:lnTo>
                      <a:pt x="160317" y="457797"/>
                    </a:lnTo>
                    <a:lnTo>
                      <a:pt x="156815" y="470907"/>
                    </a:lnTo>
                    <a:lnTo>
                      <a:pt x="156573" y="482597"/>
                    </a:lnTo>
                    <a:lnTo>
                      <a:pt x="158066" y="485483"/>
                    </a:lnTo>
                    <a:lnTo>
                      <a:pt x="160669" y="491880"/>
                    </a:lnTo>
                    <a:lnTo>
                      <a:pt x="161591" y="498185"/>
                    </a:lnTo>
                    <a:lnTo>
                      <a:pt x="157986" y="500929"/>
                    </a:lnTo>
                    <a:lnTo>
                      <a:pt x="154555" y="502154"/>
                    </a:lnTo>
                    <a:lnTo>
                      <a:pt x="151199" y="504502"/>
                    </a:lnTo>
                    <a:lnTo>
                      <a:pt x="147828" y="505667"/>
                    </a:lnTo>
                    <a:lnTo>
                      <a:pt x="144384" y="503263"/>
                    </a:lnTo>
                    <a:lnTo>
                      <a:pt x="145043" y="500535"/>
                    </a:lnTo>
                    <a:lnTo>
                      <a:pt x="145422" y="499429"/>
                    </a:lnTo>
                    <a:lnTo>
                      <a:pt x="146137" y="497885"/>
                    </a:lnTo>
                    <a:lnTo>
                      <a:pt x="143998" y="494567"/>
                    </a:lnTo>
                    <a:lnTo>
                      <a:pt x="143893" y="488169"/>
                    </a:lnTo>
                    <a:lnTo>
                      <a:pt x="146502" y="463672"/>
                    </a:lnTo>
                    <a:lnTo>
                      <a:pt x="148277" y="457392"/>
                    </a:lnTo>
                    <a:lnTo>
                      <a:pt x="151703" y="454488"/>
                    </a:lnTo>
                    <a:lnTo>
                      <a:pt x="157658" y="453950"/>
                    </a:lnTo>
                    <a:lnTo>
                      <a:pt x="157757" y="451355"/>
                    </a:lnTo>
                    <a:lnTo>
                      <a:pt x="156405" y="449484"/>
                    </a:lnTo>
                    <a:lnTo>
                      <a:pt x="155361" y="447454"/>
                    </a:lnTo>
                    <a:lnTo>
                      <a:pt x="153861" y="443368"/>
                    </a:lnTo>
                    <a:lnTo>
                      <a:pt x="156258" y="441047"/>
                    </a:lnTo>
                    <a:lnTo>
                      <a:pt x="158320" y="440922"/>
                    </a:lnTo>
                    <a:lnTo>
                      <a:pt x="162380" y="443686"/>
                    </a:lnTo>
                    <a:lnTo>
                      <a:pt x="162488" y="440813"/>
                    </a:lnTo>
                    <a:close/>
                    <a:moveTo>
                      <a:pt x="170534" y="410587"/>
                    </a:moveTo>
                    <a:lnTo>
                      <a:pt x="171841" y="412471"/>
                    </a:lnTo>
                    <a:lnTo>
                      <a:pt x="168667" y="427102"/>
                    </a:lnTo>
                    <a:lnTo>
                      <a:pt x="168389" y="433220"/>
                    </a:lnTo>
                    <a:lnTo>
                      <a:pt x="165282" y="431395"/>
                    </a:lnTo>
                    <a:lnTo>
                      <a:pt x="164149" y="427309"/>
                    </a:lnTo>
                    <a:lnTo>
                      <a:pt x="164890" y="422233"/>
                    </a:lnTo>
                    <a:lnTo>
                      <a:pt x="167446" y="417537"/>
                    </a:lnTo>
                    <a:lnTo>
                      <a:pt x="166583" y="416493"/>
                    </a:lnTo>
                    <a:lnTo>
                      <a:pt x="166539" y="416118"/>
                    </a:lnTo>
                    <a:lnTo>
                      <a:pt x="166152" y="414626"/>
                    </a:lnTo>
                    <a:lnTo>
                      <a:pt x="167638" y="412378"/>
                    </a:lnTo>
                    <a:lnTo>
                      <a:pt x="169140" y="410816"/>
                    </a:lnTo>
                    <a:close/>
                    <a:moveTo>
                      <a:pt x="101102" y="359876"/>
                    </a:moveTo>
                    <a:lnTo>
                      <a:pt x="102702" y="363942"/>
                    </a:lnTo>
                    <a:lnTo>
                      <a:pt x="104419" y="366440"/>
                    </a:lnTo>
                    <a:lnTo>
                      <a:pt x="109036" y="370645"/>
                    </a:lnTo>
                    <a:lnTo>
                      <a:pt x="110846" y="373347"/>
                    </a:lnTo>
                    <a:lnTo>
                      <a:pt x="115479" y="382125"/>
                    </a:lnTo>
                    <a:lnTo>
                      <a:pt x="116102" y="383970"/>
                    </a:lnTo>
                    <a:lnTo>
                      <a:pt x="124917" y="392166"/>
                    </a:lnTo>
                    <a:lnTo>
                      <a:pt x="128624" y="397401"/>
                    </a:lnTo>
                    <a:lnTo>
                      <a:pt x="130622" y="401213"/>
                    </a:lnTo>
                    <a:lnTo>
                      <a:pt x="131412" y="404418"/>
                    </a:lnTo>
                    <a:lnTo>
                      <a:pt x="132237" y="431041"/>
                    </a:lnTo>
                    <a:lnTo>
                      <a:pt x="133744" y="442550"/>
                    </a:lnTo>
                    <a:lnTo>
                      <a:pt x="133895" y="447829"/>
                    </a:lnTo>
                    <a:lnTo>
                      <a:pt x="133117" y="453510"/>
                    </a:lnTo>
                    <a:lnTo>
                      <a:pt x="130917" y="462105"/>
                    </a:lnTo>
                    <a:lnTo>
                      <a:pt x="130327" y="467247"/>
                    </a:lnTo>
                    <a:lnTo>
                      <a:pt x="129074" y="470091"/>
                    </a:lnTo>
                    <a:lnTo>
                      <a:pt x="123436" y="475222"/>
                    </a:lnTo>
                    <a:lnTo>
                      <a:pt x="121420" y="478657"/>
                    </a:lnTo>
                    <a:lnTo>
                      <a:pt x="124014" y="476286"/>
                    </a:lnTo>
                    <a:lnTo>
                      <a:pt x="127530" y="473921"/>
                    </a:lnTo>
                    <a:lnTo>
                      <a:pt x="131214" y="472759"/>
                    </a:lnTo>
                    <a:lnTo>
                      <a:pt x="134269" y="473935"/>
                    </a:lnTo>
                    <a:lnTo>
                      <a:pt x="135889" y="477919"/>
                    </a:lnTo>
                    <a:lnTo>
                      <a:pt x="134590" y="481509"/>
                    </a:lnTo>
                    <a:lnTo>
                      <a:pt x="132289" y="484563"/>
                    </a:lnTo>
                    <a:lnTo>
                      <a:pt x="130957" y="486845"/>
                    </a:lnTo>
                    <a:lnTo>
                      <a:pt x="131711" y="493206"/>
                    </a:lnTo>
                    <a:lnTo>
                      <a:pt x="134540" y="497253"/>
                    </a:lnTo>
                    <a:lnTo>
                      <a:pt x="137532" y="500200"/>
                    </a:lnTo>
                    <a:lnTo>
                      <a:pt x="138756" y="503048"/>
                    </a:lnTo>
                    <a:lnTo>
                      <a:pt x="137105" y="506376"/>
                    </a:lnTo>
                    <a:lnTo>
                      <a:pt x="129992" y="510315"/>
                    </a:lnTo>
                    <a:lnTo>
                      <a:pt x="127085" y="512815"/>
                    </a:lnTo>
                    <a:lnTo>
                      <a:pt x="144853" y="511122"/>
                    </a:lnTo>
                    <a:lnTo>
                      <a:pt x="149501" y="512652"/>
                    </a:lnTo>
                    <a:lnTo>
                      <a:pt x="150271" y="515808"/>
                    </a:lnTo>
                    <a:lnTo>
                      <a:pt x="147703" y="519197"/>
                    </a:lnTo>
                    <a:lnTo>
                      <a:pt x="142401" y="521484"/>
                    </a:lnTo>
                    <a:lnTo>
                      <a:pt x="142300" y="524094"/>
                    </a:lnTo>
                    <a:lnTo>
                      <a:pt x="147951" y="523702"/>
                    </a:lnTo>
                    <a:lnTo>
                      <a:pt x="152575" y="521542"/>
                    </a:lnTo>
                    <a:lnTo>
                      <a:pt x="156812" y="521157"/>
                    </a:lnTo>
                    <a:lnTo>
                      <a:pt x="161219" y="526081"/>
                    </a:lnTo>
                    <a:lnTo>
                      <a:pt x="163137" y="527675"/>
                    </a:lnTo>
                    <a:lnTo>
                      <a:pt x="165855" y="528102"/>
                    </a:lnTo>
                    <a:lnTo>
                      <a:pt x="171101" y="527749"/>
                    </a:lnTo>
                    <a:lnTo>
                      <a:pt x="174121" y="529382"/>
                    </a:lnTo>
                    <a:lnTo>
                      <a:pt x="175945" y="532901"/>
                    </a:lnTo>
                    <a:lnTo>
                      <a:pt x="177193" y="536539"/>
                    </a:lnTo>
                    <a:lnTo>
                      <a:pt x="178462" y="538717"/>
                    </a:lnTo>
                    <a:lnTo>
                      <a:pt x="181427" y="539133"/>
                    </a:lnTo>
                    <a:lnTo>
                      <a:pt x="183333" y="537396"/>
                    </a:lnTo>
                    <a:lnTo>
                      <a:pt x="184657" y="534984"/>
                    </a:lnTo>
                    <a:lnTo>
                      <a:pt x="185845" y="533532"/>
                    </a:lnTo>
                    <a:lnTo>
                      <a:pt x="194405" y="534204"/>
                    </a:lnTo>
                    <a:lnTo>
                      <a:pt x="200504" y="528440"/>
                    </a:lnTo>
                    <a:lnTo>
                      <a:pt x="206342" y="526492"/>
                    </a:lnTo>
                    <a:lnTo>
                      <a:pt x="212406" y="526742"/>
                    </a:lnTo>
                    <a:lnTo>
                      <a:pt x="215689" y="531689"/>
                    </a:lnTo>
                    <a:lnTo>
                      <a:pt x="231069" y="532190"/>
                    </a:lnTo>
                    <a:lnTo>
                      <a:pt x="227347" y="541558"/>
                    </a:lnTo>
                    <a:lnTo>
                      <a:pt x="227350" y="544047"/>
                    </a:lnTo>
                    <a:lnTo>
                      <a:pt x="228123" y="548209"/>
                    </a:lnTo>
                    <a:lnTo>
                      <a:pt x="227202" y="551912"/>
                    </a:lnTo>
                    <a:lnTo>
                      <a:pt x="225511" y="554938"/>
                    </a:lnTo>
                    <a:lnTo>
                      <a:pt x="221127" y="560582"/>
                    </a:lnTo>
                    <a:lnTo>
                      <a:pt x="213384" y="566720"/>
                    </a:lnTo>
                    <a:lnTo>
                      <a:pt x="210211" y="568280"/>
                    </a:lnTo>
                    <a:lnTo>
                      <a:pt x="201958" y="568842"/>
                    </a:lnTo>
                    <a:lnTo>
                      <a:pt x="200436" y="571372"/>
                    </a:lnTo>
                    <a:lnTo>
                      <a:pt x="199775" y="579796"/>
                    </a:lnTo>
                    <a:lnTo>
                      <a:pt x="197604" y="584949"/>
                    </a:lnTo>
                    <a:lnTo>
                      <a:pt x="193110" y="588341"/>
                    </a:lnTo>
                    <a:lnTo>
                      <a:pt x="188627" y="590659"/>
                    </a:lnTo>
                    <a:lnTo>
                      <a:pt x="186576" y="592501"/>
                    </a:lnTo>
                    <a:lnTo>
                      <a:pt x="184835" y="595350"/>
                    </a:lnTo>
                    <a:lnTo>
                      <a:pt x="172017" y="612194"/>
                    </a:lnTo>
                    <a:lnTo>
                      <a:pt x="168554" y="615476"/>
                    </a:lnTo>
                    <a:lnTo>
                      <a:pt x="164608" y="618040"/>
                    </a:lnTo>
                    <a:lnTo>
                      <a:pt x="153449" y="619823"/>
                    </a:lnTo>
                    <a:lnTo>
                      <a:pt x="150574" y="618379"/>
                    </a:lnTo>
                    <a:lnTo>
                      <a:pt x="148775" y="613333"/>
                    </a:lnTo>
                    <a:lnTo>
                      <a:pt x="149676" y="606770"/>
                    </a:lnTo>
                    <a:lnTo>
                      <a:pt x="155598" y="598666"/>
                    </a:lnTo>
                    <a:lnTo>
                      <a:pt x="155141" y="595289"/>
                    </a:lnTo>
                    <a:lnTo>
                      <a:pt x="155240" y="592679"/>
                    </a:lnTo>
                    <a:lnTo>
                      <a:pt x="156512" y="591886"/>
                    </a:lnTo>
                    <a:lnTo>
                      <a:pt x="157143" y="590836"/>
                    </a:lnTo>
                    <a:lnTo>
                      <a:pt x="158153" y="587326"/>
                    </a:lnTo>
                    <a:lnTo>
                      <a:pt x="158848" y="585671"/>
                    </a:lnTo>
                    <a:lnTo>
                      <a:pt x="160335" y="583859"/>
                    </a:lnTo>
                    <a:lnTo>
                      <a:pt x="164392" y="576727"/>
                    </a:lnTo>
                    <a:lnTo>
                      <a:pt x="166357" y="574248"/>
                    </a:lnTo>
                    <a:lnTo>
                      <a:pt x="168767" y="572064"/>
                    </a:lnTo>
                    <a:lnTo>
                      <a:pt x="189052" y="562579"/>
                    </a:lnTo>
                    <a:lnTo>
                      <a:pt x="189144" y="559969"/>
                    </a:lnTo>
                    <a:lnTo>
                      <a:pt x="183322" y="562939"/>
                    </a:lnTo>
                    <a:lnTo>
                      <a:pt x="177482" y="564444"/>
                    </a:lnTo>
                    <a:lnTo>
                      <a:pt x="159796" y="564143"/>
                    </a:lnTo>
                    <a:lnTo>
                      <a:pt x="158704" y="563123"/>
                    </a:lnTo>
                    <a:lnTo>
                      <a:pt x="158503" y="560829"/>
                    </a:lnTo>
                    <a:lnTo>
                      <a:pt x="158553" y="558155"/>
                    </a:lnTo>
                    <a:lnTo>
                      <a:pt x="158161" y="556009"/>
                    </a:lnTo>
                    <a:lnTo>
                      <a:pt x="153577" y="547484"/>
                    </a:lnTo>
                    <a:lnTo>
                      <a:pt x="151031" y="543981"/>
                    </a:lnTo>
                    <a:lnTo>
                      <a:pt x="148642" y="542584"/>
                    </a:lnTo>
                    <a:lnTo>
                      <a:pt x="149363" y="546641"/>
                    </a:lnTo>
                    <a:lnTo>
                      <a:pt x="150157" y="549689"/>
                    </a:lnTo>
                    <a:lnTo>
                      <a:pt x="152386" y="555794"/>
                    </a:lnTo>
                    <a:lnTo>
                      <a:pt x="149984" y="561305"/>
                    </a:lnTo>
                    <a:lnTo>
                      <a:pt x="148485" y="563908"/>
                    </a:lnTo>
                    <a:lnTo>
                      <a:pt x="146329" y="566006"/>
                    </a:lnTo>
                    <a:lnTo>
                      <a:pt x="147637" y="568887"/>
                    </a:lnTo>
                    <a:lnTo>
                      <a:pt x="144981" y="571897"/>
                    </a:lnTo>
                    <a:lnTo>
                      <a:pt x="143089" y="576089"/>
                    </a:lnTo>
                    <a:lnTo>
                      <a:pt x="141029" y="579822"/>
                    </a:lnTo>
                    <a:lnTo>
                      <a:pt x="137903" y="581368"/>
                    </a:lnTo>
                    <a:lnTo>
                      <a:pt x="135362" y="578298"/>
                    </a:lnTo>
                    <a:lnTo>
                      <a:pt x="134440" y="571448"/>
                    </a:lnTo>
                    <a:lnTo>
                      <a:pt x="133908" y="563679"/>
                    </a:lnTo>
                    <a:lnTo>
                      <a:pt x="133779" y="557932"/>
                    </a:lnTo>
                    <a:lnTo>
                      <a:pt x="132195" y="555771"/>
                    </a:lnTo>
                    <a:lnTo>
                      <a:pt x="131080" y="555183"/>
                    </a:lnTo>
                    <a:lnTo>
                      <a:pt x="129887" y="555914"/>
                    </a:lnTo>
                    <a:lnTo>
                      <a:pt x="128147" y="557713"/>
                    </a:lnTo>
                    <a:lnTo>
                      <a:pt x="126725" y="555277"/>
                    </a:lnTo>
                    <a:lnTo>
                      <a:pt x="125108" y="553549"/>
                    </a:lnTo>
                    <a:lnTo>
                      <a:pt x="123311" y="552529"/>
                    </a:lnTo>
                    <a:lnTo>
                      <a:pt x="121283" y="552215"/>
                    </a:lnTo>
                    <a:lnTo>
                      <a:pt x="121188" y="554592"/>
                    </a:lnTo>
                    <a:lnTo>
                      <a:pt x="124062" y="557802"/>
                    </a:lnTo>
                    <a:lnTo>
                      <a:pt x="120376" y="560114"/>
                    </a:lnTo>
                    <a:lnTo>
                      <a:pt x="90831" y="566632"/>
                    </a:lnTo>
                    <a:lnTo>
                      <a:pt x="90950" y="563805"/>
                    </a:lnTo>
                    <a:lnTo>
                      <a:pt x="93388" y="561820"/>
                    </a:lnTo>
                    <a:lnTo>
                      <a:pt x="100001" y="553737"/>
                    </a:lnTo>
                    <a:lnTo>
                      <a:pt x="100100" y="551361"/>
                    </a:lnTo>
                    <a:lnTo>
                      <a:pt x="96261" y="551048"/>
                    </a:lnTo>
                    <a:lnTo>
                      <a:pt x="92543" y="551842"/>
                    </a:lnTo>
                    <a:lnTo>
                      <a:pt x="88971" y="553560"/>
                    </a:lnTo>
                    <a:lnTo>
                      <a:pt x="85630" y="555988"/>
                    </a:lnTo>
                    <a:lnTo>
                      <a:pt x="81939" y="549623"/>
                    </a:lnTo>
                    <a:lnTo>
                      <a:pt x="79131" y="542408"/>
                    </a:lnTo>
                    <a:lnTo>
                      <a:pt x="81430" y="541478"/>
                    </a:lnTo>
                    <a:lnTo>
                      <a:pt x="83432" y="540162"/>
                    </a:lnTo>
                    <a:lnTo>
                      <a:pt x="85126" y="538180"/>
                    </a:lnTo>
                    <a:lnTo>
                      <a:pt x="86519" y="535143"/>
                    </a:lnTo>
                    <a:lnTo>
                      <a:pt x="77015" y="535642"/>
                    </a:lnTo>
                    <a:lnTo>
                      <a:pt x="73598" y="534421"/>
                    </a:lnTo>
                    <a:lnTo>
                      <a:pt x="64410" y="520904"/>
                    </a:lnTo>
                    <a:lnTo>
                      <a:pt x="63946" y="519609"/>
                    </a:lnTo>
                    <a:lnTo>
                      <a:pt x="63082" y="515960"/>
                    </a:lnTo>
                    <a:lnTo>
                      <a:pt x="62516" y="514285"/>
                    </a:lnTo>
                    <a:lnTo>
                      <a:pt x="61532" y="512608"/>
                    </a:lnTo>
                    <a:lnTo>
                      <a:pt x="60666" y="511653"/>
                    </a:lnTo>
                    <a:lnTo>
                      <a:pt x="59984" y="510346"/>
                    </a:lnTo>
                    <a:lnTo>
                      <a:pt x="59484" y="507616"/>
                    </a:lnTo>
                    <a:lnTo>
                      <a:pt x="69265" y="501197"/>
                    </a:lnTo>
                    <a:lnTo>
                      <a:pt x="73421" y="499540"/>
                    </a:lnTo>
                    <a:lnTo>
                      <a:pt x="77996" y="500577"/>
                    </a:lnTo>
                    <a:lnTo>
                      <a:pt x="81503" y="503994"/>
                    </a:lnTo>
                    <a:lnTo>
                      <a:pt x="84981" y="508717"/>
                    </a:lnTo>
                    <a:lnTo>
                      <a:pt x="89118" y="512844"/>
                    </a:lnTo>
                    <a:lnTo>
                      <a:pt x="94578" y="514348"/>
                    </a:lnTo>
                    <a:lnTo>
                      <a:pt x="92115" y="509173"/>
                    </a:lnTo>
                    <a:lnTo>
                      <a:pt x="79654" y="497800"/>
                    </a:lnTo>
                    <a:lnTo>
                      <a:pt x="77131" y="494378"/>
                    </a:lnTo>
                    <a:lnTo>
                      <a:pt x="75817" y="493139"/>
                    </a:lnTo>
                    <a:lnTo>
                      <a:pt x="73474" y="492572"/>
                    </a:lnTo>
                    <a:lnTo>
                      <a:pt x="71148" y="492953"/>
                    </a:lnTo>
                    <a:lnTo>
                      <a:pt x="66588" y="494669"/>
                    </a:lnTo>
                    <a:lnTo>
                      <a:pt x="64033" y="494526"/>
                    </a:lnTo>
                    <a:lnTo>
                      <a:pt x="67088" y="492295"/>
                    </a:lnTo>
                    <a:lnTo>
                      <a:pt x="67214" y="489437"/>
                    </a:lnTo>
                    <a:lnTo>
                      <a:pt x="65587" y="489023"/>
                    </a:lnTo>
                    <a:lnTo>
                      <a:pt x="61708" y="486581"/>
                    </a:lnTo>
                    <a:lnTo>
                      <a:pt x="63216" y="486087"/>
                    </a:lnTo>
                    <a:lnTo>
                      <a:pt x="63844" y="485554"/>
                    </a:lnTo>
                    <a:lnTo>
                      <a:pt x="64496" y="484089"/>
                    </a:lnTo>
                    <a:lnTo>
                      <a:pt x="62647" y="483012"/>
                    </a:lnTo>
                    <a:lnTo>
                      <a:pt x="61357" y="480901"/>
                    </a:lnTo>
                    <a:lnTo>
                      <a:pt x="61095" y="477761"/>
                    </a:lnTo>
                    <a:lnTo>
                      <a:pt x="62289" y="473565"/>
                    </a:lnTo>
                    <a:lnTo>
                      <a:pt x="59188" y="474269"/>
                    </a:lnTo>
                    <a:lnTo>
                      <a:pt x="54889" y="479214"/>
                    </a:lnTo>
                    <a:lnTo>
                      <a:pt x="52093" y="480926"/>
                    </a:lnTo>
                    <a:lnTo>
                      <a:pt x="53291" y="477618"/>
                    </a:lnTo>
                    <a:lnTo>
                      <a:pt x="53670" y="474071"/>
                    </a:lnTo>
                    <a:lnTo>
                      <a:pt x="53089" y="470606"/>
                    </a:lnTo>
                    <a:lnTo>
                      <a:pt x="51288" y="467615"/>
                    </a:lnTo>
                    <a:lnTo>
                      <a:pt x="49353" y="472555"/>
                    </a:lnTo>
                    <a:lnTo>
                      <a:pt x="46917" y="474095"/>
                    </a:lnTo>
                    <a:lnTo>
                      <a:pt x="44462" y="474964"/>
                    </a:lnTo>
                    <a:lnTo>
                      <a:pt x="42391" y="477875"/>
                    </a:lnTo>
                    <a:lnTo>
                      <a:pt x="41854" y="482239"/>
                    </a:lnTo>
                    <a:lnTo>
                      <a:pt x="43804" y="489315"/>
                    </a:lnTo>
                    <a:lnTo>
                      <a:pt x="43196" y="493599"/>
                    </a:lnTo>
                    <a:lnTo>
                      <a:pt x="39673" y="496411"/>
                    </a:lnTo>
                    <a:lnTo>
                      <a:pt x="21047" y="489000"/>
                    </a:lnTo>
                    <a:lnTo>
                      <a:pt x="16367" y="485542"/>
                    </a:lnTo>
                    <a:lnTo>
                      <a:pt x="12721" y="480701"/>
                    </a:lnTo>
                    <a:lnTo>
                      <a:pt x="11411" y="475159"/>
                    </a:lnTo>
                    <a:lnTo>
                      <a:pt x="9982" y="465130"/>
                    </a:lnTo>
                    <a:lnTo>
                      <a:pt x="1771" y="458199"/>
                    </a:lnTo>
                    <a:lnTo>
                      <a:pt x="0" y="449552"/>
                    </a:lnTo>
                    <a:lnTo>
                      <a:pt x="12616" y="450158"/>
                    </a:lnTo>
                    <a:lnTo>
                      <a:pt x="9920" y="446698"/>
                    </a:lnTo>
                    <a:lnTo>
                      <a:pt x="8290" y="442511"/>
                    </a:lnTo>
                    <a:lnTo>
                      <a:pt x="8121" y="437896"/>
                    </a:lnTo>
                    <a:lnTo>
                      <a:pt x="9874" y="433154"/>
                    </a:lnTo>
                    <a:lnTo>
                      <a:pt x="12828" y="429139"/>
                    </a:lnTo>
                    <a:lnTo>
                      <a:pt x="15007" y="428169"/>
                    </a:lnTo>
                    <a:lnTo>
                      <a:pt x="16890" y="429519"/>
                    </a:lnTo>
                    <a:lnTo>
                      <a:pt x="26975" y="446148"/>
                    </a:lnTo>
                    <a:lnTo>
                      <a:pt x="28088" y="449701"/>
                    </a:lnTo>
                    <a:lnTo>
                      <a:pt x="29872" y="452182"/>
                    </a:lnTo>
                    <a:lnTo>
                      <a:pt x="33444" y="455319"/>
                    </a:lnTo>
                    <a:lnTo>
                      <a:pt x="36132" y="456049"/>
                    </a:lnTo>
                    <a:lnTo>
                      <a:pt x="35177" y="451212"/>
                    </a:lnTo>
                    <a:lnTo>
                      <a:pt x="35287" y="448852"/>
                    </a:lnTo>
                    <a:lnTo>
                      <a:pt x="36199" y="448147"/>
                    </a:lnTo>
                    <a:lnTo>
                      <a:pt x="37099" y="446974"/>
                    </a:lnTo>
                    <a:lnTo>
                      <a:pt x="38089" y="446381"/>
                    </a:lnTo>
                    <a:lnTo>
                      <a:pt x="34760" y="441839"/>
                    </a:lnTo>
                    <a:lnTo>
                      <a:pt x="34248" y="440975"/>
                    </a:lnTo>
                    <a:lnTo>
                      <a:pt x="33723" y="439690"/>
                    </a:lnTo>
                    <a:lnTo>
                      <a:pt x="31998" y="436856"/>
                    </a:lnTo>
                    <a:lnTo>
                      <a:pt x="31700" y="435364"/>
                    </a:lnTo>
                    <a:lnTo>
                      <a:pt x="32278" y="433741"/>
                    </a:lnTo>
                    <a:lnTo>
                      <a:pt x="34202" y="433036"/>
                    </a:lnTo>
                    <a:lnTo>
                      <a:pt x="34680" y="431736"/>
                    </a:lnTo>
                    <a:lnTo>
                      <a:pt x="36394" y="429947"/>
                    </a:lnTo>
                    <a:lnTo>
                      <a:pt x="40027" y="430580"/>
                    </a:lnTo>
                    <a:lnTo>
                      <a:pt x="45947" y="433666"/>
                    </a:lnTo>
                    <a:lnTo>
                      <a:pt x="44246" y="426664"/>
                    </a:lnTo>
                    <a:lnTo>
                      <a:pt x="39322" y="420384"/>
                    </a:lnTo>
                    <a:lnTo>
                      <a:pt x="33266" y="415904"/>
                    </a:lnTo>
                    <a:lnTo>
                      <a:pt x="28228" y="414316"/>
                    </a:lnTo>
                    <a:lnTo>
                      <a:pt x="31106" y="410668"/>
                    </a:lnTo>
                    <a:lnTo>
                      <a:pt x="33539" y="405100"/>
                    </a:lnTo>
                    <a:lnTo>
                      <a:pt x="34229" y="399654"/>
                    </a:lnTo>
                    <a:lnTo>
                      <a:pt x="32020" y="396236"/>
                    </a:lnTo>
                    <a:lnTo>
                      <a:pt x="32155" y="393364"/>
                    </a:lnTo>
                    <a:lnTo>
                      <a:pt x="36380" y="393622"/>
                    </a:lnTo>
                    <a:lnTo>
                      <a:pt x="39140" y="396658"/>
                    </a:lnTo>
                    <a:lnTo>
                      <a:pt x="41295" y="400212"/>
                    </a:lnTo>
                    <a:lnTo>
                      <a:pt x="45666" y="403478"/>
                    </a:lnTo>
                    <a:lnTo>
                      <a:pt x="46304" y="406649"/>
                    </a:lnTo>
                    <a:lnTo>
                      <a:pt x="46459" y="410174"/>
                    </a:lnTo>
                    <a:lnTo>
                      <a:pt x="46916" y="412592"/>
                    </a:lnTo>
                    <a:lnTo>
                      <a:pt x="48755" y="415103"/>
                    </a:lnTo>
                    <a:lnTo>
                      <a:pt x="50104" y="416284"/>
                    </a:lnTo>
                    <a:lnTo>
                      <a:pt x="59399" y="422053"/>
                    </a:lnTo>
                    <a:lnTo>
                      <a:pt x="61527" y="424170"/>
                    </a:lnTo>
                    <a:lnTo>
                      <a:pt x="63687" y="427814"/>
                    </a:lnTo>
                    <a:lnTo>
                      <a:pt x="66446" y="431171"/>
                    </a:lnTo>
                    <a:lnTo>
                      <a:pt x="69180" y="430980"/>
                    </a:lnTo>
                    <a:lnTo>
                      <a:pt x="72117" y="429614"/>
                    </a:lnTo>
                    <a:lnTo>
                      <a:pt x="75590" y="429514"/>
                    </a:lnTo>
                    <a:lnTo>
                      <a:pt x="70432" y="440682"/>
                    </a:lnTo>
                    <a:lnTo>
                      <a:pt x="72450" y="441392"/>
                    </a:lnTo>
                    <a:lnTo>
                      <a:pt x="77091" y="435898"/>
                    </a:lnTo>
                    <a:lnTo>
                      <a:pt x="79846" y="428516"/>
                    </a:lnTo>
                    <a:lnTo>
                      <a:pt x="82513" y="430045"/>
                    </a:lnTo>
                    <a:lnTo>
                      <a:pt x="97227" y="451564"/>
                    </a:lnTo>
                    <a:lnTo>
                      <a:pt x="97336" y="448969"/>
                    </a:lnTo>
                    <a:lnTo>
                      <a:pt x="96388" y="447639"/>
                    </a:lnTo>
                    <a:lnTo>
                      <a:pt x="95433" y="445109"/>
                    </a:lnTo>
                    <a:lnTo>
                      <a:pt x="94625" y="443628"/>
                    </a:lnTo>
                    <a:lnTo>
                      <a:pt x="94965" y="438399"/>
                    </a:lnTo>
                    <a:lnTo>
                      <a:pt x="92315" y="433448"/>
                    </a:lnTo>
                    <a:lnTo>
                      <a:pt x="85619" y="424716"/>
                    </a:lnTo>
                    <a:lnTo>
                      <a:pt x="82562" y="416588"/>
                    </a:lnTo>
                    <a:lnTo>
                      <a:pt x="83489" y="412737"/>
                    </a:lnTo>
                    <a:lnTo>
                      <a:pt x="86403" y="409064"/>
                    </a:lnTo>
                    <a:lnTo>
                      <a:pt x="89311" y="401392"/>
                    </a:lnTo>
                    <a:lnTo>
                      <a:pt x="86820" y="401707"/>
                    </a:lnTo>
                    <a:lnTo>
                      <a:pt x="84498" y="401203"/>
                    </a:lnTo>
                    <a:lnTo>
                      <a:pt x="82545" y="400077"/>
                    </a:lnTo>
                    <a:lnTo>
                      <a:pt x="81157" y="398430"/>
                    </a:lnTo>
                    <a:lnTo>
                      <a:pt x="82283" y="393250"/>
                    </a:lnTo>
                    <a:lnTo>
                      <a:pt x="81344" y="390129"/>
                    </a:lnTo>
                    <a:lnTo>
                      <a:pt x="79719" y="387834"/>
                    </a:lnTo>
                    <a:lnTo>
                      <a:pt x="78806" y="385258"/>
                    </a:lnTo>
                    <a:lnTo>
                      <a:pt x="78772" y="380729"/>
                    </a:lnTo>
                    <a:lnTo>
                      <a:pt x="79286" y="379444"/>
                    </a:lnTo>
                    <a:lnTo>
                      <a:pt x="80701" y="379084"/>
                    </a:lnTo>
                    <a:lnTo>
                      <a:pt x="89110" y="374122"/>
                    </a:lnTo>
                    <a:lnTo>
                      <a:pt x="90545" y="372705"/>
                    </a:lnTo>
                    <a:lnTo>
                      <a:pt x="92511" y="368198"/>
                    </a:lnTo>
                    <a:lnTo>
                      <a:pt x="93913" y="363636"/>
                    </a:lnTo>
                    <a:lnTo>
                      <a:pt x="95521" y="361043"/>
                    </a:lnTo>
                    <a:lnTo>
                      <a:pt x="98077" y="362363"/>
                    </a:lnTo>
                    <a:lnTo>
                      <a:pt x="99674" y="361777"/>
                    </a:lnTo>
                    <a:lnTo>
                      <a:pt x="100354" y="361245"/>
                    </a:lnTo>
                    <a:close/>
                    <a:moveTo>
                      <a:pt x="700252" y="0"/>
                    </a:moveTo>
                    <a:lnTo>
                      <a:pt x="703552" y="603"/>
                    </a:lnTo>
                    <a:lnTo>
                      <a:pt x="704330" y="2639"/>
                    </a:lnTo>
                    <a:lnTo>
                      <a:pt x="704844" y="6196"/>
                    </a:lnTo>
                    <a:lnTo>
                      <a:pt x="705624" y="9552"/>
                    </a:lnTo>
                    <a:lnTo>
                      <a:pt x="707083" y="11042"/>
                    </a:lnTo>
                    <a:lnTo>
                      <a:pt x="713185" y="11034"/>
                    </a:lnTo>
                    <a:lnTo>
                      <a:pt x="726229" y="6856"/>
                    </a:lnTo>
                    <a:lnTo>
                      <a:pt x="734213" y="6026"/>
                    </a:lnTo>
                    <a:lnTo>
                      <a:pt x="744616" y="13572"/>
                    </a:lnTo>
                    <a:lnTo>
                      <a:pt x="751214" y="13607"/>
                    </a:lnTo>
                    <a:lnTo>
                      <a:pt x="764305" y="10854"/>
                    </a:lnTo>
                    <a:lnTo>
                      <a:pt x="771041" y="13800"/>
                    </a:lnTo>
                    <a:lnTo>
                      <a:pt x="769835" y="20754"/>
                    </a:lnTo>
                    <a:lnTo>
                      <a:pt x="766089" y="28607"/>
                    </a:lnTo>
                    <a:lnTo>
                      <a:pt x="765172" y="34300"/>
                    </a:lnTo>
                    <a:lnTo>
                      <a:pt x="762944" y="37483"/>
                    </a:lnTo>
                    <a:lnTo>
                      <a:pt x="759995" y="44398"/>
                    </a:lnTo>
                    <a:lnTo>
                      <a:pt x="758193" y="47624"/>
                    </a:lnTo>
                    <a:lnTo>
                      <a:pt x="752990" y="52731"/>
                    </a:lnTo>
                    <a:lnTo>
                      <a:pt x="751548" y="55255"/>
                    </a:lnTo>
                    <a:lnTo>
                      <a:pt x="749340" y="62678"/>
                    </a:lnTo>
                    <a:lnTo>
                      <a:pt x="749359" y="68879"/>
                    </a:lnTo>
                    <a:lnTo>
                      <a:pt x="751493" y="73439"/>
                    </a:lnTo>
                    <a:lnTo>
                      <a:pt x="755742" y="76077"/>
                    </a:lnTo>
                    <a:lnTo>
                      <a:pt x="758229" y="75770"/>
                    </a:lnTo>
                    <a:lnTo>
                      <a:pt x="760443" y="74454"/>
                    </a:lnTo>
                    <a:lnTo>
                      <a:pt x="762343" y="73946"/>
                    </a:lnTo>
                    <a:lnTo>
                      <a:pt x="763915" y="76036"/>
                    </a:lnTo>
                    <a:lnTo>
                      <a:pt x="764598" y="80508"/>
                    </a:lnTo>
                    <a:lnTo>
                      <a:pt x="763738" y="83916"/>
                    </a:lnTo>
                    <a:lnTo>
                      <a:pt x="761944" y="86102"/>
                    </a:lnTo>
                    <a:lnTo>
                      <a:pt x="759887" y="86733"/>
                    </a:lnTo>
                    <a:lnTo>
                      <a:pt x="758099" y="100233"/>
                    </a:lnTo>
                    <a:lnTo>
                      <a:pt x="749472" y="117431"/>
                    </a:lnTo>
                    <a:lnTo>
                      <a:pt x="738907" y="133075"/>
                    </a:lnTo>
                    <a:lnTo>
                      <a:pt x="731354" y="141835"/>
                    </a:lnTo>
                    <a:lnTo>
                      <a:pt x="722981" y="146800"/>
                    </a:lnTo>
                    <a:lnTo>
                      <a:pt x="705395" y="153140"/>
                    </a:lnTo>
                    <a:lnTo>
                      <a:pt x="698330" y="157544"/>
                    </a:lnTo>
                    <a:lnTo>
                      <a:pt x="687651" y="168456"/>
                    </a:lnTo>
                    <a:lnTo>
                      <a:pt x="685857" y="171999"/>
                    </a:lnTo>
                    <a:lnTo>
                      <a:pt x="684298" y="178340"/>
                    </a:lnTo>
                    <a:lnTo>
                      <a:pt x="680524" y="184726"/>
                    </a:lnTo>
                    <a:lnTo>
                      <a:pt x="672084" y="194276"/>
                    </a:lnTo>
                    <a:lnTo>
                      <a:pt x="627616" y="230907"/>
                    </a:lnTo>
                    <a:lnTo>
                      <a:pt x="612577" y="238572"/>
                    </a:lnTo>
                    <a:lnTo>
                      <a:pt x="608851" y="242312"/>
                    </a:lnTo>
                    <a:lnTo>
                      <a:pt x="607057" y="246358"/>
                    </a:lnTo>
                    <a:lnTo>
                      <a:pt x="605016" y="254086"/>
                    </a:lnTo>
                    <a:lnTo>
                      <a:pt x="603861" y="256862"/>
                    </a:lnTo>
                    <a:lnTo>
                      <a:pt x="602053" y="258747"/>
                    </a:lnTo>
                    <a:lnTo>
                      <a:pt x="596964" y="261589"/>
                    </a:lnTo>
                    <a:lnTo>
                      <a:pt x="590532" y="263053"/>
                    </a:lnTo>
                    <a:lnTo>
                      <a:pt x="577463" y="272078"/>
                    </a:lnTo>
                    <a:lnTo>
                      <a:pt x="575522" y="273275"/>
                    </a:lnTo>
                    <a:lnTo>
                      <a:pt x="574142" y="275548"/>
                    </a:lnTo>
                    <a:lnTo>
                      <a:pt x="573364" y="278713"/>
                    </a:lnTo>
                    <a:lnTo>
                      <a:pt x="573214" y="282722"/>
                    </a:lnTo>
                    <a:lnTo>
                      <a:pt x="569912" y="280782"/>
                    </a:lnTo>
                    <a:lnTo>
                      <a:pt x="568954" y="279841"/>
                    </a:lnTo>
                    <a:lnTo>
                      <a:pt x="570370" y="277475"/>
                    </a:lnTo>
                    <a:lnTo>
                      <a:pt x="567552" y="275959"/>
                    </a:lnTo>
                    <a:lnTo>
                      <a:pt x="562360" y="275229"/>
                    </a:lnTo>
                    <a:lnTo>
                      <a:pt x="556592" y="271662"/>
                    </a:lnTo>
                    <a:lnTo>
                      <a:pt x="555620" y="273191"/>
                    </a:lnTo>
                    <a:lnTo>
                      <a:pt x="556151" y="276353"/>
                    </a:lnTo>
                    <a:lnTo>
                      <a:pt x="557884" y="279741"/>
                    </a:lnTo>
                    <a:lnTo>
                      <a:pt x="560900" y="282101"/>
                    </a:lnTo>
                    <a:lnTo>
                      <a:pt x="567222" y="282454"/>
                    </a:lnTo>
                    <a:lnTo>
                      <a:pt x="570313" y="284003"/>
                    </a:lnTo>
                    <a:lnTo>
                      <a:pt x="571669" y="285740"/>
                    </a:lnTo>
                    <a:lnTo>
                      <a:pt x="575902" y="293189"/>
                    </a:lnTo>
                    <a:lnTo>
                      <a:pt x="571644" y="300289"/>
                    </a:lnTo>
                    <a:lnTo>
                      <a:pt x="570618" y="304198"/>
                    </a:lnTo>
                    <a:lnTo>
                      <a:pt x="571490" y="308574"/>
                    </a:lnTo>
                    <a:lnTo>
                      <a:pt x="568281" y="308484"/>
                    </a:lnTo>
                    <a:lnTo>
                      <a:pt x="562264" y="306036"/>
                    </a:lnTo>
                    <a:lnTo>
                      <a:pt x="559138" y="306070"/>
                    </a:lnTo>
                    <a:lnTo>
                      <a:pt x="557271" y="307545"/>
                    </a:lnTo>
                    <a:lnTo>
                      <a:pt x="553649" y="312437"/>
                    </a:lnTo>
                    <a:lnTo>
                      <a:pt x="551997" y="313820"/>
                    </a:lnTo>
                    <a:lnTo>
                      <a:pt x="546313" y="313593"/>
                    </a:lnTo>
                    <a:lnTo>
                      <a:pt x="534689" y="307391"/>
                    </a:lnTo>
                    <a:lnTo>
                      <a:pt x="529066" y="305758"/>
                    </a:lnTo>
                    <a:lnTo>
                      <a:pt x="512602" y="309913"/>
                    </a:lnTo>
                    <a:lnTo>
                      <a:pt x="508160" y="306700"/>
                    </a:lnTo>
                    <a:lnTo>
                      <a:pt x="501735" y="297381"/>
                    </a:lnTo>
                    <a:lnTo>
                      <a:pt x="497900" y="293785"/>
                    </a:lnTo>
                    <a:lnTo>
                      <a:pt x="493838" y="292283"/>
                    </a:lnTo>
                    <a:lnTo>
                      <a:pt x="504345" y="308687"/>
                    </a:lnTo>
                    <a:lnTo>
                      <a:pt x="510751" y="314210"/>
                    </a:lnTo>
                    <a:lnTo>
                      <a:pt x="518525" y="316063"/>
                    </a:lnTo>
                    <a:lnTo>
                      <a:pt x="526773" y="312198"/>
                    </a:lnTo>
                    <a:lnTo>
                      <a:pt x="531019" y="311500"/>
                    </a:lnTo>
                    <a:lnTo>
                      <a:pt x="534571" y="314944"/>
                    </a:lnTo>
                    <a:lnTo>
                      <a:pt x="538008" y="319288"/>
                    </a:lnTo>
                    <a:lnTo>
                      <a:pt x="542797" y="322852"/>
                    </a:lnTo>
                    <a:lnTo>
                      <a:pt x="546110" y="322761"/>
                    </a:lnTo>
                    <a:lnTo>
                      <a:pt x="545035" y="316362"/>
                    </a:lnTo>
                    <a:lnTo>
                      <a:pt x="557968" y="325536"/>
                    </a:lnTo>
                    <a:lnTo>
                      <a:pt x="565106" y="327513"/>
                    </a:lnTo>
                    <a:lnTo>
                      <a:pt x="576663" y="318377"/>
                    </a:lnTo>
                    <a:lnTo>
                      <a:pt x="583165" y="319967"/>
                    </a:lnTo>
                    <a:lnTo>
                      <a:pt x="586747" y="324829"/>
                    </a:lnTo>
                    <a:lnTo>
                      <a:pt x="583935" y="329766"/>
                    </a:lnTo>
                    <a:lnTo>
                      <a:pt x="590549" y="331726"/>
                    </a:lnTo>
                    <a:lnTo>
                      <a:pt x="598128" y="328326"/>
                    </a:lnTo>
                    <a:lnTo>
                      <a:pt x="605461" y="321424"/>
                    </a:lnTo>
                    <a:lnTo>
                      <a:pt x="611272" y="312971"/>
                    </a:lnTo>
                    <a:lnTo>
                      <a:pt x="614361" y="309397"/>
                    </a:lnTo>
                    <a:lnTo>
                      <a:pt x="616882" y="309831"/>
                    </a:lnTo>
                    <a:lnTo>
                      <a:pt x="618203" y="313568"/>
                    </a:lnTo>
                    <a:lnTo>
                      <a:pt x="617608" y="319767"/>
                    </a:lnTo>
                    <a:lnTo>
                      <a:pt x="616001" y="323085"/>
                    </a:lnTo>
                    <a:lnTo>
                      <a:pt x="588057" y="359548"/>
                    </a:lnTo>
                    <a:lnTo>
                      <a:pt x="583371" y="363291"/>
                    </a:lnTo>
                    <a:lnTo>
                      <a:pt x="577923" y="371519"/>
                    </a:lnTo>
                    <a:lnTo>
                      <a:pt x="575232" y="374279"/>
                    </a:lnTo>
                    <a:lnTo>
                      <a:pt x="571186" y="375085"/>
                    </a:lnTo>
                    <a:lnTo>
                      <a:pt x="568008" y="373519"/>
                    </a:lnTo>
                    <a:lnTo>
                      <a:pt x="567027" y="369733"/>
                    </a:lnTo>
                    <a:lnTo>
                      <a:pt x="569621" y="363787"/>
                    </a:lnTo>
                    <a:lnTo>
                      <a:pt x="564205" y="358408"/>
                    </a:lnTo>
                    <a:lnTo>
                      <a:pt x="557040" y="361015"/>
                    </a:lnTo>
                    <a:lnTo>
                      <a:pt x="541093" y="375267"/>
                    </a:lnTo>
                    <a:lnTo>
                      <a:pt x="538379" y="376436"/>
                    </a:lnTo>
                    <a:lnTo>
                      <a:pt x="533179" y="376720"/>
                    </a:lnTo>
                    <a:lnTo>
                      <a:pt x="519800" y="380328"/>
                    </a:lnTo>
                    <a:lnTo>
                      <a:pt x="516017" y="379551"/>
                    </a:lnTo>
                    <a:lnTo>
                      <a:pt x="512548" y="379680"/>
                    </a:lnTo>
                    <a:lnTo>
                      <a:pt x="510986" y="384074"/>
                    </a:lnTo>
                    <a:lnTo>
                      <a:pt x="509555" y="389310"/>
                    </a:lnTo>
                    <a:lnTo>
                      <a:pt x="506410" y="391788"/>
                    </a:lnTo>
                    <a:lnTo>
                      <a:pt x="503498" y="392963"/>
                    </a:lnTo>
                    <a:lnTo>
                      <a:pt x="490012" y="406367"/>
                    </a:lnTo>
                    <a:lnTo>
                      <a:pt x="488135" y="408843"/>
                    </a:lnTo>
                    <a:lnTo>
                      <a:pt x="486413" y="412642"/>
                    </a:lnTo>
                    <a:lnTo>
                      <a:pt x="484660" y="418510"/>
                    </a:lnTo>
                    <a:lnTo>
                      <a:pt x="485681" y="418804"/>
                    </a:lnTo>
                    <a:lnTo>
                      <a:pt x="488489" y="416683"/>
                    </a:lnTo>
                    <a:lnTo>
                      <a:pt x="494678" y="414143"/>
                    </a:lnTo>
                    <a:lnTo>
                      <a:pt x="497745" y="411168"/>
                    </a:lnTo>
                    <a:lnTo>
                      <a:pt x="500672" y="407336"/>
                    </a:lnTo>
                    <a:lnTo>
                      <a:pt x="502822" y="403619"/>
                    </a:lnTo>
                    <a:lnTo>
                      <a:pt x="505341" y="400169"/>
                    </a:lnTo>
                    <a:lnTo>
                      <a:pt x="514749" y="394506"/>
                    </a:lnTo>
                    <a:lnTo>
                      <a:pt x="522738" y="386347"/>
                    </a:lnTo>
                    <a:lnTo>
                      <a:pt x="531508" y="381878"/>
                    </a:lnTo>
                    <a:lnTo>
                      <a:pt x="533173" y="381696"/>
                    </a:lnTo>
                    <a:lnTo>
                      <a:pt x="535515" y="382762"/>
                    </a:lnTo>
                    <a:lnTo>
                      <a:pt x="538180" y="386242"/>
                    </a:lnTo>
                    <a:lnTo>
                      <a:pt x="548438" y="388665"/>
                    </a:lnTo>
                    <a:lnTo>
                      <a:pt x="552924" y="388553"/>
                    </a:lnTo>
                    <a:lnTo>
                      <a:pt x="556236" y="385957"/>
                    </a:lnTo>
                    <a:lnTo>
                      <a:pt x="558840" y="383184"/>
                    </a:lnTo>
                    <a:lnTo>
                      <a:pt x="567772" y="377574"/>
                    </a:lnTo>
                    <a:lnTo>
                      <a:pt x="570903" y="377088"/>
                    </a:lnTo>
                    <a:lnTo>
                      <a:pt x="571851" y="381899"/>
                    </a:lnTo>
                    <a:lnTo>
                      <a:pt x="567540" y="389791"/>
                    </a:lnTo>
                    <a:lnTo>
                      <a:pt x="561556" y="397185"/>
                    </a:lnTo>
                    <a:lnTo>
                      <a:pt x="555533" y="401853"/>
                    </a:lnTo>
                    <a:lnTo>
                      <a:pt x="548220" y="413395"/>
                    </a:lnTo>
                    <a:lnTo>
                      <a:pt x="548834" y="415359"/>
                    </a:lnTo>
                    <a:lnTo>
                      <a:pt x="549470" y="416781"/>
                    </a:lnTo>
                    <a:lnTo>
                      <a:pt x="550160" y="417814"/>
                    </a:lnTo>
                    <a:lnTo>
                      <a:pt x="550952" y="418645"/>
                    </a:lnTo>
                    <a:lnTo>
                      <a:pt x="541437" y="419481"/>
                    </a:lnTo>
                    <a:lnTo>
                      <a:pt x="537459" y="421771"/>
                    </a:lnTo>
                    <a:lnTo>
                      <a:pt x="533956" y="426289"/>
                    </a:lnTo>
                    <a:lnTo>
                      <a:pt x="535844" y="429853"/>
                    </a:lnTo>
                    <a:lnTo>
                      <a:pt x="534436" y="430366"/>
                    </a:lnTo>
                    <a:lnTo>
                      <a:pt x="529722" y="428821"/>
                    </a:lnTo>
                    <a:lnTo>
                      <a:pt x="518525" y="428690"/>
                    </a:lnTo>
                    <a:lnTo>
                      <a:pt x="518490" y="431551"/>
                    </a:lnTo>
                    <a:lnTo>
                      <a:pt x="524367" y="431418"/>
                    </a:lnTo>
                    <a:lnTo>
                      <a:pt x="527164" y="432103"/>
                    </a:lnTo>
                    <a:lnTo>
                      <a:pt x="529662" y="434044"/>
                    </a:lnTo>
                    <a:lnTo>
                      <a:pt x="525803" y="442768"/>
                    </a:lnTo>
                    <a:lnTo>
                      <a:pt x="523469" y="446611"/>
                    </a:lnTo>
                    <a:lnTo>
                      <a:pt x="521077" y="449584"/>
                    </a:lnTo>
                    <a:lnTo>
                      <a:pt x="528474" y="451691"/>
                    </a:lnTo>
                    <a:lnTo>
                      <a:pt x="532165" y="451950"/>
                    </a:lnTo>
                    <a:lnTo>
                      <a:pt x="536486" y="449759"/>
                    </a:lnTo>
                    <a:lnTo>
                      <a:pt x="539873" y="445581"/>
                    </a:lnTo>
                    <a:lnTo>
                      <a:pt x="541454" y="443095"/>
                    </a:lnTo>
                    <a:lnTo>
                      <a:pt x="541615" y="442009"/>
                    </a:lnTo>
                    <a:lnTo>
                      <a:pt x="546246" y="441683"/>
                    </a:lnTo>
                    <a:lnTo>
                      <a:pt x="548429" y="440586"/>
                    </a:lnTo>
                    <a:lnTo>
                      <a:pt x="552318" y="434934"/>
                    </a:lnTo>
                    <a:lnTo>
                      <a:pt x="555326" y="432010"/>
                    </a:lnTo>
                    <a:lnTo>
                      <a:pt x="558567" y="429926"/>
                    </a:lnTo>
                    <a:lnTo>
                      <a:pt x="561479" y="429144"/>
                    </a:lnTo>
                    <a:lnTo>
                      <a:pt x="565216" y="427344"/>
                    </a:lnTo>
                    <a:lnTo>
                      <a:pt x="562902" y="423126"/>
                    </a:lnTo>
                    <a:lnTo>
                      <a:pt x="555304" y="416075"/>
                    </a:lnTo>
                    <a:lnTo>
                      <a:pt x="561003" y="416501"/>
                    </a:lnTo>
                    <a:lnTo>
                      <a:pt x="579809" y="413675"/>
                    </a:lnTo>
                    <a:lnTo>
                      <a:pt x="599474" y="415759"/>
                    </a:lnTo>
                    <a:lnTo>
                      <a:pt x="605796" y="413853"/>
                    </a:lnTo>
                    <a:lnTo>
                      <a:pt x="622831" y="401197"/>
                    </a:lnTo>
                    <a:lnTo>
                      <a:pt x="622834" y="401209"/>
                    </a:lnTo>
                    <a:lnTo>
                      <a:pt x="622953" y="401683"/>
                    </a:lnTo>
                    <a:lnTo>
                      <a:pt x="626230" y="408963"/>
                    </a:lnTo>
                    <a:lnTo>
                      <a:pt x="628014" y="417026"/>
                    </a:lnTo>
                    <a:lnTo>
                      <a:pt x="632105" y="419905"/>
                    </a:lnTo>
                    <a:lnTo>
                      <a:pt x="631965" y="424268"/>
                    </a:lnTo>
                    <a:lnTo>
                      <a:pt x="630588" y="426809"/>
                    </a:lnTo>
                    <a:lnTo>
                      <a:pt x="631769" y="430634"/>
                    </a:lnTo>
                    <a:lnTo>
                      <a:pt x="631456" y="437118"/>
                    </a:lnTo>
                    <a:lnTo>
                      <a:pt x="636462" y="440947"/>
                    </a:lnTo>
                    <a:lnTo>
                      <a:pt x="637640" y="446361"/>
                    </a:lnTo>
                    <a:lnTo>
                      <a:pt x="638074" y="452188"/>
                    </a:lnTo>
                    <a:lnTo>
                      <a:pt x="636436" y="464283"/>
                    </a:lnTo>
                    <a:lnTo>
                      <a:pt x="636871" y="470127"/>
                    </a:lnTo>
                    <a:lnTo>
                      <a:pt x="629738" y="479014"/>
                    </a:lnTo>
                    <a:lnTo>
                      <a:pt x="628692" y="483461"/>
                    </a:lnTo>
                    <a:lnTo>
                      <a:pt x="629880" y="485598"/>
                    </a:lnTo>
                    <a:lnTo>
                      <a:pt x="633325" y="484664"/>
                    </a:lnTo>
                    <a:lnTo>
                      <a:pt x="640612" y="475985"/>
                    </a:lnTo>
                    <a:lnTo>
                      <a:pt x="652157" y="474639"/>
                    </a:lnTo>
                    <a:lnTo>
                      <a:pt x="655202" y="470718"/>
                    </a:lnTo>
                    <a:lnTo>
                      <a:pt x="658750" y="469127"/>
                    </a:lnTo>
                    <a:lnTo>
                      <a:pt x="675263" y="465866"/>
                    </a:lnTo>
                    <a:lnTo>
                      <a:pt x="687479" y="477868"/>
                    </a:lnTo>
                    <a:lnTo>
                      <a:pt x="695875" y="479664"/>
                    </a:lnTo>
                    <a:lnTo>
                      <a:pt x="698638" y="494943"/>
                    </a:lnTo>
                    <a:lnTo>
                      <a:pt x="697325" y="499188"/>
                    </a:lnTo>
                    <a:lnTo>
                      <a:pt x="691655" y="503987"/>
                    </a:lnTo>
                    <a:lnTo>
                      <a:pt x="686096" y="514806"/>
                    </a:lnTo>
                    <a:lnTo>
                      <a:pt x="680368" y="519462"/>
                    </a:lnTo>
                    <a:lnTo>
                      <a:pt x="677548" y="524020"/>
                    </a:lnTo>
                    <a:lnTo>
                      <a:pt x="678351" y="526469"/>
                    </a:lnTo>
                    <a:lnTo>
                      <a:pt x="686091" y="531468"/>
                    </a:lnTo>
                    <a:lnTo>
                      <a:pt x="684076" y="550025"/>
                    </a:lnTo>
                    <a:lnTo>
                      <a:pt x="691253" y="555447"/>
                    </a:lnTo>
                    <a:lnTo>
                      <a:pt x="689184" y="559267"/>
                    </a:lnTo>
                    <a:lnTo>
                      <a:pt x="689815" y="563294"/>
                    </a:lnTo>
                    <a:lnTo>
                      <a:pt x="687867" y="568605"/>
                    </a:lnTo>
                    <a:lnTo>
                      <a:pt x="684580" y="572631"/>
                    </a:lnTo>
                    <a:lnTo>
                      <a:pt x="679923" y="572422"/>
                    </a:lnTo>
                    <a:lnTo>
                      <a:pt x="668343" y="578026"/>
                    </a:lnTo>
                    <a:lnTo>
                      <a:pt x="663039" y="585025"/>
                    </a:lnTo>
                    <a:lnTo>
                      <a:pt x="656638" y="589059"/>
                    </a:lnTo>
                    <a:lnTo>
                      <a:pt x="651025" y="595718"/>
                    </a:lnTo>
                    <a:lnTo>
                      <a:pt x="645319" y="596333"/>
                    </a:lnTo>
                    <a:lnTo>
                      <a:pt x="638209" y="603634"/>
                    </a:lnTo>
                    <a:lnTo>
                      <a:pt x="637452" y="604076"/>
                    </a:lnTo>
                    <a:lnTo>
                      <a:pt x="625484" y="611007"/>
                    </a:lnTo>
                    <a:lnTo>
                      <a:pt x="623791" y="615046"/>
                    </a:lnTo>
                    <a:lnTo>
                      <a:pt x="624934" y="617490"/>
                    </a:lnTo>
                    <a:lnTo>
                      <a:pt x="622915" y="629889"/>
                    </a:lnTo>
                    <a:lnTo>
                      <a:pt x="623485" y="643693"/>
                    </a:lnTo>
                    <a:lnTo>
                      <a:pt x="621842" y="647515"/>
                    </a:lnTo>
                    <a:lnTo>
                      <a:pt x="616029" y="654061"/>
                    </a:lnTo>
                    <a:lnTo>
                      <a:pt x="612836" y="667095"/>
                    </a:lnTo>
                    <a:lnTo>
                      <a:pt x="608604" y="665582"/>
                    </a:lnTo>
                    <a:lnTo>
                      <a:pt x="595785" y="669126"/>
                    </a:lnTo>
                    <a:lnTo>
                      <a:pt x="591569" y="667815"/>
                    </a:lnTo>
                    <a:lnTo>
                      <a:pt x="582815" y="660328"/>
                    </a:lnTo>
                    <a:lnTo>
                      <a:pt x="580896" y="661894"/>
                    </a:lnTo>
                    <a:lnTo>
                      <a:pt x="578710" y="667306"/>
                    </a:lnTo>
                    <a:lnTo>
                      <a:pt x="577345" y="678531"/>
                    </a:lnTo>
                    <a:lnTo>
                      <a:pt x="575250" y="680114"/>
                    </a:lnTo>
                    <a:lnTo>
                      <a:pt x="563388" y="677360"/>
                    </a:lnTo>
                    <a:lnTo>
                      <a:pt x="549568" y="679986"/>
                    </a:lnTo>
                    <a:lnTo>
                      <a:pt x="536049" y="674754"/>
                    </a:lnTo>
                    <a:lnTo>
                      <a:pt x="533203" y="675158"/>
                    </a:lnTo>
                    <a:lnTo>
                      <a:pt x="528046" y="680611"/>
                    </a:lnTo>
                    <a:lnTo>
                      <a:pt x="529475" y="687419"/>
                    </a:lnTo>
                    <a:lnTo>
                      <a:pt x="528176" y="689636"/>
                    </a:lnTo>
                    <a:lnTo>
                      <a:pt x="517254" y="695769"/>
                    </a:lnTo>
                    <a:lnTo>
                      <a:pt x="506763" y="698720"/>
                    </a:lnTo>
                    <a:lnTo>
                      <a:pt x="500448" y="706598"/>
                    </a:lnTo>
                    <a:lnTo>
                      <a:pt x="493377" y="705555"/>
                    </a:lnTo>
                    <a:lnTo>
                      <a:pt x="490960" y="707250"/>
                    </a:lnTo>
                    <a:lnTo>
                      <a:pt x="490336" y="708239"/>
                    </a:lnTo>
                    <a:lnTo>
                      <a:pt x="487701" y="710710"/>
                    </a:lnTo>
                    <a:lnTo>
                      <a:pt x="478493" y="723769"/>
                    </a:lnTo>
                    <a:lnTo>
                      <a:pt x="476291" y="723737"/>
                    </a:lnTo>
                    <a:lnTo>
                      <a:pt x="470601" y="720829"/>
                    </a:lnTo>
                    <a:lnTo>
                      <a:pt x="466571" y="714508"/>
                    </a:lnTo>
                    <a:lnTo>
                      <a:pt x="462396" y="713910"/>
                    </a:lnTo>
                    <a:lnTo>
                      <a:pt x="455901" y="723581"/>
                    </a:lnTo>
                    <a:lnTo>
                      <a:pt x="454291" y="729064"/>
                    </a:lnTo>
                    <a:lnTo>
                      <a:pt x="448662" y="732271"/>
                    </a:lnTo>
                    <a:lnTo>
                      <a:pt x="449477" y="742789"/>
                    </a:lnTo>
                    <a:lnTo>
                      <a:pt x="445146" y="747062"/>
                    </a:lnTo>
                    <a:lnTo>
                      <a:pt x="444284" y="749929"/>
                    </a:lnTo>
                    <a:lnTo>
                      <a:pt x="446565" y="756111"/>
                    </a:lnTo>
                    <a:lnTo>
                      <a:pt x="434100" y="762374"/>
                    </a:lnTo>
                    <a:lnTo>
                      <a:pt x="421990" y="764171"/>
                    </a:lnTo>
                    <a:lnTo>
                      <a:pt x="420658" y="766911"/>
                    </a:lnTo>
                    <a:lnTo>
                      <a:pt x="420559" y="775144"/>
                    </a:lnTo>
                    <a:lnTo>
                      <a:pt x="420001" y="775094"/>
                    </a:lnTo>
                    <a:lnTo>
                      <a:pt x="410362" y="774261"/>
                    </a:lnTo>
                    <a:lnTo>
                      <a:pt x="409304" y="773629"/>
                    </a:lnTo>
                    <a:lnTo>
                      <a:pt x="403390" y="770078"/>
                    </a:lnTo>
                    <a:lnTo>
                      <a:pt x="387970" y="772512"/>
                    </a:lnTo>
                    <a:lnTo>
                      <a:pt x="381748" y="768679"/>
                    </a:lnTo>
                    <a:lnTo>
                      <a:pt x="381421" y="768484"/>
                    </a:lnTo>
                    <a:lnTo>
                      <a:pt x="380064" y="768238"/>
                    </a:lnTo>
                    <a:lnTo>
                      <a:pt x="375382" y="767368"/>
                    </a:lnTo>
                    <a:lnTo>
                      <a:pt x="365496" y="772959"/>
                    </a:lnTo>
                    <a:lnTo>
                      <a:pt x="355132" y="774008"/>
                    </a:lnTo>
                    <a:lnTo>
                      <a:pt x="351073" y="780590"/>
                    </a:lnTo>
                    <a:lnTo>
                      <a:pt x="346294" y="782533"/>
                    </a:lnTo>
                    <a:lnTo>
                      <a:pt x="343235" y="786588"/>
                    </a:lnTo>
                    <a:lnTo>
                      <a:pt x="328704" y="782721"/>
                    </a:lnTo>
                    <a:lnTo>
                      <a:pt x="323700" y="777085"/>
                    </a:lnTo>
                    <a:lnTo>
                      <a:pt x="296989" y="772975"/>
                    </a:lnTo>
                    <a:lnTo>
                      <a:pt x="296475" y="772880"/>
                    </a:lnTo>
                    <a:lnTo>
                      <a:pt x="295370" y="772792"/>
                    </a:lnTo>
                    <a:lnTo>
                      <a:pt x="295368" y="772792"/>
                    </a:lnTo>
                    <a:lnTo>
                      <a:pt x="295367" y="772792"/>
                    </a:lnTo>
                    <a:lnTo>
                      <a:pt x="295368" y="772791"/>
                    </a:lnTo>
                    <a:lnTo>
                      <a:pt x="296706" y="770431"/>
                    </a:lnTo>
                    <a:lnTo>
                      <a:pt x="292725" y="767477"/>
                    </a:lnTo>
                    <a:lnTo>
                      <a:pt x="292803" y="764633"/>
                    </a:lnTo>
                    <a:lnTo>
                      <a:pt x="294662" y="763563"/>
                    </a:lnTo>
                    <a:lnTo>
                      <a:pt x="299454" y="759587"/>
                    </a:lnTo>
                    <a:lnTo>
                      <a:pt x="304749" y="760366"/>
                    </a:lnTo>
                    <a:lnTo>
                      <a:pt x="307540" y="760159"/>
                    </a:lnTo>
                    <a:lnTo>
                      <a:pt x="313834" y="754739"/>
                    </a:lnTo>
                    <a:lnTo>
                      <a:pt x="318547" y="754859"/>
                    </a:lnTo>
                    <a:lnTo>
                      <a:pt x="327524" y="757932"/>
                    </a:lnTo>
                    <a:lnTo>
                      <a:pt x="331893" y="756780"/>
                    </a:lnTo>
                    <a:lnTo>
                      <a:pt x="340267" y="751431"/>
                    </a:lnTo>
                    <a:lnTo>
                      <a:pt x="357256" y="747909"/>
                    </a:lnTo>
                    <a:lnTo>
                      <a:pt x="360924" y="745443"/>
                    </a:lnTo>
                    <a:lnTo>
                      <a:pt x="326145" y="752298"/>
                    </a:lnTo>
                    <a:lnTo>
                      <a:pt x="310052" y="743956"/>
                    </a:lnTo>
                    <a:lnTo>
                      <a:pt x="310060" y="741686"/>
                    </a:lnTo>
                    <a:lnTo>
                      <a:pt x="312315" y="736426"/>
                    </a:lnTo>
                    <a:lnTo>
                      <a:pt x="313695" y="734532"/>
                    </a:lnTo>
                    <a:lnTo>
                      <a:pt x="328212" y="719317"/>
                    </a:lnTo>
                    <a:lnTo>
                      <a:pt x="332193" y="713117"/>
                    </a:lnTo>
                    <a:lnTo>
                      <a:pt x="335859" y="705696"/>
                    </a:lnTo>
                    <a:lnTo>
                      <a:pt x="323171" y="716531"/>
                    </a:lnTo>
                    <a:lnTo>
                      <a:pt x="321329" y="719581"/>
                    </a:lnTo>
                    <a:lnTo>
                      <a:pt x="320371" y="722045"/>
                    </a:lnTo>
                    <a:lnTo>
                      <a:pt x="318119" y="724102"/>
                    </a:lnTo>
                    <a:lnTo>
                      <a:pt x="315482" y="725527"/>
                    </a:lnTo>
                    <a:lnTo>
                      <a:pt x="313312" y="726031"/>
                    </a:lnTo>
                    <a:lnTo>
                      <a:pt x="311501" y="727150"/>
                    </a:lnTo>
                    <a:lnTo>
                      <a:pt x="310677" y="729928"/>
                    </a:lnTo>
                    <a:lnTo>
                      <a:pt x="310196" y="733322"/>
                    </a:lnTo>
                    <a:lnTo>
                      <a:pt x="309459" y="736351"/>
                    </a:lnTo>
                    <a:lnTo>
                      <a:pt x="306545" y="741967"/>
                    </a:lnTo>
                    <a:lnTo>
                      <a:pt x="303686" y="745142"/>
                    </a:lnTo>
                    <a:lnTo>
                      <a:pt x="300526" y="746473"/>
                    </a:lnTo>
                    <a:lnTo>
                      <a:pt x="296814" y="746684"/>
                    </a:lnTo>
                    <a:lnTo>
                      <a:pt x="294950" y="747427"/>
                    </a:lnTo>
                    <a:lnTo>
                      <a:pt x="292893" y="750810"/>
                    </a:lnTo>
                    <a:lnTo>
                      <a:pt x="288442" y="752382"/>
                    </a:lnTo>
                    <a:lnTo>
                      <a:pt x="286655" y="754573"/>
                    </a:lnTo>
                    <a:lnTo>
                      <a:pt x="284220" y="759171"/>
                    </a:lnTo>
                    <a:lnTo>
                      <a:pt x="277984" y="766555"/>
                    </a:lnTo>
                    <a:lnTo>
                      <a:pt x="274595" y="768746"/>
                    </a:lnTo>
                    <a:lnTo>
                      <a:pt x="270298" y="769463"/>
                    </a:lnTo>
                    <a:lnTo>
                      <a:pt x="268116" y="770986"/>
                    </a:lnTo>
                    <a:lnTo>
                      <a:pt x="264902" y="777893"/>
                    </a:lnTo>
                    <a:lnTo>
                      <a:pt x="262879" y="779452"/>
                    </a:lnTo>
                    <a:lnTo>
                      <a:pt x="260197" y="780120"/>
                    </a:lnTo>
                    <a:lnTo>
                      <a:pt x="257659" y="782005"/>
                    </a:lnTo>
                    <a:lnTo>
                      <a:pt x="255322" y="784564"/>
                    </a:lnTo>
                    <a:lnTo>
                      <a:pt x="246496" y="797101"/>
                    </a:lnTo>
                    <a:lnTo>
                      <a:pt x="232047" y="813425"/>
                    </a:lnTo>
                    <a:lnTo>
                      <a:pt x="217388" y="824642"/>
                    </a:lnTo>
                    <a:lnTo>
                      <a:pt x="215962" y="825202"/>
                    </a:lnTo>
                    <a:lnTo>
                      <a:pt x="214121" y="823712"/>
                    </a:lnTo>
                    <a:lnTo>
                      <a:pt x="211826" y="818581"/>
                    </a:lnTo>
                    <a:lnTo>
                      <a:pt x="209606" y="817435"/>
                    </a:lnTo>
                    <a:lnTo>
                      <a:pt x="206174" y="816622"/>
                    </a:lnTo>
                    <a:lnTo>
                      <a:pt x="202223" y="814671"/>
                    </a:lnTo>
                    <a:lnTo>
                      <a:pt x="198650" y="811985"/>
                    </a:lnTo>
                    <a:lnTo>
                      <a:pt x="196215" y="808901"/>
                    </a:lnTo>
                    <a:lnTo>
                      <a:pt x="199595" y="802822"/>
                    </a:lnTo>
                    <a:lnTo>
                      <a:pt x="200571" y="799807"/>
                    </a:lnTo>
                    <a:lnTo>
                      <a:pt x="201102" y="796012"/>
                    </a:lnTo>
                    <a:lnTo>
                      <a:pt x="199518" y="795959"/>
                    </a:lnTo>
                    <a:lnTo>
                      <a:pt x="191317" y="806650"/>
                    </a:lnTo>
                    <a:lnTo>
                      <a:pt x="178675" y="803460"/>
                    </a:lnTo>
                    <a:lnTo>
                      <a:pt x="148277" y="776275"/>
                    </a:lnTo>
                    <a:lnTo>
                      <a:pt x="147038" y="773242"/>
                    </a:lnTo>
                    <a:lnTo>
                      <a:pt x="147614" y="767242"/>
                    </a:lnTo>
                    <a:lnTo>
                      <a:pt x="149850" y="764416"/>
                    </a:lnTo>
                    <a:lnTo>
                      <a:pt x="152941" y="763410"/>
                    </a:lnTo>
                    <a:lnTo>
                      <a:pt x="163448" y="763060"/>
                    </a:lnTo>
                    <a:lnTo>
                      <a:pt x="170646" y="764811"/>
                    </a:lnTo>
                    <a:lnTo>
                      <a:pt x="177278" y="768593"/>
                    </a:lnTo>
                    <a:lnTo>
                      <a:pt x="182887" y="774530"/>
                    </a:lnTo>
                    <a:lnTo>
                      <a:pt x="184559" y="771741"/>
                    </a:lnTo>
                    <a:lnTo>
                      <a:pt x="179679" y="767464"/>
                    </a:lnTo>
                    <a:lnTo>
                      <a:pt x="177677" y="764827"/>
                    </a:lnTo>
                    <a:lnTo>
                      <a:pt x="177759" y="761049"/>
                    </a:lnTo>
                    <a:lnTo>
                      <a:pt x="200483" y="746754"/>
                    </a:lnTo>
                    <a:lnTo>
                      <a:pt x="205640" y="746320"/>
                    </a:lnTo>
                    <a:lnTo>
                      <a:pt x="218603" y="753699"/>
                    </a:lnTo>
                    <a:lnTo>
                      <a:pt x="223859" y="754987"/>
                    </a:lnTo>
                    <a:lnTo>
                      <a:pt x="235051" y="754533"/>
                    </a:lnTo>
                    <a:lnTo>
                      <a:pt x="241257" y="753076"/>
                    </a:lnTo>
                    <a:lnTo>
                      <a:pt x="245779" y="750227"/>
                    </a:lnTo>
                    <a:lnTo>
                      <a:pt x="226221" y="752216"/>
                    </a:lnTo>
                    <a:lnTo>
                      <a:pt x="221630" y="751276"/>
                    </a:lnTo>
                    <a:lnTo>
                      <a:pt x="211307" y="744127"/>
                    </a:lnTo>
                    <a:lnTo>
                      <a:pt x="202760" y="741557"/>
                    </a:lnTo>
                    <a:lnTo>
                      <a:pt x="179454" y="753501"/>
                    </a:lnTo>
                    <a:lnTo>
                      <a:pt x="171449" y="755552"/>
                    </a:lnTo>
                    <a:lnTo>
                      <a:pt x="169228" y="755520"/>
                    </a:lnTo>
                    <a:lnTo>
                      <a:pt x="166554" y="754289"/>
                    </a:lnTo>
                    <a:lnTo>
                      <a:pt x="161974" y="750763"/>
                    </a:lnTo>
                    <a:lnTo>
                      <a:pt x="159312" y="749935"/>
                    </a:lnTo>
                    <a:lnTo>
                      <a:pt x="144728" y="750533"/>
                    </a:lnTo>
                    <a:lnTo>
                      <a:pt x="129433" y="745642"/>
                    </a:lnTo>
                    <a:lnTo>
                      <a:pt x="124123" y="745951"/>
                    </a:lnTo>
                    <a:lnTo>
                      <a:pt x="119832" y="749892"/>
                    </a:lnTo>
                    <a:lnTo>
                      <a:pt x="115916" y="752291"/>
                    </a:lnTo>
                    <a:lnTo>
                      <a:pt x="110746" y="750981"/>
                    </a:lnTo>
                    <a:lnTo>
                      <a:pt x="106029" y="747977"/>
                    </a:lnTo>
                    <a:lnTo>
                      <a:pt x="103382" y="745194"/>
                    </a:lnTo>
                    <a:lnTo>
                      <a:pt x="102335" y="743004"/>
                    </a:lnTo>
                    <a:lnTo>
                      <a:pt x="101507" y="740886"/>
                    </a:lnTo>
                    <a:lnTo>
                      <a:pt x="101010" y="738625"/>
                    </a:lnTo>
                    <a:lnTo>
                      <a:pt x="100892" y="736067"/>
                    </a:lnTo>
                    <a:lnTo>
                      <a:pt x="101442" y="732448"/>
                    </a:lnTo>
                    <a:lnTo>
                      <a:pt x="102480" y="732304"/>
                    </a:lnTo>
                    <a:lnTo>
                      <a:pt x="103875" y="733076"/>
                    </a:lnTo>
                    <a:lnTo>
                      <a:pt x="105472" y="732207"/>
                    </a:lnTo>
                    <a:lnTo>
                      <a:pt x="110339" y="725182"/>
                    </a:lnTo>
                    <a:lnTo>
                      <a:pt x="113141" y="722959"/>
                    </a:lnTo>
                    <a:lnTo>
                      <a:pt x="145420" y="720716"/>
                    </a:lnTo>
                    <a:lnTo>
                      <a:pt x="147997" y="719552"/>
                    </a:lnTo>
                    <a:lnTo>
                      <a:pt x="155526" y="714277"/>
                    </a:lnTo>
                    <a:lnTo>
                      <a:pt x="158646" y="713131"/>
                    </a:lnTo>
                    <a:lnTo>
                      <a:pt x="162162" y="714146"/>
                    </a:lnTo>
                    <a:lnTo>
                      <a:pt x="164229" y="716368"/>
                    </a:lnTo>
                    <a:lnTo>
                      <a:pt x="166108" y="719096"/>
                    </a:lnTo>
                    <a:lnTo>
                      <a:pt x="169138" y="721585"/>
                    </a:lnTo>
                    <a:lnTo>
                      <a:pt x="180002" y="726917"/>
                    </a:lnTo>
                    <a:lnTo>
                      <a:pt x="181773" y="728442"/>
                    </a:lnTo>
                    <a:lnTo>
                      <a:pt x="181682" y="724269"/>
                    </a:lnTo>
                    <a:lnTo>
                      <a:pt x="180819" y="720194"/>
                    </a:lnTo>
                    <a:lnTo>
                      <a:pt x="178774" y="717292"/>
                    </a:lnTo>
                    <a:lnTo>
                      <a:pt x="175040" y="716568"/>
                    </a:lnTo>
                    <a:lnTo>
                      <a:pt x="175142" y="713724"/>
                    </a:lnTo>
                    <a:lnTo>
                      <a:pt x="177733" y="713489"/>
                    </a:lnTo>
                    <a:lnTo>
                      <a:pt x="180278" y="713811"/>
                    </a:lnTo>
                    <a:lnTo>
                      <a:pt x="182694" y="714908"/>
                    </a:lnTo>
                    <a:lnTo>
                      <a:pt x="184908" y="716914"/>
                    </a:lnTo>
                    <a:lnTo>
                      <a:pt x="188091" y="713136"/>
                    </a:lnTo>
                    <a:lnTo>
                      <a:pt x="192863" y="711680"/>
                    </a:lnTo>
                    <a:lnTo>
                      <a:pt x="198141" y="713323"/>
                    </a:lnTo>
                    <a:lnTo>
                      <a:pt x="202271" y="714659"/>
                    </a:lnTo>
                    <a:lnTo>
                      <a:pt x="186848" y="706293"/>
                    </a:lnTo>
                    <a:lnTo>
                      <a:pt x="183020" y="701322"/>
                    </a:lnTo>
                    <a:lnTo>
                      <a:pt x="183090" y="697155"/>
                    </a:lnTo>
                    <a:lnTo>
                      <a:pt x="186059" y="694318"/>
                    </a:lnTo>
                    <a:lnTo>
                      <a:pt x="207807" y="691930"/>
                    </a:lnTo>
                    <a:lnTo>
                      <a:pt x="216527" y="688343"/>
                    </a:lnTo>
                    <a:lnTo>
                      <a:pt x="223507" y="681663"/>
                    </a:lnTo>
                    <a:lnTo>
                      <a:pt x="220799" y="680222"/>
                    </a:lnTo>
                    <a:lnTo>
                      <a:pt x="216937" y="680563"/>
                    </a:lnTo>
                    <a:lnTo>
                      <a:pt x="213437" y="682269"/>
                    </a:lnTo>
                    <a:lnTo>
                      <a:pt x="209911" y="688546"/>
                    </a:lnTo>
                    <a:lnTo>
                      <a:pt x="205709" y="688282"/>
                    </a:lnTo>
                    <a:lnTo>
                      <a:pt x="197551" y="685798"/>
                    </a:lnTo>
                    <a:lnTo>
                      <a:pt x="199466" y="682036"/>
                    </a:lnTo>
                    <a:lnTo>
                      <a:pt x="208100" y="673085"/>
                    </a:lnTo>
                    <a:lnTo>
                      <a:pt x="198756" y="670998"/>
                    </a:lnTo>
                    <a:lnTo>
                      <a:pt x="178934" y="674747"/>
                    </a:lnTo>
                    <a:lnTo>
                      <a:pt x="169379" y="671746"/>
                    </a:lnTo>
                    <a:lnTo>
                      <a:pt x="176449" y="670085"/>
                    </a:lnTo>
                    <a:lnTo>
                      <a:pt x="183840" y="669878"/>
                    </a:lnTo>
                    <a:lnTo>
                      <a:pt x="183940" y="667067"/>
                    </a:lnTo>
                    <a:lnTo>
                      <a:pt x="182383" y="665923"/>
                    </a:lnTo>
                    <a:lnTo>
                      <a:pt x="178315" y="661393"/>
                    </a:lnTo>
                    <a:lnTo>
                      <a:pt x="182137" y="657047"/>
                    </a:lnTo>
                    <a:lnTo>
                      <a:pt x="184729" y="649297"/>
                    </a:lnTo>
                    <a:lnTo>
                      <a:pt x="186896" y="640505"/>
                    </a:lnTo>
                    <a:lnTo>
                      <a:pt x="189413" y="633063"/>
                    </a:lnTo>
                    <a:lnTo>
                      <a:pt x="193234" y="628466"/>
                    </a:lnTo>
                    <a:lnTo>
                      <a:pt x="199218" y="624439"/>
                    </a:lnTo>
                    <a:lnTo>
                      <a:pt x="205699" y="622371"/>
                    </a:lnTo>
                    <a:lnTo>
                      <a:pt x="211052" y="623592"/>
                    </a:lnTo>
                    <a:lnTo>
                      <a:pt x="212934" y="626050"/>
                    </a:lnTo>
                    <a:lnTo>
                      <a:pt x="216834" y="633613"/>
                    </a:lnTo>
                    <a:lnTo>
                      <a:pt x="219149" y="636909"/>
                    </a:lnTo>
                    <a:lnTo>
                      <a:pt x="222036" y="639336"/>
                    </a:lnTo>
                    <a:lnTo>
                      <a:pt x="225211" y="641010"/>
                    </a:lnTo>
                    <a:lnTo>
                      <a:pt x="232037" y="642316"/>
                    </a:lnTo>
                    <a:lnTo>
                      <a:pt x="243430" y="639919"/>
                    </a:lnTo>
                    <a:lnTo>
                      <a:pt x="253579" y="635143"/>
                    </a:lnTo>
                    <a:lnTo>
                      <a:pt x="253659" y="632532"/>
                    </a:lnTo>
                    <a:lnTo>
                      <a:pt x="250054" y="633496"/>
                    </a:lnTo>
                    <a:lnTo>
                      <a:pt x="246649" y="635337"/>
                    </a:lnTo>
                    <a:lnTo>
                      <a:pt x="243543" y="636299"/>
                    </a:lnTo>
                    <a:lnTo>
                      <a:pt x="240813" y="634752"/>
                    </a:lnTo>
                    <a:lnTo>
                      <a:pt x="236035" y="637901"/>
                    </a:lnTo>
                    <a:lnTo>
                      <a:pt x="231555" y="636468"/>
                    </a:lnTo>
                    <a:lnTo>
                      <a:pt x="227265" y="633360"/>
                    </a:lnTo>
                    <a:lnTo>
                      <a:pt x="223069" y="631576"/>
                    </a:lnTo>
                    <a:lnTo>
                      <a:pt x="219975" y="629329"/>
                    </a:lnTo>
                    <a:lnTo>
                      <a:pt x="220931" y="624460"/>
                    </a:lnTo>
                    <a:lnTo>
                      <a:pt x="221451" y="619204"/>
                    </a:lnTo>
                    <a:lnTo>
                      <a:pt x="217004" y="615731"/>
                    </a:lnTo>
                    <a:lnTo>
                      <a:pt x="215134" y="615949"/>
                    </a:lnTo>
                    <a:lnTo>
                      <a:pt x="210824" y="617782"/>
                    </a:lnTo>
                    <a:lnTo>
                      <a:pt x="208529" y="618064"/>
                    </a:lnTo>
                    <a:lnTo>
                      <a:pt x="206439" y="617029"/>
                    </a:lnTo>
                    <a:lnTo>
                      <a:pt x="203016" y="613414"/>
                    </a:lnTo>
                    <a:lnTo>
                      <a:pt x="200844" y="612579"/>
                    </a:lnTo>
                    <a:lnTo>
                      <a:pt x="198670" y="609626"/>
                    </a:lnTo>
                    <a:lnTo>
                      <a:pt x="201988" y="603408"/>
                    </a:lnTo>
                    <a:lnTo>
                      <a:pt x="211026" y="592402"/>
                    </a:lnTo>
                    <a:lnTo>
                      <a:pt x="213624" y="588273"/>
                    </a:lnTo>
                    <a:lnTo>
                      <a:pt x="215121" y="586937"/>
                    </a:lnTo>
                    <a:lnTo>
                      <a:pt x="217695" y="586758"/>
                    </a:lnTo>
                    <a:lnTo>
                      <a:pt x="223807" y="587610"/>
                    </a:lnTo>
                    <a:lnTo>
                      <a:pt x="225983" y="585891"/>
                    </a:lnTo>
                    <a:lnTo>
                      <a:pt x="229707" y="583818"/>
                    </a:lnTo>
                    <a:lnTo>
                      <a:pt x="234830" y="586034"/>
                    </a:lnTo>
                    <a:lnTo>
                      <a:pt x="243409" y="593069"/>
                    </a:lnTo>
                    <a:lnTo>
                      <a:pt x="247524" y="595482"/>
                    </a:lnTo>
                    <a:lnTo>
                      <a:pt x="267940" y="596328"/>
                    </a:lnTo>
                    <a:lnTo>
                      <a:pt x="268980" y="595145"/>
                    </a:lnTo>
                    <a:lnTo>
                      <a:pt x="270632" y="592440"/>
                    </a:lnTo>
                    <a:lnTo>
                      <a:pt x="274090" y="592323"/>
                    </a:lnTo>
                    <a:lnTo>
                      <a:pt x="277481" y="593385"/>
                    </a:lnTo>
                    <a:lnTo>
                      <a:pt x="278929" y="594126"/>
                    </a:lnTo>
                    <a:lnTo>
                      <a:pt x="280347" y="594166"/>
                    </a:lnTo>
                    <a:lnTo>
                      <a:pt x="280429" y="591323"/>
                    </a:lnTo>
                    <a:lnTo>
                      <a:pt x="276429" y="588595"/>
                    </a:lnTo>
                    <a:lnTo>
                      <a:pt x="258945" y="591132"/>
                    </a:lnTo>
                    <a:lnTo>
                      <a:pt x="254006" y="592973"/>
                    </a:lnTo>
                    <a:lnTo>
                      <a:pt x="251250" y="593310"/>
                    </a:lnTo>
                    <a:lnTo>
                      <a:pt x="249825" y="591852"/>
                    </a:lnTo>
                    <a:lnTo>
                      <a:pt x="244729" y="584897"/>
                    </a:lnTo>
                    <a:lnTo>
                      <a:pt x="242454" y="582603"/>
                    </a:lnTo>
                    <a:lnTo>
                      <a:pt x="225253" y="576722"/>
                    </a:lnTo>
                    <a:lnTo>
                      <a:pt x="222802" y="572722"/>
                    </a:lnTo>
                    <a:lnTo>
                      <a:pt x="224483" y="566244"/>
                    </a:lnTo>
                    <a:lnTo>
                      <a:pt x="232066" y="556020"/>
                    </a:lnTo>
                    <a:lnTo>
                      <a:pt x="234972" y="550807"/>
                    </a:lnTo>
                    <a:lnTo>
                      <a:pt x="231345" y="544206"/>
                    </a:lnTo>
                    <a:lnTo>
                      <a:pt x="236547" y="537139"/>
                    </a:lnTo>
                    <a:lnTo>
                      <a:pt x="245374" y="531832"/>
                    </a:lnTo>
                    <a:lnTo>
                      <a:pt x="252559" y="530466"/>
                    </a:lnTo>
                    <a:lnTo>
                      <a:pt x="259035" y="535732"/>
                    </a:lnTo>
                    <a:lnTo>
                      <a:pt x="265306" y="543805"/>
                    </a:lnTo>
                    <a:lnTo>
                      <a:pt x="272139" y="549341"/>
                    </a:lnTo>
                    <a:lnTo>
                      <a:pt x="280293" y="546947"/>
                    </a:lnTo>
                    <a:lnTo>
                      <a:pt x="280368" y="544352"/>
                    </a:lnTo>
                    <a:lnTo>
                      <a:pt x="271823" y="542052"/>
                    </a:lnTo>
                    <a:lnTo>
                      <a:pt x="269957" y="540256"/>
                    </a:lnTo>
                    <a:lnTo>
                      <a:pt x="267071" y="534604"/>
                    </a:lnTo>
                    <a:lnTo>
                      <a:pt x="265081" y="531947"/>
                    </a:lnTo>
                    <a:lnTo>
                      <a:pt x="263131" y="530785"/>
                    </a:lnTo>
                    <a:lnTo>
                      <a:pt x="261259" y="528147"/>
                    </a:lnTo>
                    <a:lnTo>
                      <a:pt x="264118" y="522586"/>
                    </a:lnTo>
                    <a:lnTo>
                      <a:pt x="269252" y="517311"/>
                    </a:lnTo>
                    <a:lnTo>
                      <a:pt x="274298" y="515466"/>
                    </a:lnTo>
                    <a:lnTo>
                      <a:pt x="274381" y="512623"/>
                    </a:lnTo>
                    <a:lnTo>
                      <a:pt x="269427" y="510317"/>
                    </a:lnTo>
                    <a:lnTo>
                      <a:pt x="265875" y="513353"/>
                    </a:lnTo>
                    <a:lnTo>
                      <a:pt x="263148" y="517970"/>
                    </a:lnTo>
                    <a:lnTo>
                      <a:pt x="260624" y="520289"/>
                    </a:lnTo>
                    <a:lnTo>
                      <a:pt x="257027" y="521333"/>
                    </a:lnTo>
                    <a:lnTo>
                      <a:pt x="249634" y="526348"/>
                    </a:lnTo>
                    <a:lnTo>
                      <a:pt x="245463" y="527665"/>
                    </a:lnTo>
                    <a:lnTo>
                      <a:pt x="241147" y="526924"/>
                    </a:lnTo>
                    <a:lnTo>
                      <a:pt x="233420" y="522947"/>
                    </a:lnTo>
                    <a:lnTo>
                      <a:pt x="229418" y="521933"/>
                    </a:lnTo>
                    <a:lnTo>
                      <a:pt x="220425" y="524596"/>
                    </a:lnTo>
                    <a:lnTo>
                      <a:pt x="216203" y="524115"/>
                    </a:lnTo>
                    <a:lnTo>
                      <a:pt x="214573" y="518834"/>
                    </a:lnTo>
                    <a:lnTo>
                      <a:pt x="215456" y="517557"/>
                    </a:lnTo>
                    <a:lnTo>
                      <a:pt x="220650" y="505969"/>
                    </a:lnTo>
                    <a:lnTo>
                      <a:pt x="222405" y="504206"/>
                    </a:lnTo>
                    <a:lnTo>
                      <a:pt x="226984" y="501555"/>
                    </a:lnTo>
                    <a:lnTo>
                      <a:pt x="228802" y="499608"/>
                    </a:lnTo>
                    <a:lnTo>
                      <a:pt x="230734" y="498037"/>
                    </a:lnTo>
                    <a:lnTo>
                      <a:pt x="232160" y="499622"/>
                    </a:lnTo>
                    <a:lnTo>
                      <a:pt x="233259" y="502224"/>
                    </a:lnTo>
                    <a:lnTo>
                      <a:pt x="234232" y="503561"/>
                    </a:lnTo>
                    <a:lnTo>
                      <a:pt x="239073" y="502875"/>
                    </a:lnTo>
                    <a:lnTo>
                      <a:pt x="262475" y="492505"/>
                    </a:lnTo>
                    <a:lnTo>
                      <a:pt x="271925" y="484169"/>
                    </a:lnTo>
                    <a:lnTo>
                      <a:pt x="274002" y="473466"/>
                    </a:lnTo>
                    <a:lnTo>
                      <a:pt x="270537" y="472525"/>
                    </a:lnTo>
                    <a:lnTo>
                      <a:pt x="264813" y="478141"/>
                    </a:lnTo>
                    <a:lnTo>
                      <a:pt x="255050" y="491161"/>
                    </a:lnTo>
                    <a:lnTo>
                      <a:pt x="249574" y="495130"/>
                    </a:lnTo>
                    <a:lnTo>
                      <a:pt x="244820" y="494236"/>
                    </a:lnTo>
                    <a:lnTo>
                      <a:pt x="239901" y="491656"/>
                    </a:lnTo>
                    <a:lnTo>
                      <a:pt x="233949" y="490503"/>
                    </a:lnTo>
                    <a:lnTo>
                      <a:pt x="239073" y="487399"/>
                    </a:lnTo>
                    <a:lnTo>
                      <a:pt x="240905" y="484921"/>
                    </a:lnTo>
                    <a:lnTo>
                      <a:pt x="240575" y="481598"/>
                    </a:lnTo>
                    <a:lnTo>
                      <a:pt x="238967" y="476834"/>
                    </a:lnTo>
                    <a:lnTo>
                      <a:pt x="238663" y="474305"/>
                    </a:lnTo>
                    <a:lnTo>
                      <a:pt x="237755" y="474386"/>
                    </a:lnTo>
                    <a:lnTo>
                      <a:pt x="234370" y="477482"/>
                    </a:lnTo>
                    <a:lnTo>
                      <a:pt x="219925" y="495461"/>
                    </a:lnTo>
                    <a:lnTo>
                      <a:pt x="214637" y="497963"/>
                    </a:lnTo>
                    <a:lnTo>
                      <a:pt x="203834" y="499201"/>
                    </a:lnTo>
                    <a:lnTo>
                      <a:pt x="199139" y="496614"/>
                    </a:lnTo>
                    <a:lnTo>
                      <a:pt x="196146" y="481437"/>
                    </a:lnTo>
                    <a:lnTo>
                      <a:pt x="196670" y="481782"/>
                    </a:lnTo>
                    <a:lnTo>
                      <a:pt x="197698" y="481164"/>
                    </a:lnTo>
                    <a:lnTo>
                      <a:pt x="198666" y="480093"/>
                    </a:lnTo>
                    <a:lnTo>
                      <a:pt x="199051" y="478924"/>
                    </a:lnTo>
                    <a:lnTo>
                      <a:pt x="198543" y="477632"/>
                    </a:lnTo>
                    <a:lnTo>
                      <a:pt x="196747" y="474583"/>
                    </a:lnTo>
                    <a:lnTo>
                      <a:pt x="196428" y="473373"/>
                    </a:lnTo>
                    <a:lnTo>
                      <a:pt x="196525" y="468244"/>
                    </a:lnTo>
                    <a:lnTo>
                      <a:pt x="197308" y="465736"/>
                    </a:lnTo>
                    <a:lnTo>
                      <a:pt x="199597" y="463263"/>
                    </a:lnTo>
                    <a:lnTo>
                      <a:pt x="197516" y="461947"/>
                    </a:lnTo>
                    <a:lnTo>
                      <a:pt x="191211" y="459845"/>
                    </a:lnTo>
                    <a:lnTo>
                      <a:pt x="189904" y="458913"/>
                    </a:lnTo>
                    <a:lnTo>
                      <a:pt x="189607" y="454796"/>
                    </a:lnTo>
                    <a:lnTo>
                      <a:pt x="187930" y="448110"/>
                    </a:lnTo>
                    <a:lnTo>
                      <a:pt x="187664" y="443154"/>
                    </a:lnTo>
                    <a:lnTo>
                      <a:pt x="188372" y="440442"/>
                    </a:lnTo>
                    <a:lnTo>
                      <a:pt x="191399" y="434077"/>
                    </a:lnTo>
                    <a:lnTo>
                      <a:pt x="192277" y="431696"/>
                    </a:lnTo>
                    <a:lnTo>
                      <a:pt x="192704" y="426251"/>
                    </a:lnTo>
                    <a:lnTo>
                      <a:pt x="192793" y="421401"/>
                    </a:lnTo>
                    <a:lnTo>
                      <a:pt x="193800" y="418449"/>
                    </a:lnTo>
                    <a:lnTo>
                      <a:pt x="196950" y="418591"/>
                    </a:lnTo>
                    <a:lnTo>
                      <a:pt x="196569" y="416835"/>
                    </a:lnTo>
                    <a:lnTo>
                      <a:pt x="196073" y="412462"/>
                    </a:lnTo>
                    <a:lnTo>
                      <a:pt x="195692" y="410722"/>
                    </a:lnTo>
                    <a:lnTo>
                      <a:pt x="199385" y="409357"/>
                    </a:lnTo>
                    <a:lnTo>
                      <a:pt x="203002" y="410182"/>
                    </a:lnTo>
                    <a:lnTo>
                      <a:pt x="206453" y="412665"/>
                    </a:lnTo>
                    <a:lnTo>
                      <a:pt x="217084" y="424470"/>
                    </a:lnTo>
                    <a:lnTo>
                      <a:pt x="220467" y="427195"/>
                    </a:lnTo>
                    <a:lnTo>
                      <a:pt x="222285" y="425762"/>
                    </a:lnTo>
                    <a:lnTo>
                      <a:pt x="225639" y="431378"/>
                    </a:lnTo>
                    <a:lnTo>
                      <a:pt x="227411" y="432882"/>
                    </a:lnTo>
                    <a:lnTo>
                      <a:pt x="233427" y="437462"/>
                    </a:lnTo>
                    <a:lnTo>
                      <a:pt x="235645" y="438140"/>
                    </a:lnTo>
                    <a:lnTo>
                      <a:pt x="234613" y="435961"/>
                    </a:lnTo>
                    <a:lnTo>
                      <a:pt x="234068" y="433953"/>
                    </a:lnTo>
                    <a:lnTo>
                      <a:pt x="233670" y="432058"/>
                    </a:lnTo>
                    <a:lnTo>
                      <a:pt x="233112" y="430220"/>
                    </a:lnTo>
                    <a:lnTo>
                      <a:pt x="247963" y="428076"/>
                    </a:lnTo>
                    <a:lnTo>
                      <a:pt x="256377" y="429828"/>
                    </a:lnTo>
                    <a:lnTo>
                      <a:pt x="261187" y="429834"/>
                    </a:lnTo>
                    <a:lnTo>
                      <a:pt x="262116" y="427328"/>
                    </a:lnTo>
                    <a:lnTo>
                      <a:pt x="256040" y="421840"/>
                    </a:lnTo>
                    <a:lnTo>
                      <a:pt x="246835" y="419395"/>
                    </a:lnTo>
                    <a:lnTo>
                      <a:pt x="237706" y="420382"/>
                    </a:lnTo>
                    <a:lnTo>
                      <a:pt x="231872" y="425203"/>
                    </a:lnTo>
                    <a:lnTo>
                      <a:pt x="225159" y="416680"/>
                    </a:lnTo>
                    <a:lnTo>
                      <a:pt x="226281" y="415534"/>
                    </a:lnTo>
                    <a:lnTo>
                      <a:pt x="228106" y="411813"/>
                    </a:lnTo>
                    <a:lnTo>
                      <a:pt x="221325" y="410285"/>
                    </a:lnTo>
                    <a:lnTo>
                      <a:pt x="217952" y="404216"/>
                    </a:lnTo>
                    <a:lnTo>
                      <a:pt x="215634" y="396610"/>
                    </a:lnTo>
                    <a:lnTo>
                      <a:pt x="212047" y="390377"/>
                    </a:lnTo>
                    <a:lnTo>
                      <a:pt x="208956" y="388951"/>
                    </a:lnTo>
                    <a:lnTo>
                      <a:pt x="205809" y="388408"/>
                    </a:lnTo>
                    <a:lnTo>
                      <a:pt x="203351" y="386768"/>
                    </a:lnTo>
                    <a:lnTo>
                      <a:pt x="202436" y="381977"/>
                    </a:lnTo>
                    <a:lnTo>
                      <a:pt x="203778" y="377403"/>
                    </a:lnTo>
                    <a:lnTo>
                      <a:pt x="208105" y="372838"/>
                    </a:lnTo>
                    <a:lnTo>
                      <a:pt x="207053" y="369349"/>
                    </a:lnTo>
                    <a:lnTo>
                      <a:pt x="207152" y="366506"/>
                    </a:lnTo>
                    <a:lnTo>
                      <a:pt x="214893" y="362382"/>
                    </a:lnTo>
                    <a:lnTo>
                      <a:pt x="218794" y="362326"/>
                    </a:lnTo>
                    <a:lnTo>
                      <a:pt x="224587" y="369330"/>
                    </a:lnTo>
                    <a:lnTo>
                      <a:pt x="227149" y="369057"/>
                    </a:lnTo>
                    <a:lnTo>
                      <a:pt x="229397" y="366207"/>
                    </a:lnTo>
                    <a:lnTo>
                      <a:pt x="231147" y="362079"/>
                    </a:lnTo>
                    <a:lnTo>
                      <a:pt x="228902" y="361338"/>
                    </a:lnTo>
                    <a:lnTo>
                      <a:pt x="227513" y="359347"/>
                    </a:lnTo>
                    <a:lnTo>
                      <a:pt x="226260" y="356787"/>
                    </a:lnTo>
                    <a:lnTo>
                      <a:pt x="224301" y="354249"/>
                    </a:lnTo>
                    <a:lnTo>
                      <a:pt x="221969" y="352711"/>
                    </a:lnTo>
                    <a:lnTo>
                      <a:pt x="205123" y="348145"/>
                    </a:lnTo>
                    <a:lnTo>
                      <a:pt x="204628" y="344007"/>
                    </a:lnTo>
                    <a:lnTo>
                      <a:pt x="205969" y="334128"/>
                    </a:lnTo>
                    <a:lnTo>
                      <a:pt x="205767" y="329674"/>
                    </a:lnTo>
                    <a:lnTo>
                      <a:pt x="206398" y="326553"/>
                    </a:lnTo>
                    <a:lnTo>
                      <a:pt x="204904" y="318786"/>
                    </a:lnTo>
                    <a:lnTo>
                      <a:pt x="204816" y="313977"/>
                    </a:lnTo>
                    <a:lnTo>
                      <a:pt x="205736" y="309903"/>
                    </a:lnTo>
                    <a:lnTo>
                      <a:pt x="207372" y="306226"/>
                    </a:lnTo>
                    <a:lnTo>
                      <a:pt x="209599" y="303129"/>
                    </a:lnTo>
                    <a:lnTo>
                      <a:pt x="212323" y="300967"/>
                    </a:lnTo>
                    <a:lnTo>
                      <a:pt x="217553" y="299059"/>
                    </a:lnTo>
                    <a:lnTo>
                      <a:pt x="222911" y="299176"/>
                    </a:lnTo>
                    <a:lnTo>
                      <a:pt x="228161" y="301044"/>
                    </a:lnTo>
                    <a:lnTo>
                      <a:pt x="233046" y="304486"/>
                    </a:lnTo>
                    <a:lnTo>
                      <a:pt x="232098" y="309650"/>
                    </a:lnTo>
                    <a:lnTo>
                      <a:pt x="232476" y="317235"/>
                    </a:lnTo>
                    <a:lnTo>
                      <a:pt x="233614" y="324971"/>
                    </a:lnTo>
                    <a:lnTo>
                      <a:pt x="234970" y="330646"/>
                    </a:lnTo>
                    <a:lnTo>
                      <a:pt x="236845" y="334687"/>
                    </a:lnTo>
                    <a:lnTo>
                      <a:pt x="239436" y="337663"/>
                    </a:lnTo>
                    <a:lnTo>
                      <a:pt x="242487" y="339299"/>
                    </a:lnTo>
                    <a:lnTo>
                      <a:pt x="245823" y="339297"/>
                    </a:lnTo>
                    <a:lnTo>
                      <a:pt x="244355" y="337446"/>
                    </a:lnTo>
                    <a:lnTo>
                      <a:pt x="243472" y="335505"/>
                    </a:lnTo>
                    <a:lnTo>
                      <a:pt x="242053" y="330873"/>
                    </a:lnTo>
                    <a:lnTo>
                      <a:pt x="244618" y="330798"/>
                    </a:lnTo>
                    <a:lnTo>
                      <a:pt x="246588" y="331450"/>
                    </a:lnTo>
                    <a:lnTo>
                      <a:pt x="250307" y="333962"/>
                    </a:lnTo>
                    <a:lnTo>
                      <a:pt x="249211" y="326432"/>
                    </a:lnTo>
                    <a:lnTo>
                      <a:pt x="250227" y="321052"/>
                    </a:lnTo>
                    <a:lnTo>
                      <a:pt x="250738" y="316153"/>
                    </a:lnTo>
                    <a:lnTo>
                      <a:pt x="248137" y="310177"/>
                    </a:lnTo>
                    <a:lnTo>
                      <a:pt x="240537" y="302487"/>
                    </a:lnTo>
                    <a:lnTo>
                      <a:pt x="238074" y="298053"/>
                    </a:lnTo>
                    <a:lnTo>
                      <a:pt x="240315" y="294268"/>
                    </a:lnTo>
                    <a:lnTo>
                      <a:pt x="238760" y="293782"/>
                    </a:lnTo>
                    <a:lnTo>
                      <a:pt x="238155" y="293063"/>
                    </a:lnTo>
                    <a:lnTo>
                      <a:pt x="237641" y="291570"/>
                    </a:lnTo>
                    <a:lnTo>
                      <a:pt x="239709" y="287997"/>
                    </a:lnTo>
                    <a:lnTo>
                      <a:pt x="244622" y="281777"/>
                    </a:lnTo>
                    <a:lnTo>
                      <a:pt x="246370" y="278814"/>
                    </a:lnTo>
                    <a:lnTo>
                      <a:pt x="249173" y="282635"/>
                    </a:lnTo>
                    <a:lnTo>
                      <a:pt x="251339" y="284196"/>
                    </a:lnTo>
                    <a:lnTo>
                      <a:pt x="258803" y="284427"/>
                    </a:lnTo>
                    <a:lnTo>
                      <a:pt x="257312" y="294832"/>
                    </a:lnTo>
                    <a:lnTo>
                      <a:pt x="262834" y="302715"/>
                    </a:lnTo>
                    <a:lnTo>
                      <a:pt x="271000" y="307439"/>
                    </a:lnTo>
                    <a:lnTo>
                      <a:pt x="277493" y="308454"/>
                    </a:lnTo>
                    <a:lnTo>
                      <a:pt x="276313" y="305823"/>
                    </a:lnTo>
                    <a:lnTo>
                      <a:pt x="278875" y="302602"/>
                    </a:lnTo>
                    <a:lnTo>
                      <a:pt x="281619" y="291779"/>
                    </a:lnTo>
                    <a:lnTo>
                      <a:pt x="283664" y="287780"/>
                    </a:lnTo>
                    <a:lnTo>
                      <a:pt x="286247" y="287901"/>
                    </a:lnTo>
                    <a:lnTo>
                      <a:pt x="295349" y="292218"/>
                    </a:lnTo>
                    <a:lnTo>
                      <a:pt x="298099" y="294690"/>
                    </a:lnTo>
                    <a:lnTo>
                      <a:pt x="303617" y="301716"/>
                    </a:lnTo>
                    <a:lnTo>
                      <a:pt x="310337" y="306191"/>
                    </a:lnTo>
                    <a:lnTo>
                      <a:pt x="324872" y="312375"/>
                    </a:lnTo>
                    <a:lnTo>
                      <a:pt x="322018" y="306982"/>
                    </a:lnTo>
                    <a:lnTo>
                      <a:pt x="319799" y="304545"/>
                    </a:lnTo>
                    <a:lnTo>
                      <a:pt x="313936" y="301653"/>
                    </a:lnTo>
                    <a:lnTo>
                      <a:pt x="305274" y="292120"/>
                    </a:lnTo>
                    <a:lnTo>
                      <a:pt x="292401" y="285790"/>
                    </a:lnTo>
                    <a:lnTo>
                      <a:pt x="290827" y="284192"/>
                    </a:lnTo>
                    <a:lnTo>
                      <a:pt x="290584" y="282007"/>
                    </a:lnTo>
                    <a:lnTo>
                      <a:pt x="290114" y="281107"/>
                    </a:lnTo>
                    <a:lnTo>
                      <a:pt x="290045" y="280079"/>
                    </a:lnTo>
                    <a:lnTo>
                      <a:pt x="291019" y="277541"/>
                    </a:lnTo>
                    <a:lnTo>
                      <a:pt x="292315" y="277267"/>
                    </a:lnTo>
                    <a:lnTo>
                      <a:pt x="293800" y="279066"/>
                    </a:lnTo>
                    <a:lnTo>
                      <a:pt x="295261" y="279403"/>
                    </a:lnTo>
                    <a:lnTo>
                      <a:pt x="296514" y="274850"/>
                    </a:lnTo>
                    <a:lnTo>
                      <a:pt x="300307" y="277382"/>
                    </a:lnTo>
                    <a:lnTo>
                      <a:pt x="305752" y="285928"/>
                    </a:lnTo>
                    <a:lnTo>
                      <a:pt x="310111" y="288519"/>
                    </a:lnTo>
                    <a:lnTo>
                      <a:pt x="312420" y="288395"/>
                    </a:lnTo>
                    <a:lnTo>
                      <a:pt x="316340" y="286494"/>
                    </a:lnTo>
                    <a:lnTo>
                      <a:pt x="318523" y="286132"/>
                    </a:lnTo>
                    <a:lnTo>
                      <a:pt x="321061" y="287038"/>
                    </a:lnTo>
                    <a:lnTo>
                      <a:pt x="325564" y="290547"/>
                    </a:lnTo>
                    <a:lnTo>
                      <a:pt x="327519" y="291343"/>
                    </a:lnTo>
                    <a:lnTo>
                      <a:pt x="330012" y="293055"/>
                    </a:lnTo>
                    <a:lnTo>
                      <a:pt x="337244" y="300608"/>
                    </a:lnTo>
                    <a:lnTo>
                      <a:pt x="345734" y="304830"/>
                    </a:lnTo>
                    <a:lnTo>
                      <a:pt x="351338" y="315540"/>
                    </a:lnTo>
                    <a:lnTo>
                      <a:pt x="355411" y="318357"/>
                    </a:lnTo>
                    <a:lnTo>
                      <a:pt x="354301" y="316295"/>
                    </a:lnTo>
                    <a:lnTo>
                      <a:pt x="352978" y="312811"/>
                    </a:lnTo>
                    <a:lnTo>
                      <a:pt x="351860" y="309083"/>
                    </a:lnTo>
                    <a:lnTo>
                      <a:pt x="351412" y="306414"/>
                    </a:lnTo>
                    <a:lnTo>
                      <a:pt x="350400" y="303824"/>
                    </a:lnTo>
                    <a:lnTo>
                      <a:pt x="330526" y="285387"/>
                    </a:lnTo>
                    <a:lnTo>
                      <a:pt x="325622" y="283939"/>
                    </a:lnTo>
                    <a:lnTo>
                      <a:pt x="325697" y="281095"/>
                    </a:lnTo>
                    <a:lnTo>
                      <a:pt x="329692" y="281245"/>
                    </a:lnTo>
                    <a:lnTo>
                      <a:pt x="331374" y="278489"/>
                    </a:lnTo>
                    <a:lnTo>
                      <a:pt x="331168" y="274021"/>
                    </a:lnTo>
                    <a:lnTo>
                      <a:pt x="329478" y="269204"/>
                    </a:lnTo>
                    <a:lnTo>
                      <a:pt x="327061" y="266949"/>
                    </a:lnTo>
                    <a:lnTo>
                      <a:pt x="320573" y="265443"/>
                    </a:lnTo>
                    <a:lnTo>
                      <a:pt x="317753" y="262633"/>
                    </a:lnTo>
                    <a:lnTo>
                      <a:pt x="311826" y="260919"/>
                    </a:lnTo>
                    <a:lnTo>
                      <a:pt x="303767" y="250032"/>
                    </a:lnTo>
                    <a:lnTo>
                      <a:pt x="298642" y="248801"/>
                    </a:lnTo>
                    <a:lnTo>
                      <a:pt x="299116" y="247788"/>
                    </a:lnTo>
                    <a:lnTo>
                      <a:pt x="299223" y="247481"/>
                    </a:lnTo>
                    <a:lnTo>
                      <a:pt x="300216" y="246497"/>
                    </a:lnTo>
                    <a:lnTo>
                      <a:pt x="297301" y="242077"/>
                    </a:lnTo>
                    <a:lnTo>
                      <a:pt x="293365" y="240567"/>
                    </a:lnTo>
                    <a:lnTo>
                      <a:pt x="285045" y="240842"/>
                    </a:lnTo>
                    <a:lnTo>
                      <a:pt x="285768" y="239199"/>
                    </a:lnTo>
                    <a:lnTo>
                      <a:pt x="286202" y="237905"/>
                    </a:lnTo>
                    <a:lnTo>
                      <a:pt x="286796" y="236740"/>
                    </a:lnTo>
                    <a:lnTo>
                      <a:pt x="287978" y="235468"/>
                    </a:lnTo>
                    <a:lnTo>
                      <a:pt x="288054" y="232858"/>
                    </a:lnTo>
                    <a:lnTo>
                      <a:pt x="281730" y="220421"/>
                    </a:lnTo>
                    <a:lnTo>
                      <a:pt x="285705" y="215343"/>
                    </a:lnTo>
                    <a:lnTo>
                      <a:pt x="293323" y="217769"/>
                    </a:lnTo>
                    <a:lnTo>
                      <a:pt x="297853" y="227911"/>
                    </a:lnTo>
                    <a:lnTo>
                      <a:pt x="302380" y="224398"/>
                    </a:lnTo>
                    <a:lnTo>
                      <a:pt x="306673" y="225963"/>
                    </a:lnTo>
                    <a:lnTo>
                      <a:pt x="311120" y="226690"/>
                    </a:lnTo>
                    <a:lnTo>
                      <a:pt x="316141" y="220607"/>
                    </a:lnTo>
                    <a:lnTo>
                      <a:pt x="314867" y="220573"/>
                    </a:lnTo>
                    <a:lnTo>
                      <a:pt x="315980" y="216839"/>
                    </a:lnTo>
                    <a:lnTo>
                      <a:pt x="315927" y="213355"/>
                    </a:lnTo>
                    <a:lnTo>
                      <a:pt x="315051" y="210236"/>
                    </a:lnTo>
                    <a:lnTo>
                      <a:pt x="313721" y="207495"/>
                    </a:lnTo>
                    <a:lnTo>
                      <a:pt x="316496" y="207570"/>
                    </a:lnTo>
                    <a:lnTo>
                      <a:pt x="316567" y="204959"/>
                    </a:lnTo>
                    <a:lnTo>
                      <a:pt x="312492" y="202004"/>
                    </a:lnTo>
                    <a:lnTo>
                      <a:pt x="315222" y="200072"/>
                    </a:lnTo>
                    <a:lnTo>
                      <a:pt x="321021" y="198812"/>
                    </a:lnTo>
                    <a:lnTo>
                      <a:pt x="323780" y="197314"/>
                    </a:lnTo>
                    <a:lnTo>
                      <a:pt x="323856" y="194470"/>
                    </a:lnTo>
                    <a:lnTo>
                      <a:pt x="317194" y="194606"/>
                    </a:lnTo>
                    <a:lnTo>
                      <a:pt x="314030" y="193836"/>
                    </a:lnTo>
                    <a:lnTo>
                      <a:pt x="311277" y="191555"/>
                    </a:lnTo>
                    <a:lnTo>
                      <a:pt x="312845" y="189186"/>
                    </a:lnTo>
                    <a:lnTo>
                      <a:pt x="311396" y="187266"/>
                    </a:lnTo>
                    <a:lnTo>
                      <a:pt x="309774" y="185697"/>
                    </a:lnTo>
                    <a:lnTo>
                      <a:pt x="308026" y="184530"/>
                    </a:lnTo>
                    <a:lnTo>
                      <a:pt x="306119" y="183794"/>
                    </a:lnTo>
                    <a:lnTo>
                      <a:pt x="306595" y="182018"/>
                    </a:lnTo>
                    <a:lnTo>
                      <a:pt x="307360" y="177561"/>
                    </a:lnTo>
                    <a:lnTo>
                      <a:pt x="307852" y="175788"/>
                    </a:lnTo>
                    <a:lnTo>
                      <a:pt x="305264" y="175684"/>
                    </a:lnTo>
                    <a:lnTo>
                      <a:pt x="303297" y="174230"/>
                    </a:lnTo>
                    <a:lnTo>
                      <a:pt x="294435" y="159521"/>
                    </a:lnTo>
                    <a:lnTo>
                      <a:pt x="294783" y="153156"/>
                    </a:lnTo>
                    <a:lnTo>
                      <a:pt x="298069" y="152160"/>
                    </a:lnTo>
                    <a:lnTo>
                      <a:pt x="302632" y="154310"/>
                    </a:lnTo>
                    <a:lnTo>
                      <a:pt x="310934" y="160478"/>
                    </a:lnTo>
                    <a:lnTo>
                      <a:pt x="314312" y="161517"/>
                    </a:lnTo>
                    <a:lnTo>
                      <a:pt x="317734" y="160662"/>
                    </a:lnTo>
                    <a:lnTo>
                      <a:pt x="325858" y="155434"/>
                    </a:lnTo>
                    <a:lnTo>
                      <a:pt x="330166" y="154100"/>
                    </a:lnTo>
                    <a:lnTo>
                      <a:pt x="334519" y="154757"/>
                    </a:lnTo>
                    <a:lnTo>
                      <a:pt x="338676" y="158329"/>
                    </a:lnTo>
                    <a:lnTo>
                      <a:pt x="340269" y="155571"/>
                    </a:lnTo>
                    <a:lnTo>
                      <a:pt x="343025" y="153121"/>
                    </a:lnTo>
                    <a:lnTo>
                      <a:pt x="345867" y="151373"/>
                    </a:lnTo>
                    <a:lnTo>
                      <a:pt x="347684" y="150734"/>
                    </a:lnTo>
                    <a:lnTo>
                      <a:pt x="351236" y="152017"/>
                    </a:lnTo>
                    <a:lnTo>
                      <a:pt x="357188" y="157572"/>
                    </a:lnTo>
                    <a:lnTo>
                      <a:pt x="359892" y="158849"/>
                    </a:lnTo>
                    <a:lnTo>
                      <a:pt x="369961" y="158198"/>
                    </a:lnTo>
                    <a:lnTo>
                      <a:pt x="373016" y="159154"/>
                    </a:lnTo>
                    <a:lnTo>
                      <a:pt x="386625" y="170107"/>
                    </a:lnTo>
                    <a:lnTo>
                      <a:pt x="384733" y="166039"/>
                    </a:lnTo>
                    <a:lnTo>
                      <a:pt x="382494" y="163611"/>
                    </a:lnTo>
                    <a:lnTo>
                      <a:pt x="377124" y="159247"/>
                    </a:lnTo>
                    <a:lnTo>
                      <a:pt x="379818" y="157069"/>
                    </a:lnTo>
                    <a:lnTo>
                      <a:pt x="385576" y="156170"/>
                    </a:lnTo>
                    <a:lnTo>
                      <a:pt x="388351" y="154271"/>
                    </a:lnTo>
                    <a:lnTo>
                      <a:pt x="375652" y="151378"/>
                    </a:lnTo>
                    <a:lnTo>
                      <a:pt x="371693" y="151304"/>
                    </a:lnTo>
                    <a:lnTo>
                      <a:pt x="370033" y="152323"/>
                    </a:lnTo>
                    <a:lnTo>
                      <a:pt x="367679" y="155673"/>
                    </a:lnTo>
                    <a:lnTo>
                      <a:pt x="365518" y="156369"/>
                    </a:lnTo>
                    <a:lnTo>
                      <a:pt x="363509" y="155499"/>
                    </a:lnTo>
                    <a:lnTo>
                      <a:pt x="359456" y="151842"/>
                    </a:lnTo>
                    <a:lnTo>
                      <a:pt x="357276" y="150967"/>
                    </a:lnTo>
                    <a:lnTo>
                      <a:pt x="354358" y="148844"/>
                    </a:lnTo>
                    <a:lnTo>
                      <a:pt x="348646" y="139750"/>
                    </a:lnTo>
                    <a:lnTo>
                      <a:pt x="346639" y="137648"/>
                    </a:lnTo>
                    <a:lnTo>
                      <a:pt x="346429" y="136228"/>
                    </a:lnTo>
                    <a:lnTo>
                      <a:pt x="342781" y="130276"/>
                    </a:lnTo>
                    <a:lnTo>
                      <a:pt x="342041" y="129495"/>
                    </a:lnTo>
                    <a:lnTo>
                      <a:pt x="340630" y="124625"/>
                    </a:lnTo>
                    <a:lnTo>
                      <a:pt x="340058" y="121782"/>
                    </a:lnTo>
                    <a:lnTo>
                      <a:pt x="339689" y="118988"/>
                    </a:lnTo>
                    <a:lnTo>
                      <a:pt x="343678" y="119088"/>
                    </a:lnTo>
                    <a:lnTo>
                      <a:pt x="341759" y="114983"/>
                    </a:lnTo>
                    <a:lnTo>
                      <a:pt x="341954" y="111195"/>
                    </a:lnTo>
                    <a:lnTo>
                      <a:pt x="343454" y="107422"/>
                    </a:lnTo>
                    <a:lnTo>
                      <a:pt x="345447" y="103461"/>
                    </a:lnTo>
                    <a:lnTo>
                      <a:pt x="345691" y="101524"/>
                    </a:lnTo>
                    <a:lnTo>
                      <a:pt x="345511" y="99001"/>
                    </a:lnTo>
                    <a:lnTo>
                      <a:pt x="345542" y="96794"/>
                    </a:lnTo>
                    <a:lnTo>
                      <a:pt x="346323" y="95912"/>
                    </a:lnTo>
                    <a:lnTo>
                      <a:pt x="347828" y="96337"/>
                    </a:lnTo>
                    <a:lnTo>
                      <a:pt x="350443" y="98004"/>
                    </a:lnTo>
                    <a:lnTo>
                      <a:pt x="351672" y="98407"/>
                    </a:lnTo>
                    <a:lnTo>
                      <a:pt x="363100" y="106827"/>
                    </a:lnTo>
                    <a:lnTo>
                      <a:pt x="371479" y="106696"/>
                    </a:lnTo>
                    <a:lnTo>
                      <a:pt x="366029" y="101999"/>
                    </a:lnTo>
                    <a:lnTo>
                      <a:pt x="364199" y="99453"/>
                    </a:lnTo>
                    <a:lnTo>
                      <a:pt x="364893" y="96361"/>
                    </a:lnTo>
                    <a:lnTo>
                      <a:pt x="363609" y="93500"/>
                    </a:lnTo>
                    <a:lnTo>
                      <a:pt x="361738" y="95384"/>
                    </a:lnTo>
                    <a:lnTo>
                      <a:pt x="359710" y="96346"/>
                    </a:lnTo>
                    <a:lnTo>
                      <a:pt x="357570" y="96528"/>
                    </a:lnTo>
                    <a:lnTo>
                      <a:pt x="355330" y="96133"/>
                    </a:lnTo>
                    <a:lnTo>
                      <a:pt x="355401" y="93304"/>
                    </a:lnTo>
                    <a:lnTo>
                      <a:pt x="357385" y="93445"/>
                    </a:lnTo>
                    <a:lnTo>
                      <a:pt x="358006" y="93367"/>
                    </a:lnTo>
                    <a:lnTo>
                      <a:pt x="358070" y="90757"/>
                    </a:lnTo>
                    <a:lnTo>
                      <a:pt x="356725" y="90444"/>
                    </a:lnTo>
                    <a:lnTo>
                      <a:pt x="355895" y="89771"/>
                    </a:lnTo>
                    <a:lnTo>
                      <a:pt x="354038" y="87800"/>
                    </a:lnTo>
                    <a:lnTo>
                      <a:pt x="365283" y="81460"/>
                    </a:lnTo>
                    <a:lnTo>
                      <a:pt x="370142" y="83905"/>
                    </a:lnTo>
                    <a:lnTo>
                      <a:pt x="376031" y="88317"/>
                    </a:lnTo>
                    <a:lnTo>
                      <a:pt x="354519" y="68377"/>
                    </a:lnTo>
                    <a:lnTo>
                      <a:pt x="354675" y="61432"/>
                    </a:lnTo>
                    <a:lnTo>
                      <a:pt x="355147" y="58132"/>
                    </a:lnTo>
                    <a:lnTo>
                      <a:pt x="356750" y="56398"/>
                    </a:lnTo>
                    <a:lnTo>
                      <a:pt x="367491" y="50311"/>
                    </a:lnTo>
                    <a:lnTo>
                      <a:pt x="370524" y="47086"/>
                    </a:lnTo>
                    <a:lnTo>
                      <a:pt x="373015" y="41298"/>
                    </a:lnTo>
                    <a:lnTo>
                      <a:pt x="371668" y="41267"/>
                    </a:lnTo>
                    <a:lnTo>
                      <a:pt x="373395" y="33411"/>
                    </a:lnTo>
                    <a:lnTo>
                      <a:pt x="374300" y="25597"/>
                    </a:lnTo>
                    <a:lnTo>
                      <a:pt x="375773" y="19069"/>
                    </a:lnTo>
                    <a:lnTo>
                      <a:pt x="379203" y="15106"/>
                    </a:lnTo>
                    <a:lnTo>
                      <a:pt x="404689" y="21425"/>
                    </a:lnTo>
                    <a:lnTo>
                      <a:pt x="409314" y="24644"/>
                    </a:lnTo>
                    <a:lnTo>
                      <a:pt x="412768" y="29347"/>
                    </a:lnTo>
                    <a:lnTo>
                      <a:pt x="412758" y="31383"/>
                    </a:lnTo>
                    <a:lnTo>
                      <a:pt x="413657" y="37370"/>
                    </a:lnTo>
                    <a:lnTo>
                      <a:pt x="414760" y="42568"/>
                    </a:lnTo>
                    <a:lnTo>
                      <a:pt x="415352" y="42207"/>
                    </a:lnTo>
                    <a:lnTo>
                      <a:pt x="415111" y="46431"/>
                    </a:lnTo>
                    <a:lnTo>
                      <a:pt x="414516" y="49745"/>
                    </a:lnTo>
                    <a:lnTo>
                      <a:pt x="413580" y="52618"/>
                    </a:lnTo>
                    <a:lnTo>
                      <a:pt x="412231" y="55421"/>
                    </a:lnTo>
                    <a:lnTo>
                      <a:pt x="415946" y="52510"/>
                    </a:lnTo>
                    <a:lnTo>
                      <a:pt x="417608" y="49030"/>
                    </a:lnTo>
                    <a:lnTo>
                      <a:pt x="418067" y="45184"/>
                    </a:lnTo>
                    <a:lnTo>
                      <a:pt x="418101" y="41081"/>
                    </a:lnTo>
                    <a:lnTo>
                      <a:pt x="419089" y="35535"/>
                    </a:lnTo>
                    <a:lnTo>
                      <a:pt x="420864" y="33176"/>
                    </a:lnTo>
                    <a:lnTo>
                      <a:pt x="422012" y="30494"/>
                    </a:lnTo>
                    <a:lnTo>
                      <a:pt x="421159" y="24074"/>
                    </a:lnTo>
                    <a:lnTo>
                      <a:pt x="424615" y="27219"/>
                    </a:lnTo>
                    <a:lnTo>
                      <a:pt x="430598" y="35601"/>
                    </a:lnTo>
                    <a:lnTo>
                      <a:pt x="433890" y="37341"/>
                    </a:lnTo>
                    <a:lnTo>
                      <a:pt x="439404" y="41858"/>
                    </a:lnTo>
                    <a:lnTo>
                      <a:pt x="441952" y="42712"/>
                    </a:lnTo>
                    <a:lnTo>
                      <a:pt x="443997" y="44101"/>
                    </a:lnTo>
                    <a:lnTo>
                      <a:pt x="444085" y="47273"/>
                    </a:lnTo>
                    <a:lnTo>
                      <a:pt x="443234" y="50755"/>
                    </a:lnTo>
                    <a:lnTo>
                      <a:pt x="442377" y="53165"/>
                    </a:lnTo>
                    <a:lnTo>
                      <a:pt x="439982" y="56231"/>
                    </a:lnTo>
                    <a:lnTo>
                      <a:pt x="432775" y="63094"/>
                    </a:lnTo>
                    <a:lnTo>
                      <a:pt x="429007" y="72629"/>
                    </a:lnTo>
                    <a:lnTo>
                      <a:pt x="425045" y="79750"/>
                    </a:lnTo>
                    <a:lnTo>
                      <a:pt x="423055" y="84920"/>
                    </a:lnTo>
                    <a:lnTo>
                      <a:pt x="426777" y="84400"/>
                    </a:lnTo>
                    <a:lnTo>
                      <a:pt x="438915" y="71242"/>
                    </a:lnTo>
                    <a:lnTo>
                      <a:pt x="440837" y="70204"/>
                    </a:lnTo>
                    <a:lnTo>
                      <a:pt x="442263" y="64293"/>
                    </a:lnTo>
                    <a:lnTo>
                      <a:pt x="445578" y="61662"/>
                    </a:lnTo>
                    <a:lnTo>
                      <a:pt x="449617" y="59821"/>
                    </a:lnTo>
                    <a:lnTo>
                      <a:pt x="453337" y="56187"/>
                    </a:lnTo>
                    <a:lnTo>
                      <a:pt x="455661" y="49620"/>
                    </a:lnTo>
                    <a:lnTo>
                      <a:pt x="456965" y="42741"/>
                    </a:lnTo>
                    <a:lnTo>
                      <a:pt x="459086" y="37367"/>
                    </a:lnTo>
                    <a:lnTo>
                      <a:pt x="463989" y="35257"/>
                    </a:lnTo>
                    <a:lnTo>
                      <a:pt x="472540" y="37073"/>
                    </a:lnTo>
                    <a:lnTo>
                      <a:pt x="480850" y="40979"/>
                    </a:lnTo>
                    <a:lnTo>
                      <a:pt x="490508" y="48475"/>
                    </a:lnTo>
                    <a:lnTo>
                      <a:pt x="490466" y="51334"/>
                    </a:lnTo>
                    <a:lnTo>
                      <a:pt x="490169" y="52697"/>
                    </a:lnTo>
                    <a:lnTo>
                      <a:pt x="490004" y="52912"/>
                    </a:lnTo>
                    <a:lnTo>
                      <a:pt x="490385" y="56773"/>
                    </a:lnTo>
                    <a:lnTo>
                      <a:pt x="485624" y="62220"/>
                    </a:lnTo>
                    <a:lnTo>
                      <a:pt x="482560" y="69122"/>
                    </a:lnTo>
                    <a:lnTo>
                      <a:pt x="479861" y="76978"/>
                    </a:lnTo>
                    <a:lnTo>
                      <a:pt x="476191" y="85253"/>
                    </a:lnTo>
                    <a:lnTo>
                      <a:pt x="479666" y="83767"/>
                    </a:lnTo>
                    <a:lnTo>
                      <a:pt x="483103" y="80415"/>
                    </a:lnTo>
                    <a:lnTo>
                      <a:pt x="488674" y="72416"/>
                    </a:lnTo>
                    <a:lnTo>
                      <a:pt x="488932" y="70895"/>
                    </a:lnTo>
                    <a:lnTo>
                      <a:pt x="488708" y="69074"/>
                    </a:lnTo>
                    <a:lnTo>
                      <a:pt x="488681" y="67581"/>
                    </a:lnTo>
                    <a:lnTo>
                      <a:pt x="489503" y="66940"/>
                    </a:lnTo>
                    <a:lnTo>
                      <a:pt x="490355" y="66533"/>
                    </a:lnTo>
                    <a:lnTo>
                      <a:pt x="498584" y="57743"/>
                    </a:lnTo>
                    <a:lnTo>
                      <a:pt x="499189" y="56898"/>
                    </a:lnTo>
                    <a:lnTo>
                      <a:pt x="506953" y="51562"/>
                    </a:lnTo>
                    <a:lnTo>
                      <a:pt x="512346" y="49022"/>
                    </a:lnTo>
                    <a:lnTo>
                      <a:pt x="514346" y="48800"/>
                    </a:lnTo>
                    <a:lnTo>
                      <a:pt x="518282" y="50169"/>
                    </a:lnTo>
                    <a:lnTo>
                      <a:pt x="524169" y="55946"/>
                    </a:lnTo>
                    <a:lnTo>
                      <a:pt x="528661" y="57274"/>
                    </a:lnTo>
                    <a:lnTo>
                      <a:pt x="525861" y="54411"/>
                    </a:lnTo>
                    <a:lnTo>
                      <a:pt x="528025" y="52759"/>
                    </a:lnTo>
                    <a:lnTo>
                      <a:pt x="529238" y="50488"/>
                    </a:lnTo>
                    <a:lnTo>
                      <a:pt x="530173" y="48308"/>
                    </a:lnTo>
                    <a:lnTo>
                      <a:pt x="531521" y="46878"/>
                    </a:lnTo>
                    <a:lnTo>
                      <a:pt x="533781" y="46531"/>
                    </a:lnTo>
                    <a:lnTo>
                      <a:pt x="537533" y="48516"/>
                    </a:lnTo>
                    <a:lnTo>
                      <a:pt x="540278" y="49106"/>
                    </a:lnTo>
                    <a:lnTo>
                      <a:pt x="542044" y="47974"/>
                    </a:lnTo>
                    <a:lnTo>
                      <a:pt x="543624" y="42955"/>
                    </a:lnTo>
                    <a:lnTo>
                      <a:pt x="545876" y="41813"/>
                    </a:lnTo>
                    <a:lnTo>
                      <a:pt x="553477" y="41891"/>
                    </a:lnTo>
                    <a:lnTo>
                      <a:pt x="557642" y="43284"/>
                    </a:lnTo>
                    <a:lnTo>
                      <a:pt x="559393" y="43393"/>
                    </a:lnTo>
                    <a:lnTo>
                      <a:pt x="561646" y="41969"/>
                    </a:lnTo>
                    <a:lnTo>
                      <a:pt x="563408" y="39235"/>
                    </a:lnTo>
                    <a:lnTo>
                      <a:pt x="565998" y="32856"/>
                    </a:lnTo>
                    <a:lnTo>
                      <a:pt x="567809" y="31598"/>
                    </a:lnTo>
                    <a:lnTo>
                      <a:pt x="569637" y="31178"/>
                    </a:lnTo>
                    <a:lnTo>
                      <a:pt x="569956" y="30761"/>
                    </a:lnTo>
                    <a:lnTo>
                      <a:pt x="570191" y="31696"/>
                    </a:lnTo>
                    <a:lnTo>
                      <a:pt x="573824" y="39140"/>
                    </a:lnTo>
                    <a:lnTo>
                      <a:pt x="574910" y="40175"/>
                    </a:lnTo>
                    <a:lnTo>
                      <a:pt x="579371" y="39279"/>
                    </a:lnTo>
                    <a:lnTo>
                      <a:pt x="596432" y="42250"/>
                    </a:lnTo>
                    <a:lnTo>
                      <a:pt x="613517" y="39512"/>
                    </a:lnTo>
                    <a:lnTo>
                      <a:pt x="622144" y="35486"/>
                    </a:lnTo>
                    <a:lnTo>
                      <a:pt x="635857" y="25072"/>
                    </a:lnTo>
                    <a:lnTo>
                      <a:pt x="643526" y="21402"/>
                    </a:lnTo>
                    <a:lnTo>
                      <a:pt x="655942" y="19029"/>
                    </a:lnTo>
                    <a:lnTo>
                      <a:pt x="662323" y="19246"/>
                    </a:lnTo>
                    <a:lnTo>
                      <a:pt x="666879" y="21461"/>
                    </a:lnTo>
                    <a:lnTo>
                      <a:pt x="664906" y="23509"/>
                    </a:lnTo>
                    <a:lnTo>
                      <a:pt x="664152" y="24068"/>
                    </a:lnTo>
                    <a:lnTo>
                      <a:pt x="668966" y="28613"/>
                    </a:lnTo>
                    <a:lnTo>
                      <a:pt x="674550" y="28154"/>
                    </a:lnTo>
                    <a:lnTo>
                      <a:pt x="685905" y="24092"/>
                    </a:lnTo>
                    <a:lnTo>
                      <a:pt x="696966" y="29187"/>
                    </a:lnTo>
                    <a:lnTo>
                      <a:pt x="702421" y="29122"/>
                    </a:lnTo>
                    <a:lnTo>
                      <a:pt x="705054" y="21474"/>
                    </a:lnTo>
                    <a:lnTo>
                      <a:pt x="701684" y="19999"/>
                    </a:lnTo>
                    <a:lnTo>
                      <a:pt x="698037" y="17314"/>
                    </a:lnTo>
                    <a:lnTo>
                      <a:pt x="694813" y="13383"/>
                    </a:lnTo>
                    <a:lnTo>
                      <a:pt x="692691" y="8209"/>
                    </a:lnTo>
                    <a:lnTo>
                      <a:pt x="697236" y="202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3" name="Freeform 166">
                <a:extLst>
                  <a:ext uri="{FF2B5EF4-FFF2-40B4-BE49-F238E27FC236}">
                    <a16:creationId xmlns:a16="http://schemas.microsoft.com/office/drawing/2014/main" id="{BC89F034-C32C-D599-179E-55A8F939FBEE}"/>
                  </a:ext>
                </a:extLst>
              </p:cNvPr>
              <p:cNvSpPr>
                <a:spLocks noChangeAspect="1"/>
              </p:cNvSpPr>
              <p:nvPr>
                <p:custDataLst>
                  <p:tags r:id="rId124"/>
                </p:custDataLst>
              </p:nvPr>
            </p:nvSpPr>
            <p:spPr>
              <a:xfrm>
                <a:off x="3801818" y="3171773"/>
                <a:ext cx="499517" cy="524369"/>
              </a:xfrm>
              <a:custGeom>
                <a:avLst/>
                <a:gdLst/>
                <a:ahLst/>
                <a:cxnLst/>
                <a:rect l="l" t="t" r="r" b="b"/>
                <a:pathLst>
                  <a:path w="512870" h="538386">
                    <a:moveTo>
                      <a:pt x="354182" y="378298"/>
                    </a:moveTo>
                    <a:lnTo>
                      <a:pt x="355932" y="378718"/>
                    </a:lnTo>
                    <a:lnTo>
                      <a:pt x="369705" y="386152"/>
                    </a:lnTo>
                    <a:lnTo>
                      <a:pt x="373415" y="389853"/>
                    </a:lnTo>
                    <a:lnTo>
                      <a:pt x="377687" y="397099"/>
                    </a:lnTo>
                    <a:lnTo>
                      <a:pt x="380501" y="405288"/>
                    </a:lnTo>
                    <a:lnTo>
                      <a:pt x="384353" y="424280"/>
                    </a:lnTo>
                    <a:lnTo>
                      <a:pt x="381750" y="429381"/>
                    </a:lnTo>
                    <a:lnTo>
                      <a:pt x="390844" y="439337"/>
                    </a:lnTo>
                    <a:lnTo>
                      <a:pt x="391149" y="447914"/>
                    </a:lnTo>
                    <a:lnTo>
                      <a:pt x="388998" y="449169"/>
                    </a:lnTo>
                    <a:lnTo>
                      <a:pt x="385891" y="449203"/>
                    </a:lnTo>
                    <a:lnTo>
                      <a:pt x="383871" y="450491"/>
                    </a:lnTo>
                    <a:lnTo>
                      <a:pt x="384934" y="455603"/>
                    </a:lnTo>
                    <a:lnTo>
                      <a:pt x="386668" y="457061"/>
                    </a:lnTo>
                    <a:lnTo>
                      <a:pt x="395390" y="461313"/>
                    </a:lnTo>
                    <a:lnTo>
                      <a:pt x="390502" y="464603"/>
                    </a:lnTo>
                    <a:lnTo>
                      <a:pt x="390805" y="469635"/>
                    </a:lnTo>
                    <a:lnTo>
                      <a:pt x="392882" y="475656"/>
                    </a:lnTo>
                    <a:lnTo>
                      <a:pt x="393289" y="481918"/>
                    </a:lnTo>
                    <a:lnTo>
                      <a:pt x="390217" y="485360"/>
                    </a:lnTo>
                    <a:lnTo>
                      <a:pt x="384578" y="487650"/>
                    </a:lnTo>
                    <a:lnTo>
                      <a:pt x="374612" y="489272"/>
                    </a:lnTo>
                    <a:lnTo>
                      <a:pt x="362984" y="487797"/>
                    </a:lnTo>
                    <a:lnTo>
                      <a:pt x="353167" y="484010"/>
                    </a:lnTo>
                    <a:lnTo>
                      <a:pt x="344312" y="478066"/>
                    </a:lnTo>
                    <a:lnTo>
                      <a:pt x="335646" y="469991"/>
                    </a:lnTo>
                    <a:lnTo>
                      <a:pt x="335717" y="467394"/>
                    </a:lnTo>
                    <a:lnTo>
                      <a:pt x="335681" y="464873"/>
                    </a:lnTo>
                    <a:lnTo>
                      <a:pt x="333985" y="454560"/>
                    </a:lnTo>
                    <a:lnTo>
                      <a:pt x="333194" y="451645"/>
                    </a:lnTo>
                    <a:lnTo>
                      <a:pt x="333267" y="449034"/>
                    </a:lnTo>
                    <a:lnTo>
                      <a:pt x="334401" y="448117"/>
                    </a:lnTo>
                    <a:lnTo>
                      <a:pt x="334850" y="447164"/>
                    </a:lnTo>
                    <a:lnTo>
                      <a:pt x="335288" y="445963"/>
                    </a:lnTo>
                    <a:lnTo>
                      <a:pt x="336359" y="444158"/>
                    </a:lnTo>
                    <a:lnTo>
                      <a:pt x="331227" y="436378"/>
                    </a:lnTo>
                    <a:lnTo>
                      <a:pt x="327418" y="428634"/>
                    </a:lnTo>
                    <a:lnTo>
                      <a:pt x="325780" y="419425"/>
                    </a:lnTo>
                    <a:lnTo>
                      <a:pt x="327201" y="407099"/>
                    </a:lnTo>
                    <a:lnTo>
                      <a:pt x="330344" y="398944"/>
                    </a:lnTo>
                    <a:lnTo>
                      <a:pt x="335779" y="390882"/>
                    </a:lnTo>
                    <a:lnTo>
                      <a:pt x="342589" y="385173"/>
                    </a:lnTo>
                    <a:lnTo>
                      <a:pt x="349903" y="384017"/>
                    </a:lnTo>
                    <a:lnTo>
                      <a:pt x="349491" y="382700"/>
                    </a:lnTo>
                    <a:lnTo>
                      <a:pt x="349017" y="379840"/>
                    </a:lnTo>
                    <a:lnTo>
                      <a:pt x="348579" y="378522"/>
                    </a:lnTo>
                    <a:close/>
                    <a:moveTo>
                      <a:pt x="378542" y="303613"/>
                    </a:moveTo>
                    <a:lnTo>
                      <a:pt x="385021" y="309466"/>
                    </a:lnTo>
                    <a:lnTo>
                      <a:pt x="391360" y="316978"/>
                    </a:lnTo>
                    <a:lnTo>
                      <a:pt x="393266" y="318237"/>
                    </a:lnTo>
                    <a:lnTo>
                      <a:pt x="395158" y="318623"/>
                    </a:lnTo>
                    <a:lnTo>
                      <a:pt x="396569" y="319823"/>
                    </a:lnTo>
                    <a:lnTo>
                      <a:pt x="397592" y="328511"/>
                    </a:lnTo>
                    <a:lnTo>
                      <a:pt x="399084" y="330381"/>
                    </a:lnTo>
                    <a:lnTo>
                      <a:pt x="401039" y="331173"/>
                    </a:lnTo>
                    <a:lnTo>
                      <a:pt x="402832" y="332895"/>
                    </a:lnTo>
                    <a:lnTo>
                      <a:pt x="405331" y="338055"/>
                    </a:lnTo>
                    <a:lnTo>
                      <a:pt x="407180" y="343121"/>
                    </a:lnTo>
                    <a:lnTo>
                      <a:pt x="408579" y="348378"/>
                    </a:lnTo>
                    <a:lnTo>
                      <a:pt x="410535" y="360321"/>
                    </a:lnTo>
                    <a:lnTo>
                      <a:pt x="410202" y="362646"/>
                    </a:lnTo>
                    <a:lnTo>
                      <a:pt x="408775" y="364605"/>
                    </a:lnTo>
                    <a:lnTo>
                      <a:pt x="406380" y="369776"/>
                    </a:lnTo>
                    <a:lnTo>
                      <a:pt x="408653" y="371429"/>
                    </a:lnTo>
                    <a:lnTo>
                      <a:pt x="410240" y="374374"/>
                    </a:lnTo>
                    <a:lnTo>
                      <a:pt x="410587" y="377585"/>
                    </a:lnTo>
                    <a:lnTo>
                      <a:pt x="409069" y="380023"/>
                    </a:lnTo>
                    <a:lnTo>
                      <a:pt x="406359" y="379775"/>
                    </a:lnTo>
                    <a:lnTo>
                      <a:pt x="404352" y="376462"/>
                    </a:lnTo>
                    <a:lnTo>
                      <a:pt x="401971" y="369674"/>
                    </a:lnTo>
                    <a:lnTo>
                      <a:pt x="388254" y="356018"/>
                    </a:lnTo>
                    <a:lnTo>
                      <a:pt x="386181" y="349607"/>
                    </a:lnTo>
                    <a:lnTo>
                      <a:pt x="383956" y="338836"/>
                    </a:lnTo>
                    <a:lnTo>
                      <a:pt x="383632" y="333882"/>
                    </a:lnTo>
                    <a:lnTo>
                      <a:pt x="376343" y="328584"/>
                    </a:lnTo>
                    <a:lnTo>
                      <a:pt x="375036" y="325721"/>
                    </a:lnTo>
                    <a:lnTo>
                      <a:pt x="373484" y="319817"/>
                    </a:lnTo>
                    <a:lnTo>
                      <a:pt x="371039" y="313115"/>
                    </a:lnTo>
                    <a:lnTo>
                      <a:pt x="371461" y="307167"/>
                    </a:lnTo>
                    <a:close/>
                    <a:moveTo>
                      <a:pt x="170581" y="289124"/>
                    </a:moveTo>
                    <a:lnTo>
                      <a:pt x="172692" y="289953"/>
                    </a:lnTo>
                    <a:lnTo>
                      <a:pt x="174009" y="291498"/>
                    </a:lnTo>
                    <a:lnTo>
                      <a:pt x="174658" y="293843"/>
                    </a:lnTo>
                    <a:lnTo>
                      <a:pt x="174940" y="310161"/>
                    </a:lnTo>
                    <a:lnTo>
                      <a:pt x="177032" y="331482"/>
                    </a:lnTo>
                    <a:lnTo>
                      <a:pt x="177258" y="343053"/>
                    </a:lnTo>
                    <a:lnTo>
                      <a:pt x="178441" y="346661"/>
                    </a:lnTo>
                    <a:lnTo>
                      <a:pt x="181296" y="350677"/>
                    </a:lnTo>
                    <a:lnTo>
                      <a:pt x="184429" y="353891"/>
                    </a:lnTo>
                    <a:lnTo>
                      <a:pt x="186398" y="355258"/>
                    </a:lnTo>
                    <a:lnTo>
                      <a:pt x="187368" y="356695"/>
                    </a:lnTo>
                    <a:lnTo>
                      <a:pt x="186706" y="359845"/>
                    </a:lnTo>
                    <a:lnTo>
                      <a:pt x="185594" y="363318"/>
                    </a:lnTo>
                    <a:lnTo>
                      <a:pt x="185208" y="365638"/>
                    </a:lnTo>
                    <a:lnTo>
                      <a:pt x="186214" y="367762"/>
                    </a:lnTo>
                    <a:lnTo>
                      <a:pt x="187577" y="369244"/>
                    </a:lnTo>
                    <a:lnTo>
                      <a:pt x="191003" y="371084"/>
                    </a:lnTo>
                    <a:lnTo>
                      <a:pt x="190324" y="375416"/>
                    </a:lnTo>
                    <a:lnTo>
                      <a:pt x="190257" y="379739"/>
                    </a:lnTo>
                    <a:lnTo>
                      <a:pt x="190769" y="383632"/>
                    </a:lnTo>
                    <a:lnTo>
                      <a:pt x="191897" y="386771"/>
                    </a:lnTo>
                    <a:lnTo>
                      <a:pt x="191807" y="389165"/>
                    </a:lnTo>
                    <a:lnTo>
                      <a:pt x="189200" y="390375"/>
                    </a:lnTo>
                    <a:lnTo>
                      <a:pt x="186915" y="391890"/>
                    </a:lnTo>
                    <a:lnTo>
                      <a:pt x="185130" y="394080"/>
                    </a:lnTo>
                    <a:lnTo>
                      <a:pt x="184012" y="397182"/>
                    </a:lnTo>
                    <a:lnTo>
                      <a:pt x="182789" y="394272"/>
                    </a:lnTo>
                    <a:lnTo>
                      <a:pt x="178689" y="400061"/>
                    </a:lnTo>
                    <a:lnTo>
                      <a:pt x="173553" y="404407"/>
                    </a:lnTo>
                    <a:lnTo>
                      <a:pt x="167728" y="407389"/>
                    </a:lnTo>
                    <a:lnTo>
                      <a:pt x="161591" y="409125"/>
                    </a:lnTo>
                    <a:lnTo>
                      <a:pt x="152485" y="407271"/>
                    </a:lnTo>
                    <a:lnTo>
                      <a:pt x="149671" y="408653"/>
                    </a:lnTo>
                    <a:lnTo>
                      <a:pt x="147742" y="416652"/>
                    </a:lnTo>
                    <a:lnTo>
                      <a:pt x="146780" y="418061"/>
                    </a:lnTo>
                    <a:lnTo>
                      <a:pt x="144614" y="420324"/>
                    </a:lnTo>
                    <a:lnTo>
                      <a:pt x="138971" y="424608"/>
                    </a:lnTo>
                    <a:lnTo>
                      <a:pt x="133390" y="426435"/>
                    </a:lnTo>
                    <a:lnTo>
                      <a:pt x="128320" y="424390"/>
                    </a:lnTo>
                    <a:lnTo>
                      <a:pt x="125655" y="415750"/>
                    </a:lnTo>
                    <a:lnTo>
                      <a:pt x="127297" y="407134"/>
                    </a:lnTo>
                    <a:lnTo>
                      <a:pt x="132214" y="401891"/>
                    </a:lnTo>
                    <a:lnTo>
                      <a:pt x="144173" y="395625"/>
                    </a:lnTo>
                    <a:lnTo>
                      <a:pt x="140081" y="381934"/>
                    </a:lnTo>
                    <a:lnTo>
                      <a:pt x="137570" y="378579"/>
                    </a:lnTo>
                    <a:lnTo>
                      <a:pt x="129212" y="374002"/>
                    </a:lnTo>
                    <a:lnTo>
                      <a:pt x="127406" y="373802"/>
                    </a:lnTo>
                    <a:lnTo>
                      <a:pt x="128604" y="366942"/>
                    </a:lnTo>
                    <a:lnTo>
                      <a:pt x="134361" y="360130"/>
                    </a:lnTo>
                    <a:lnTo>
                      <a:pt x="144531" y="351006"/>
                    </a:lnTo>
                    <a:lnTo>
                      <a:pt x="139945" y="348453"/>
                    </a:lnTo>
                    <a:lnTo>
                      <a:pt x="133839" y="347145"/>
                    </a:lnTo>
                    <a:lnTo>
                      <a:pt x="127727" y="347903"/>
                    </a:lnTo>
                    <a:lnTo>
                      <a:pt x="123212" y="351434"/>
                    </a:lnTo>
                    <a:lnTo>
                      <a:pt x="117599" y="364473"/>
                    </a:lnTo>
                    <a:lnTo>
                      <a:pt x="114315" y="370607"/>
                    </a:lnTo>
                    <a:lnTo>
                      <a:pt x="107230" y="375160"/>
                    </a:lnTo>
                    <a:lnTo>
                      <a:pt x="99954" y="385196"/>
                    </a:lnTo>
                    <a:lnTo>
                      <a:pt x="97096" y="388169"/>
                    </a:lnTo>
                    <a:lnTo>
                      <a:pt x="91026" y="388915"/>
                    </a:lnTo>
                    <a:lnTo>
                      <a:pt x="88480" y="385161"/>
                    </a:lnTo>
                    <a:lnTo>
                      <a:pt x="88993" y="378942"/>
                    </a:lnTo>
                    <a:lnTo>
                      <a:pt x="92040" y="372289"/>
                    </a:lnTo>
                    <a:lnTo>
                      <a:pt x="90986" y="371543"/>
                    </a:lnTo>
                    <a:lnTo>
                      <a:pt x="90212" y="370014"/>
                    </a:lnTo>
                    <a:lnTo>
                      <a:pt x="89104" y="369312"/>
                    </a:lnTo>
                    <a:lnTo>
                      <a:pt x="91672" y="363153"/>
                    </a:lnTo>
                    <a:lnTo>
                      <a:pt x="101881" y="349218"/>
                    </a:lnTo>
                    <a:lnTo>
                      <a:pt x="94912" y="343698"/>
                    </a:lnTo>
                    <a:lnTo>
                      <a:pt x="97832" y="341351"/>
                    </a:lnTo>
                    <a:lnTo>
                      <a:pt x="99709" y="339037"/>
                    </a:lnTo>
                    <a:lnTo>
                      <a:pt x="100757" y="335471"/>
                    </a:lnTo>
                    <a:lnTo>
                      <a:pt x="101272" y="329486"/>
                    </a:lnTo>
                    <a:lnTo>
                      <a:pt x="102057" y="324726"/>
                    </a:lnTo>
                    <a:lnTo>
                      <a:pt x="103811" y="321766"/>
                    </a:lnTo>
                    <a:lnTo>
                      <a:pt x="111797" y="316461"/>
                    </a:lnTo>
                    <a:lnTo>
                      <a:pt x="123718" y="311676"/>
                    </a:lnTo>
                    <a:lnTo>
                      <a:pt x="126374" y="308923"/>
                    </a:lnTo>
                    <a:lnTo>
                      <a:pt x="128868" y="307097"/>
                    </a:lnTo>
                    <a:lnTo>
                      <a:pt x="131603" y="308457"/>
                    </a:lnTo>
                    <a:lnTo>
                      <a:pt x="129882" y="310813"/>
                    </a:lnTo>
                    <a:lnTo>
                      <a:pt x="126795" y="321531"/>
                    </a:lnTo>
                    <a:lnTo>
                      <a:pt x="126695" y="323908"/>
                    </a:lnTo>
                    <a:lnTo>
                      <a:pt x="128013" y="330826"/>
                    </a:lnTo>
                    <a:lnTo>
                      <a:pt x="129502" y="333689"/>
                    </a:lnTo>
                    <a:lnTo>
                      <a:pt x="132113" y="334592"/>
                    </a:lnTo>
                    <a:lnTo>
                      <a:pt x="132221" y="331981"/>
                    </a:lnTo>
                    <a:lnTo>
                      <a:pt x="130920" y="324411"/>
                    </a:lnTo>
                    <a:lnTo>
                      <a:pt x="135868" y="316103"/>
                    </a:lnTo>
                    <a:lnTo>
                      <a:pt x="143048" y="309425"/>
                    </a:lnTo>
                    <a:lnTo>
                      <a:pt x="150881" y="305197"/>
                    </a:lnTo>
                    <a:lnTo>
                      <a:pt x="156490" y="298046"/>
                    </a:lnTo>
                    <a:lnTo>
                      <a:pt x="159306" y="296524"/>
                    </a:lnTo>
                    <a:lnTo>
                      <a:pt x="162386" y="295791"/>
                    </a:lnTo>
                    <a:lnTo>
                      <a:pt x="165662" y="293865"/>
                    </a:lnTo>
                    <a:lnTo>
                      <a:pt x="168575" y="291396"/>
                    </a:lnTo>
                    <a:close/>
                    <a:moveTo>
                      <a:pt x="171355" y="218943"/>
                    </a:moveTo>
                    <a:lnTo>
                      <a:pt x="173776" y="219130"/>
                    </a:lnTo>
                    <a:lnTo>
                      <a:pt x="174583" y="223783"/>
                    </a:lnTo>
                    <a:lnTo>
                      <a:pt x="167243" y="235400"/>
                    </a:lnTo>
                    <a:lnTo>
                      <a:pt x="164486" y="242948"/>
                    </a:lnTo>
                    <a:lnTo>
                      <a:pt x="164824" y="249731"/>
                    </a:lnTo>
                    <a:lnTo>
                      <a:pt x="160426" y="252794"/>
                    </a:lnTo>
                    <a:lnTo>
                      <a:pt x="154524" y="254269"/>
                    </a:lnTo>
                    <a:lnTo>
                      <a:pt x="148664" y="253846"/>
                    </a:lnTo>
                    <a:lnTo>
                      <a:pt x="144344" y="251289"/>
                    </a:lnTo>
                    <a:lnTo>
                      <a:pt x="147778" y="248721"/>
                    </a:lnTo>
                    <a:lnTo>
                      <a:pt x="149554" y="244390"/>
                    </a:lnTo>
                    <a:lnTo>
                      <a:pt x="150854" y="239338"/>
                    </a:lnTo>
                    <a:lnTo>
                      <a:pt x="152967" y="234785"/>
                    </a:lnTo>
                    <a:lnTo>
                      <a:pt x="157659" y="229092"/>
                    </a:lnTo>
                    <a:lnTo>
                      <a:pt x="159030" y="226952"/>
                    </a:lnTo>
                    <a:lnTo>
                      <a:pt x="160678" y="225664"/>
                    </a:lnTo>
                    <a:lnTo>
                      <a:pt x="163949" y="227194"/>
                    </a:lnTo>
                    <a:lnTo>
                      <a:pt x="165774" y="225805"/>
                    </a:lnTo>
                    <a:lnTo>
                      <a:pt x="165174" y="224318"/>
                    </a:lnTo>
                    <a:lnTo>
                      <a:pt x="164869" y="223279"/>
                    </a:lnTo>
                    <a:lnTo>
                      <a:pt x="164379" y="220769"/>
                    </a:lnTo>
                    <a:lnTo>
                      <a:pt x="167984" y="220397"/>
                    </a:lnTo>
                    <a:close/>
                    <a:moveTo>
                      <a:pt x="263972" y="211495"/>
                    </a:moveTo>
                    <a:lnTo>
                      <a:pt x="268461" y="213835"/>
                    </a:lnTo>
                    <a:lnTo>
                      <a:pt x="269121" y="217513"/>
                    </a:lnTo>
                    <a:lnTo>
                      <a:pt x="269556" y="222785"/>
                    </a:lnTo>
                    <a:lnTo>
                      <a:pt x="269115" y="227484"/>
                    </a:lnTo>
                    <a:lnTo>
                      <a:pt x="265652" y="230717"/>
                    </a:lnTo>
                    <a:lnTo>
                      <a:pt x="262257" y="236300"/>
                    </a:lnTo>
                    <a:lnTo>
                      <a:pt x="257826" y="240601"/>
                    </a:lnTo>
                    <a:lnTo>
                      <a:pt x="248585" y="261607"/>
                    </a:lnTo>
                    <a:lnTo>
                      <a:pt x="229327" y="296884"/>
                    </a:lnTo>
                    <a:lnTo>
                      <a:pt x="224110" y="312010"/>
                    </a:lnTo>
                    <a:lnTo>
                      <a:pt x="221891" y="311091"/>
                    </a:lnTo>
                    <a:lnTo>
                      <a:pt x="216360" y="317630"/>
                    </a:lnTo>
                    <a:lnTo>
                      <a:pt x="212734" y="319414"/>
                    </a:lnTo>
                    <a:lnTo>
                      <a:pt x="211067" y="322294"/>
                    </a:lnTo>
                    <a:lnTo>
                      <a:pt x="208394" y="336933"/>
                    </a:lnTo>
                    <a:lnTo>
                      <a:pt x="206749" y="342723"/>
                    </a:lnTo>
                    <a:lnTo>
                      <a:pt x="201140" y="346392"/>
                    </a:lnTo>
                    <a:lnTo>
                      <a:pt x="192776" y="345522"/>
                    </a:lnTo>
                    <a:lnTo>
                      <a:pt x="185284" y="340122"/>
                    </a:lnTo>
                    <a:lnTo>
                      <a:pt x="182286" y="330282"/>
                    </a:lnTo>
                    <a:lnTo>
                      <a:pt x="181105" y="311860"/>
                    </a:lnTo>
                    <a:lnTo>
                      <a:pt x="181778" y="305242"/>
                    </a:lnTo>
                    <a:lnTo>
                      <a:pt x="184096" y="299354"/>
                    </a:lnTo>
                    <a:lnTo>
                      <a:pt x="187410" y="296819"/>
                    </a:lnTo>
                    <a:lnTo>
                      <a:pt x="191131" y="295031"/>
                    </a:lnTo>
                    <a:lnTo>
                      <a:pt x="194729" y="291352"/>
                    </a:lnTo>
                    <a:lnTo>
                      <a:pt x="201242" y="286319"/>
                    </a:lnTo>
                    <a:lnTo>
                      <a:pt x="218116" y="283618"/>
                    </a:lnTo>
                    <a:lnTo>
                      <a:pt x="225323" y="277853"/>
                    </a:lnTo>
                    <a:lnTo>
                      <a:pt x="220267" y="277534"/>
                    </a:lnTo>
                    <a:lnTo>
                      <a:pt x="212318" y="279489"/>
                    </a:lnTo>
                    <a:lnTo>
                      <a:pt x="205074" y="279505"/>
                    </a:lnTo>
                    <a:lnTo>
                      <a:pt x="202120" y="273235"/>
                    </a:lnTo>
                    <a:lnTo>
                      <a:pt x="205075" y="264615"/>
                    </a:lnTo>
                    <a:lnTo>
                      <a:pt x="211430" y="254951"/>
                    </a:lnTo>
                    <a:lnTo>
                      <a:pt x="218285" y="247076"/>
                    </a:lnTo>
                    <a:lnTo>
                      <a:pt x="222770" y="243845"/>
                    </a:lnTo>
                    <a:lnTo>
                      <a:pt x="229296" y="242053"/>
                    </a:lnTo>
                    <a:lnTo>
                      <a:pt x="246071" y="226391"/>
                    </a:lnTo>
                    <a:lnTo>
                      <a:pt x="257326" y="215631"/>
                    </a:lnTo>
                    <a:close/>
                    <a:moveTo>
                      <a:pt x="270460" y="193008"/>
                    </a:moveTo>
                    <a:lnTo>
                      <a:pt x="271940" y="195919"/>
                    </a:lnTo>
                    <a:lnTo>
                      <a:pt x="273285" y="201936"/>
                    </a:lnTo>
                    <a:lnTo>
                      <a:pt x="268788" y="205741"/>
                    </a:lnTo>
                    <a:lnTo>
                      <a:pt x="262122" y="207732"/>
                    </a:lnTo>
                    <a:lnTo>
                      <a:pt x="257011" y="208230"/>
                    </a:lnTo>
                    <a:lnTo>
                      <a:pt x="259514" y="202045"/>
                    </a:lnTo>
                    <a:lnTo>
                      <a:pt x="263061" y="198490"/>
                    </a:lnTo>
                    <a:close/>
                    <a:moveTo>
                      <a:pt x="282932" y="169917"/>
                    </a:moveTo>
                    <a:lnTo>
                      <a:pt x="284011" y="171290"/>
                    </a:lnTo>
                    <a:lnTo>
                      <a:pt x="285018" y="172223"/>
                    </a:lnTo>
                    <a:lnTo>
                      <a:pt x="286069" y="172070"/>
                    </a:lnTo>
                    <a:lnTo>
                      <a:pt x="287282" y="170054"/>
                    </a:lnTo>
                    <a:lnTo>
                      <a:pt x="287543" y="175446"/>
                    </a:lnTo>
                    <a:lnTo>
                      <a:pt x="285763" y="180881"/>
                    </a:lnTo>
                    <a:lnTo>
                      <a:pt x="283462" y="186362"/>
                    </a:lnTo>
                    <a:lnTo>
                      <a:pt x="281110" y="198234"/>
                    </a:lnTo>
                    <a:lnTo>
                      <a:pt x="279031" y="195835"/>
                    </a:lnTo>
                    <a:lnTo>
                      <a:pt x="275312" y="185355"/>
                    </a:lnTo>
                    <a:lnTo>
                      <a:pt x="277607" y="181788"/>
                    </a:lnTo>
                    <a:lnTo>
                      <a:pt x="280249" y="172725"/>
                    </a:lnTo>
                    <a:close/>
                    <a:moveTo>
                      <a:pt x="293961" y="146525"/>
                    </a:moveTo>
                    <a:lnTo>
                      <a:pt x="292586" y="151056"/>
                    </a:lnTo>
                    <a:lnTo>
                      <a:pt x="290471" y="154100"/>
                    </a:lnTo>
                    <a:lnTo>
                      <a:pt x="289230" y="157328"/>
                    </a:lnTo>
                    <a:lnTo>
                      <a:pt x="290418" y="162344"/>
                    </a:lnTo>
                    <a:lnTo>
                      <a:pt x="285510" y="165192"/>
                    </a:lnTo>
                    <a:lnTo>
                      <a:pt x="281649" y="162503"/>
                    </a:lnTo>
                    <a:lnTo>
                      <a:pt x="280482" y="156352"/>
                    </a:lnTo>
                    <a:lnTo>
                      <a:pt x="283606" y="148813"/>
                    </a:lnTo>
                    <a:lnTo>
                      <a:pt x="286292" y="146814"/>
                    </a:lnTo>
                    <a:lnTo>
                      <a:pt x="291107" y="147867"/>
                    </a:lnTo>
                    <a:close/>
                    <a:moveTo>
                      <a:pt x="312397" y="110562"/>
                    </a:moveTo>
                    <a:lnTo>
                      <a:pt x="308965" y="117054"/>
                    </a:lnTo>
                    <a:lnTo>
                      <a:pt x="304994" y="121383"/>
                    </a:lnTo>
                    <a:lnTo>
                      <a:pt x="300323" y="123450"/>
                    </a:lnTo>
                    <a:lnTo>
                      <a:pt x="294695" y="123058"/>
                    </a:lnTo>
                    <a:lnTo>
                      <a:pt x="295822" y="119500"/>
                    </a:lnTo>
                    <a:lnTo>
                      <a:pt x="297138" y="117067"/>
                    </a:lnTo>
                    <a:lnTo>
                      <a:pt x="300652" y="112820"/>
                    </a:lnTo>
                    <a:lnTo>
                      <a:pt x="307289" y="113302"/>
                    </a:lnTo>
                    <a:lnTo>
                      <a:pt x="310302" y="112677"/>
                    </a:lnTo>
                    <a:close/>
                    <a:moveTo>
                      <a:pt x="163168" y="73792"/>
                    </a:moveTo>
                    <a:lnTo>
                      <a:pt x="166104" y="77238"/>
                    </a:lnTo>
                    <a:lnTo>
                      <a:pt x="172258" y="82757"/>
                    </a:lnTo>
                    <a:lnTo>
                      <a:pt x="174304" y="87273"/>
                    </a:lnTo>
                    <a:lnTo>
                      <a:pt x="163216" y="87487"/>
                    </a:lnTo>
                    <a:lnTo>
                      <a:pt x="157981" y="86435"/>
                    </a:lnTo>
                    <a:lnTo>
                      <a:pt x="152662" y="81178"/>
                    </a:lnTo>
                    <a:lnTo>
                      <a:pt x="155009" y="77585"/>
                    </a:lnTo>
                    <a:lnTo>
                      <a:pt x="157472" y="75117"/>
                    </a:lnTo>
                    <a:lnTo>
                      <a:pt x="160154" y="73794"/>
                    </a:lnTo>
                    <a:close/>
                    <a:moveTo>
                      <a:pt x="47734" y="51520"/>
                    </a:moveTo>
                    <a:lnTo>
                      <a:pt x="53054" y="52055"/>
                    </a:lnTo>
                    <a:lnTo>
                      <a:pt x="55387" y="58859"/>
                    </a:lnTo>
                    <a:lnTo>
                      <a:pt x="52194" y="63502"/>
                    </a:lnTo>
                    <a:lnTo>
                      <a:pt x="39376" y="64488"/>
                    </a:lnTo>
                    <a:lnTo>
                      <a:pt x="38694" y="70853"/>
                    </a:lnTo>
                    <a:lnTo>
                      <a:pt x="34313" y="74315"/>
                    </a:lnTo>
                    <a:lnTo>
                      <a:pt x="29585" y="75031"/>
                    </a:lnTo>
                    <a:lnTo>
                      <a:pt x="24942" y="76779"/>
                    </a:lnTo>
                    <a:lnTo>
                      <a:pt x="20765" y="83282"/>
                    </a:lnTo>
                    <a:lnTo>
                      <a:pt x="21676" y="90147"/>
                    </a:lnTo>
                    <a:lnTo>
                      <a:pt x="17263" y="90129"/>
                    </a:lnTo>
                    <a:lnTo>
                      <a:pt x="4343" y="83312"/>
                    </a:lnTo>
                    <a:lnTo>
                      <a:pt x="2719" y="78776"/>
                    </a:lnTo>
                    <a:lnTo>
                      <a:pt x="1817" y="72751"/>
                    </a:lnTo>
                    <a:lnTo>
                      <a:pt x="0" y="66337"/>
                    </a:lnTo>
                    <a:lnTo>
                      <a:pt x="4719" y="63963"/>
                    </a:lnTo>
                    <a:lnTo>
                      <a:pt x="19077" y="62320"/>
                    </a:lnTo>
                    <a:lnTo>
                      <a:pt x="23886" y="60785"/>
                    </a:lnTo>
                    <a:lnTo>
                      <a:pt x="31919" y="56044"/>
                    </a:lnTo>
                    <a:lnTo>
                      <a:pt x="36721" y="55097"/>
                    </a:lnTo>
                    <a:close/>
                    <a:moveTo>
                      <a:pt x="436573" y="22667"/>
                    </a:moveTo>
                    <a:lnTo>
                      <a:pt x="441255" y="23537"/>
                    </a:lnTo>
                    <a:lnTo>
                      <a:pt x="442612" y="23783"/>
                    </a:lnTo>
                    <a:lnTo>
                      <a:pt x="442939" y="23978"/>
                    </a:lnTo>
                    <a:lnTo>
                      <a:pt x="449161" y="27811"/>
                    </a:lnTo>
                    <a:lnTo>
                      <a:pt x="464581" y="25377"/>
                    </a:lnTo>
                    <a:lnTo>
                      <a:pt x="470495" y="28928"/>
                    </a:lnTo>
                    <a:lnTo>
                      <a:pt x="471553" y="29560"/>
                    </a:lnTo>
                    <a:lnTo>
                      <a:pt x="481192" y="30393"/>
                    </a:lnTo>
                    <a:lnTo>
                      <a:pt x="481750" y="30443"/>
                    </a:lnTo>
                    <a:lnTo>
                      <a:pt x="489446" y="31255"/>
                    </a:lnTo>
                    <a:lnTo>
                      <a:pt x="497565" y="27586"/>
                    </a:lnTo>
                    <a:lnTo>
                      <a:pt x="500285" y="28798"/>
                    </a:lnTo>
                    <a:lnTo>
                      <a:pt x="500825" y="34613"/>
                    </a:lnTo>
                    <a:lnTo>
                      <a:pt x="498445" y="37475"/>
                    </a:lnTo>
                    <a:lnTo>
                      <a:pt x="498481" y="41939"/>
                    </a:lnTo>
                    <a:lnTo>
                      <a:pt x="504133" y="43527"/>
                    </a:lnTo>
                    <a:lnTo>
                      <a:pt x="505280" y="43852"/>
                    </a:lnTo>
                    <a:lnTo>
                      <a:pt x="507734" y="48494"/>
                    </a:lnTo>
                    <a:lnTo>
                      <a:pt x="512870" y="58216"/>
                    </a:lnTo>
                    <a:lnTo>
                      <a:pt x="511608" y="60525"/>
                    </a:lnTo>
                    <a:lnTo>
                      <a:pt x="509341" y="59106"/>
                    </a:lnTo>
                    <a:lnTo>
                      <a:pt x="505125" y="56489"/>
                    </a:lnTo>
                    <a:lnTo>
                      <a:pt x="484416" y="66206"/>
                    </a:lnTo>
                    <a:lnTo>
                      <a:pt x="484227" y="67003"/>
                    </a:lnTo>
                    <a:lnTo>
                      <a:pt x="484038" y="67790"/>
                    </a:lnTo>
                    <a:lnTo>
                      <a:pt x="485401" y="70045"/>
                    </a:lnTo>
                    <a:lnTo>
                      <a:pt x="491059" y="71531"/>
                    </a:lnTo>
                    <a:lnTo>
                      <a:pt x="492684" y="73593"/>
                    </a:lnTo>
                    <a:lnTo>
                      <a:pt x="493349" y="74454"/>
                    </a:lnTo>
                    <a:lnTo>
                      <a:pt x="493412" y="77377"/>
                    </a:lnTo>
                    <a:lnTo>
                      <a:pt x="487486" y="87798"/>
                    </a:lnTo>
                    <a:lnTo>
                      <a:pt x="487545" y="90890"/>
                    </a:lnTo>
                    <a:lnTo>
                      <a:pt x="490019" y="93689"/>
                    </a:lnTo>
                    <a:lnTo>
                      <a:pt x="495157" y="95517"/>
                    </a:lnTo>
                    <a:lnTo>
                      <a:pt x="489560" y="99823"/>
                    </a:lnTo>
                    <a:lnTo>
                      <a:pt x="482046" y="99549"/>
                    </a:lnTo>
                    <a:lnTo>
                      <a:pt x="477546" y="102052"/>
                    </a:lnTo>
                    <a:lnTo>
                      <a:pt x="477384" y="103176"/>
                    </a:lnTo>
                    <a:lnTo>
                      <a:pt x="476664" y="108316"/>
                    </a:lnTo>
                    <a:lnTo>
                      <a:pt x="467138" y="112164"/>
                    </a:lnTo>
                    <a:lnTo>
                      <a:pt x="460080" y="119136"/>
                    </a:lnTo>
                    <a:lnTo>
                      <a:pt x="459241" y="122318"/>
                    </a:lnTo>
                    <a:lnTo>
                      <a:pt x="458482" y="125265"/>
                    </a:lnTo>
                    <a:lnTo>
                      <a:pt x="452669" y="133641"/>
                    </a:lnTo>
                    <a:lnTo>
                      <a:pt x="453440" y="136362"/>
                    </a:lnTo>
                    <a:lnTo>
                      <a:pt x="465404" y="144183"/>
                    </a:lnTo>
                    <a:lnTo>
                      <a:pt x="465506" y="145389"/>
                    </a:lnTo>
                    <a:lnTo>
                      <a:pt x="465630" y="146854"/>
                    </a:lnTo>
                    <a:lnTo>
                      <a:pt x="463962" y="150415"/>
                    </a:lnTo>
                    <a:lnTo>
                      <a:pt x="463367" y="151688"/>
                    </a:lnTo>
                    <a:lnTo>
                      <a:pt x="463521" y="151948"/>
                    </a:lnTo>
                    <a:lnTo>
                      <a:pt x="464556" y="153627"/>
                    </a:lnTo>
                    <a:lnTo>
                      <a:pt x="475596" y="150519"/>
                    </a:lnTo>
                    <a:lnTo>
                      <a:pt x="477291" y="150057"/>
                    </a:lnTo>
                    <a:lnTo>
                      <a:pt x="480192" y="150664"/>
                    </a:lnTo>
                    <a:lnTo>
                      <a:pt x="492057" y="153168"/>
                    </a:lnTo>
                    <a:lnTo>
                      <a:pt x="487152" y="160941"/>
                    </a:lnTo>
                    <a:lnTo>
                      <a:pt x="487397" y="162289"/>
                    </a:lnTo>
                    <a:lnTo>
                      <a:pt x="487893" y="165161"/>
                    </a:lnTo>
                    <a:lnTo>
                      <a:pt x="490051" y="168320"/>
                    </a:lnTo>
                    <a:lnTo>
                      <a:pt x="490034" y="168329"/>
                    </a:lnTo>
                    <a:lnTo>
                      <a:pt x="488918" y="169425"/>
                    </a:lnTo>
                    <a:lnTo>
                      <a:pt x="486306" y="171965"/>
                    </a:lnTo>
                    <a:lnTo>
                      <a:pt x="485133" y="177415"/>
                    </a:lnTo>
                    <a:lnTo>
                      <a:pt x="485025" y="176979"/>
                    </a:lnTo>
                    <a:lnTo>
                      <a:pt x="483932" y="180681"/>
                    </a:lnTo>
                    <a:lnTo>
                      <a:pt x="484235" y="188477"/>
                    </a:lnTo>
                    <a:lnTo>
                      <a:pt x="484257" y="189090"/>
                    </a:lnTo>
                    <a:lnTo>
                      <a:pt x="484282" y="189822"/>
                    </a:lnTo>
                    <a:lnTo>
                      <a:pt x="484578" y="199801"/>
                    </a:lnTo>
                    <a:lnTo>
                      <a:pt x="487484" y="209628"/>
                    </a:lnTo>
                    <a:lnTo>
                      <a:pt x="494222" y="228014"/>
                    </a:lnTo>
                    <a:lnTo>
                      <a:pt x="498570" y="242131"/>
                    </a:lnTo>
                    <a:lnTo>
                      <a:pt x="501322" y="246187"/>
                    </a:lnTo>
                    <a:lnTo>
                      <a:pt x="501118" y="246183"/>
                    </a:lnTo>
                    <a:lnTo>
                      <a:pt x="501388" y="251757"/>
                    </a:lnTo>
                    <a:lnTo>
                      <a:pt x="500910" y="265948"/>
                    </a:lnTo>
                    <a:lnTo>
                      <a:pt x="500805" y="268572"/>
                    </a:lnTo>
                    <a:lnTo>
                      <a:pt x="500692" y="271315"/>
                    </a:lnTo>
                    <a:lnTo>
                      <a:pt x="500691" y="271375"/>
                    </a:lnTo>
                    <a:lnTo>
                      <a:pt x="500259" y="275081"/>
                    </a:lnTo>
                    <a:lnTo>
                      <a:pt x="500191" y="275791"/>
                    </a:lnTo>
                    <a:lnTo>
                      <a:pt x="500236" y="279346"/>
                    </a:lnTo>
                    <a:lnTo>
                      <a:pt x="500295" y="283040"/>
                    </a:lnTo>
                    <a:lnTo>
                      <a:pt x="500306" y="283375"/>
                    </a:lnTo>
                    <a:lnTo>
                      <a:pt x="500622" y="291103"/>
                    </a:lnTo>
                    <a:lnTo>
                      <a:pt x="501626" y="296866"/>
                    </a:lnTo>
                    <a:lnTo>
                      <a:pt x="502038" y="298287"/>
                    </a:lnTo>
                    <a:lnTo>
                      <a:pt x="493636" y="296327"/>
                    </a:lnTo>
                    <a:lnTo>
                      <a:pt x="484454" y="290208"/>
                    </a:lnTo>
                    <a:lnTo>
                      <a:pt x="473795" y="276064"/>
                    </a:lnTo>
                    <a:lnTo>
                      <a:pt x="465201" y="272575"/>
                    </a:lnTo>
                    <a:lnTo>
                      <a:pt x="461352" y="268456"/>
                    </a:lnTo>
                    <a:lnTo>
                      <a:pt x="458081" y="263306"/>
                    </a:lnTo>
                    <a:lnTo>
                      <a:pt x="455747" y="258362"/>
                    </a:lnTo>
                    <a:lnTo>
                      <a:pt x="453182" y="246880"/>
                    </a:lnTo>
                    <a:lnTo>
                      <a:pt x="453089" y="245028"/>
                    </a:lnTo>
                    <a:lnTo>
                      <a:pt x="449939" y="244156"/>
                    </a:lnTo>
                    <a:lnTo>
                      <a:pt x="448786" y="247057"/>
                    </a:lnTo>
                    <a:lnTo>
                      <a:pt x="448829" y="250883"/>
                    </a:lnTo>
                    <a:lnTo>
                      <a:pt x="450052" y="255635"/>
                    </a:lnTo>
                    <a:lnTo>
                      <a:pt x="459862" y="271273"/>
                    </a:lnTo>
                    <a:lnTo>
                      <a:pt x="462125" y="278238"/>
                    </a:lnTo>
                    <a:lnTo>
                      <a:pt x="460700" y="281289"/>
                    </a:lnTo>
                    <a:lnTo>
                      <a:pt x="456771" y="281958"/>
                    </a:lnTo>
                    <a:lnTo>
                      <a:pt x="451555" y="281761"/>
                    </a:lnTo>
                    <a:lnTo>
                      <a:pt x="446573" y="279483"/>
                    </a:lnTo>
                    <a:lnTo>
                      <a:pt x="444389" y="274041"/>
                    </a:lnTo>
                    <a:lnTo>
                      <a:pt x="443872" y="267125"/>
                    </a:lnTo>
                    <a:lnTo>
                      <a:pt x="443863" y="252554"/>
                    </a:lnTo>
                    <a:lnTo>
                      <a:pt x="444242" y="249357"/>
                    </a:lnTo>
                    <a:lnTo>
                      <a:pt x="453017" y="227562"/>
                    </a:lnTo>
                    <a:lnTo>
                      <a:pt x="468583" y="203344"/>
                    </a:lnTo>
                    <a:lnTo>
                      <a:pt x="469657" y="197890"/>
                    </a:lnTo>
                    <a:lnTo>
                      <a:pt x="468699" y="196411"/>
                    </a:lnTo>
                    <a:lnTo>
                      <a:pt x="466383" y="198061"/>
                    </a:lnTo>
                    <a:lnTo>
                      <a:pt x="463398" y="202062"/>
                    </a:lnTo>
                    <a:lnTo>
                      <a:pt x="450688" y="227438"/>
                    </a:lnTo>
                    <a:lnTo>
                      <a:pt x="447527" y="231883"/>
                    </a:lnTo>
                    <a:lnTo>
                      <a:pt x="442955" y="232022"/>
                    </a:lnTo>
                    <a:lnTo>
                      <a:pt x="441423" y="228990"/>
                    </a:lnTo>
                    <a:lnTo>
                      <a:pt x="442016" y="217276"/>
                    </a:lnTo>
                    <a:lnTo>
                      <a:pt x="441232" y="212111"/>
                    </a:lnTo>
                    <a:lnTo>
                      <a:pt x="439108" y="208148"/>
                    </a:lnTo>
                    <a:lnTo>
                      <a:pt x="436250" y="207014"/>
                    </a:lnTo>
                    <a:lnTo>
                      <a:pt x="433318" y="210450"/>
                    </a:lnTo>
                    <a:lnTo>
                      <a:pt x="435604" y="217358"/>
                    </a:lnTo>
                    <a:lnTo>
                      <a:pt x="438262" y="230883"/>
                    </a:lnTo>
                    <a:lnTo>
                      <a:pt x="439909" y="244042"/>
                    </a:lnTo>
                    <a:lnTo>
                      <a:pt x="439159" y="249967"/>
                    </a:lnTo>
                    <a:lnTo>
                      <a:pt x="436410" y="251029"/>
                    </a:lnTo>
                    <a:lnTo>
                      <a:pt x="435828" y="253909"/>
                    </a:lnTo>
                    <a:lnTo>
                      <a:pt x="436583" y="261654"/>
                    </a:lnTo>
                    <a:lnTo>
                      <a:pt x="436424" y="269115"/>
                    </a:lnTo>
                    <a:lnTo>
                      <a:pt x="436750" y="274255"/>
                    </a:lnTo>
                    <a:lnTo>
                      <a:pt x="437805" y="278648"/>
                    </a:lnTo>
                    <a:lnTo>
                      <a:pt x="434833" y="280109"/>
                    </a:lnTo>
                    <a:lnTo>
                      <a:pt x="431640" y="278921"/>
                    </a:lnTo>
                    <a:lnTo>
                      <a:pt x="428257" y="276872"/>
                    </a:lnTo>
                    <a:lnTo>
                      <a:pt x="424602" y="275751"/>
                    </a:lnTo>
                    <a:lnTo>
                      <a:pt x="424545" y="278363"/>
                    </a:lnTo>
                    <a:lnTo>
                      <a:pt x="427229" y="279728"/>
                    </a:lnTo>
                    <a:lnTo>
                      <a:pt x="429995" y="281762"/>
                    </a:lnTo>
                    <a:lnTo>
                      <a:pt x="432157" y="284794"/>
                    </a:lnTo>
                    <a:lnTo>
                      <a:pt x="433080" y="289200"/>
                    </a:lnTo>
                    <a:lnTo>
                      <a:pt x="432170" y="294686"/>
                    </a:lnTo>
                    <a:lnTo>
                      <a:pt x="429983" y="298371"/>
                    </a:lnTo>
                    <a:lnTo>
                      <a:pt x="427460" y="301396"/>
                    </a:lnTo>
                    <a:lnTo>
                      <a:pt x="425558" y="304714"/>
                    </a:lnTo>
                    <a:lnTo>
                      <a:pt x="424414" y="309168"/>
                    </a:lnTo>
                    <a:lnTo>
                      <a:pt x="423722" y="312885"/>
                    </a:lnTo>
                    <a:lnTo>
                      <a:pt x="422737" y="316395"/>
                    </a:lnTo>
                    <a:lnTo>
                      <a:pt x="420558" y="320266"/>
                    </a:lnTo>
                    <a:lnTo>
                      <a:pt x="417448" y="323571"/>
                    </a:lnTo>
                    <a:lnTo>
                      <a:pt x="414952" y="323981"/>
                    </a:lnTo>
                    <a:lnTo>
                      <a:pt x="408210" y="322335"/>
                    </a:lnTo>
                    <a:lnTo>
                      <a:pt x="404855" y="318043"/>
                    </a:lnTo>
                    <a:lnTo>
                      <a:pt x="402024" y="308210"/>
                    </a:lnTo>
                    <a:lnTo>
                      <a:pt x="400130" y="297278"/>
                    </a:lnTo>
                    <a:lnTo>
                      <a:pt x="399457" y="289657"/>
                    </a:lnTo>
                    <a:lnTo>
                      <a:pt x="391176" y="277888"/>
                    </a:lnTo>
                    <a:lnTo>
                      <a:pt x="390182" y="272997"/>
                    </a:lnTo>
                    <a:lnTo>
                      <a:pt x="388642" y="269817"/>
                    </a:lnTo>
                    <a:lnTo>
                      <a:pt x="385151" y="272468"/>
                    </a:lnTo>
                    <a:lnTo>
                      <a:pt x="388387" y="278832"/>
                    </a:lnTo>
                    <a:lnTo>
                      <a:pt x="396027" y="299826"/>
                    </a:lnTo>
                    <a:lnTo>
                      <a:pt x="397430" y="307852"/>
                    </a:lnTo>
                    <a:lnTo>
                      <a:pt x="395564" y="311510"/>
                    </a:lnTo>
                    <a:lnTo>
                      <a:pt x="391511" y="309997"/>
                    </a:lnTo>
                    <a:lnTo>
                      <a:pt x="377690" y="297978"/>
                    </a:lnTo>
                    <a:lnTo>
                      <a:pt x="375865" y="293001"/>
                    </a:lnTo>
                    <a:lnTo>
                      <a:pt x="376067" y="285027"/>
                    </a:lnTo>
                    <a:lnTo>
                      <a:pt x="373818" y="287863"/>
                    </a:lnTo>
                    <a:lnTo>
                      <a:pt x="371810" y="292852"/>
                    </a:lnTo>
                    <a:lnTo>
                      <a:pt x="370367" y="298181"/>
                    </a:lnTo>
                    <a:lnTo>
                      <a:pt x="369799" y="301946"/>
                    </a:lnTo>
                    <a:lnTo>
                      <a:pt x="368716" y="304780"/>
                    </a:lnTo>
                    <a:lnTo>
                      <a:pt x="362176" y="313881"/>
                    </a:lnTo>
                    <a:lnTo>
                      <a:pt x="367022" y="324785"/>
                    </a:lnTo>
                    <a:lnTo>
                      <a:pt x="369007" y="330731"/>
                    </a:lnTo>
                    <a:lnTo>
                      <a:pt x="370352" y="337562"/>
                    </a:lnTo>
                    <a:lnTo>
                      <a:pt x="366423" y="337478"/>
                    </a:lnTo>
                    <a:lnTo>
                      <a:pt x="357175" y="331761"/>
                    </a:lnTo>
                    <a:lnTo>
                      <a:pt x="350056" y="328928"/>
                    </a:lnTo>
                    <a:lnTo>
                      <a:pt x="347903" y="325914"/>
                    </a:lnTo>
                    <a:lnTo>
                      <a:pt x="346820" y="316319"/>
                    </a:lnTo>
                    <a:lnTo>
                      <a:pt x="345585" y="314886"/>
                    </a:lnTo>
                    <a:lnTo>
                      <a:pt x="343920" y="313907"/>
                    </a:lnTo>
                    <a:lnTo>
                      <a:pt x="342344" y="311904"/>
                    </a:lnTo>
                    <a:lnTo>
                      <a:pt x="341678" y="309180"/>
                    </a:lnTo>
                    <a:lnTo>
                      <a:pt x="341602" y="305631"/>
                    </a:lnTo>
                    <a:lnTo>
                      <a:pt x="341969" y="298627"/>
                    </a:lnTo>
                    <a:lnTo>
                      <a:pt x="342522" y="295656"/>
                    </a:lnTo>
                    <a:lnTo>
                      <a:pt x="344761" y="291485"/>
                    </a:lnTo>
                    <a:lnTo>
                      <a:pt x="345320" y="288281"/>
                    </a:lnTo>
                    <a:lnTo>
                      <a:pt x="345026" y="285006"/>
                    </a:lnTo>
                    <a:lnTo>
                      <a:pt x="342657" y="273728"/>
                    </a:lnTo>
                    <a:lnTo>
                      <a:pt x="348088" y="267840"/>
                    </a:lnTo>
                    <a:lnTo>
                      <a:pt x="372443" y="227543"/>
                    </a:lnTo>
                    <a:lnTo>
                      <a:pt x="384929" y="222631"/>
                    </a:lnTo>
                    <a:lnTo>
                      <a:pt x="394013" y="215823"/>
                    </a:lnTo>
                    <a:lnTo>
                      <a:pt x="396119" y="213634"/>
                    </a:lnTo>
                    <a:lnTo>
                      <a:pt x="404089" y="196342"/>
                    </a:lnTo>
                    <a:lnTo>
                      <a:pt x="407605" y="191386"/>
                    </a:lnTo>
                    <a:lnTo>
                      <a:pt x="414109" y="187211"/>
                    </a:lnTo>
                    <a:lnTo>
                      <a:pt x="422330" y="183804"/>
                    </a:lnTo>
                    <a:lnTo>
                      <a:pt x="429854" y="178464"/>
                    </a:lnTo>
                    <a:lnTo>
                      <a:pt x="434226" y="168481"/>
                    </a:lnTo>
                    <a:lnTo>
                      <a:pt x="430441" y="170997"/>
                    </a:lnTo>
                    <a:lnTo>
                      <a:pt x="422398" y="179606"/>
                    </a:lnTo>
                    <a:lnTo>
                      <a:pt x="418779" y="181438"/>
                    </a:lnTo>
                    <a:lnTo>
                      <a:pt x="410108" y="181940"/>
                    </a:lnTo>
                    <a:lnTo>
                      <a:pt x="406495" y="183428"/>
                    </a:lnTo>
                    <a:lnTo>
                      <a:pt x="403237" y="186306"/>
                    </a:lnTo>
                    <a:lnTo>
                      <a:pt x="400817" y="190961"/>
                    </a:lnTo>
                    <a:lnTo>
                      <a:pt x="395394" y="204222"/>
                    </a:lnTo>
                    <a:lnTo>
                      <a:pt x="393319" y="206941"/>
                    </a:lnTo>
                    <a:lnTo>
                      <a:pt x="367506" y="223683"/>
                    </a:lnTo>
                    <a:lnTo>
                      <a:pt x="349137" y="250401"/>
                    </a:lnTo>
                    <a:lnTo>
                      <a:pt x="347186" y="251546"/>
                    </a:lnTo>
                    <a:lnTo>
                      <a:pt x="343315" y="251751"/>
                    </a:lnTo>
                    <a:lnTo>
                      <a:pt x="341653" y="252809"/>
                    </a:lnTo>
                    <a:lnTo>
                      <a:pt x="341686" y="254755"/>
                    </a:lnTo>
                    <a:lnTo>
                      <a:pt x="340485" y="260150"/>
                    </a:lnTo>
                    <a:lnTo>
                      <a:pt x="339044" y="264762"/>
                    </a:lnTo>
                    <a:lnTo>
                      <a:pt x="338412" y="264371"/>
                    </a:lnTo>
                    <a:lnTo>
                      <a:pt x="336310" y="268636"/>
                    </a:lnTo>
                    <a:lnTo>
                      <a:pt x="331647" y="269936"/>
                    </a:lnTo>
                    <a:lnTo>
                      <a:pt x="326377" y="269320"/>
                    </a:lnTo>
                    <a:lnTo>
                      <a:pt x="322399" y="267946"/>
                    </a:lnTo>
                    <a:lnTo>
                      <a:pt x="322295" y="266123"/>
                    </a:lnTo>
                    <a:lnTo>
                      <a:pt x="322357" y="262811"/>
                    </a:lnTo>
                    <a:lnTo>
                      <a:pt x="321915" y="260357"/>
                    </a:lnTo>
                    <a:lnTo>
                      <a:pt x="320333" y="261245"/>
                    </a:lnTo>
                    <a:lnTo>
                      <a:pt x="319528" y="263243"/>
                    </a:lnTo>
                    <a:lnTo>
                      <a:pt x="319389" y="265619"/>
                    </a:lnTo>
                    <a:lnTo>
                      <a:pt x="319445" y="268156"/>
                    </a:lnTo>
                    <a:lnTo>
                      <a:pt x="317270" y="288656"/>
                    </a:lnTo>
                    <a:lnTo>
                      <a:pt x="318012" y="289518"/>
                    </a:lnTo>
                    <a:lnTo>
                      <a:pt x="321164" y="291321"/>
                    </a:lnTo>
                    <a:lnTo>
                      <a:pt x="322365" y="291651"/>
                    </a:lnTo>
                    <a:lnTo>
                      <a:pt x="324279" y="299312"/>
                    </a:lnTo>
                    <a:lnTo>
                      <a:pt x="325023" y="303720"/>
                    </a:lnTo>
                    <a:lnTo>
                      <a:pt x="325077" y="307315"/>
                    </a:lnTo>
                    <a:lnTo>
                      <a:pt x="325741" y="310320"/>
                    </a:lnTo>
                    <a:lnTo>
                      <a:pt x="328264" y="312958"/>
                    </a:lnTo>
                    <a:lnTo>
                      <a:pt x="328197" y="315322"/>
                    </a:lnTo>
                    <a:lnTo>
                      <a:pt x="326733" y="315280"/>
                    </a:lnTo>
                    <a:lnTo>
                      <a:pt x="326658" y="317892"/>
                    </a:lnTo>
                    <a:lnTo>
                      <a:pt x="327561" y="318352"/>
                    </a:lnTo>
                    <a:lnTo>
                      <a:pt x="329660" y="320324"/>
                    </a:lnTo>
                    <a:lnTo>
                      <a:pt x="328608" y="321120"/>
                    </a:lnTo>
                    <a:lnTo>
                      <a:pt x="327544" y="322318"/>
                    </a:lnTo>
                    <a:lnTo>
                      <a:pt x="326509" y="323082"/>
                    </a:lnTo>
                    <a:lnTo>
                      <a:pt x="338029" y="336347"/>
                    </a:lnTo>
                    <a:lnTo>
                      <a:pt x="343147" y="345603"/>
                    </a:lnTo>
                    <a:lnTo>
                      <a:pt x="344811" y="355415"/>
                    </a:lnTo>
                    <a:lnTo>
                      <a:pt x="343208" y="360645"/>
                    </a:lnTo>
                    <a:lnTo>
                      <a:pt x="340139" y="363081"/>
                    </a:lnTo>
                    <a:lnTo>
                      <a:pt x="332789" y="365257"/>
                    </a:lnTo>
                    <a:lnTo>
                      <a:pt x="329469" y="367497"/>
                    </a:lnTo>
                    <a:lnTo>
                      <a:pt x="319279" y="378407"/>
                    </a:lnTo>
                    <a:lnTo>
                      <a:pt x="316785" y="381928"/>
                    </a:lnTo>
                    <a:lnTo>
                      <a:pt x="314640" y="386082"/>
                    </a:lnTo>
                    <a:lnTo>
                      <a:pt x="312950" y="390793"/>
                    </a:lnTo>
                    <a:lnTo>
                      <a:pt x="312332" y="393948"/>
                    </a:lnTo>
                    <a:lnTo>
                      <a:pt x="311581" y="400677"/>
                    </a:lnTo>
                    <a:lnTo>
                      <a:pt x="310964" y="403786"/>
                    </a:lnTo>
                    <a:lnTo>
                      <a:pt x="306227" y="407239"/>
                    </a:lnTo>
                    <a:lnTo>
                      <a:pt x="306573" y="408883"/>
                    </a:lnTo>
                    <a:lnTo>
                      <a:pt x="307381" y="410666"/>
                    </a:lnTo>
                    <a:lnTo>
                      <a:pt x="307779" y="411765"/>
                    </a:lnTo>
                    <a:lnTo>
                      <a:pt x="307178" y="420474"/>
                    </a:lnTo>
                    <a:lnTo>
                      <a:pt x="309076" y="422864"/>
                    </a:lnTo>
                    <a:lnTo>
                      <a:pt x="311671" y="423672"/>
                    </a:lnTo>
                    <a:lnTo>
                      <a:pt x="313209" y="427574"/>
                    </a:lnTo>
                    <a:lnTo>
                      <a:pt x="311744" y="432555"/>
                    </a:lnTo>
                    <a:lnTo>
                      <a:pt x="308283" y="433947"/>
                    </a:lnTo>
                    <a:lnTo>
                      <a:pt x="305661" y="436095"/>
                    </a:lnTo>
                    <a:lnTo>
                      <a:pt x="306846" y="443317"/>
                    </a:lnTo>
                    <a:lnTo>
                      <a:pt x="301985" y="452257"/>
                    </a:lnTo>
                    <a:lnTo>
                      <a:pt x="300554" y="455932"/>
                    </a:lnTo>
                    <a:lnTo>
                      <a:pt x="300282" y="457963"/>
                    </a:lnTo>
                    <a:lnTo>
                      <a:pt x="300277" y="465180"/>
                    </a:lnTo>
                    <a:lnTo>
                      <a:pt x="299894" y="468279"/>
                    </a:lnTo>
                    <a:lnTo>
                      <a:pt x="299174" y="468477"/>
                    </a:lnTo>
                    <a:lnTo>
                      <a:pt x="298212" y="467949"/>
                    </a:lnTo>
                    <a:lnTo>
                      <a:pt x="297214" y="468885"/>
                    </a:lnTo>
                    <a:lnTo>
                      <a:pt x="292007" y="481529"/>
                    </a:lnTo>
                    <a:lnTo>
                      <a:pt x="288384" y="486631"/>
                    </a:lnTo>
                    <a:lnTo>
                      <a:pt x="283280" y="489569"/>
                    </a:lnTo>
                    <a:lnTo>
                      <a:pt x="283206" y="491946"/>
                    </a:lnTo>
                    <a:lnTo>
                      <a:pt x="285927" y="491610"/>
                    </a:lnTo>
                    <a:lnTo>
                      <a:pt x="288077" y="492610"/>
                    </a:lnTo>
                    <a:lnTo>
                      <a:pt x="289964" y="494706"/>
                    </a:lnTo>
                    <a:lnTo>
                      <a:pt x="291913" y="497674"/>
                    </a:lnTo>
                    <a:lnTo>
                      <a:pt x="295173" y="506406"/>
                    </a:lnTo>
                    <a:lnTo>
                      <a:pt x="295294" y="507966"/>
                    </a:lnTo>
                    <a:lnTo>
                      <a:pt x="297761" y="510560"/>
                    </a:lnTo>
                    <a:lnTo>
                      <a:pt x="295398" y="516245"/>
                    </a:lnTo>
                    <a:lnTo>
                      <a:pt x="287939" y="526254"/>
                    </a:lnTo>
                    <a:lnTo>
                      <a:pt x="284260" y="529907"/>
                    </a:lnTo>
                    <a:lnTo>
                      <a:pt x="279867" y="533162"/>
                    </a:lnTo>
                    <a:lnTo>
                      <a:pt x="274968" y="535514"/>
                    </a:lnTo>
                    <a:lnTo>
                      <a:pt x="269788" y="536377"/>
                    </a:lnTo>
                    <a:lnTo>
                      <a:pt x="267724" y="535830"/>
                    </a:lnTo>
                    <a:lnTo>
                      <a:pt x="263540" y="533517"/>
                    </a:lnTo>
                    <a:lnTo>
                      <a:pt x="260981" y="533248"/>
                    </a:lnTo>
                    <a:lnTo>
                      <a:pt x="258665" y="534232"/>
                    </a:lnTo>
                    <a:lnTo>
                      <a:pt x="253629" y="537676"/>
                    </a:lnTo>
                    <a:lnTo>
                      <a:pt x="251091" y="538386"/>
                    </a:lnTo>
                    <a:lnTo>
                      <a:pt x="244796" y="538070"/>
                    </a:lnTo>
                    <a:lnTo>
                      <a:pt x="240989" y="536448"/>
                    </a:lnTo>
                    <a:lnTo>
                      <a:pt x="238848" y="531677"/>
                    </a:lnTo>
                    <a:lnTo>
                      <a:pt x="236840" y="515226"/>
                    </a:lnTo>
                    <a:lnTo>
                      <a:pt x="236693" y="506539"/>
                    </a:lnTo>
                    <a:lnTo>
                      <a:pt x="238094" y="499119"/>
                    </a:lnTo>
                    <a:lnTo>
                      <a:pt x="244337" y="494195"/>
                    </a:lnTo>
                    <a:lnTo>
                      <a:pt x="252898" y="484724"/>
                    </a:lnTo>
                    <a:lnTo>
                      <a:pt x="255143" y="480847"/>
                    </a:lnTo>
                    <a:lnTo>
                      <a:pt x="255495" y="472831"/>
                    </a:lnTo>
                    <a:lnTo>
                      <a:pt x="254723" y="464155"/>
                    </a:lnTo>
                    <a:lnTo>
                      <a:pt x="254617" y="455610"/>
                    </a:lnTo>
                    <a:lnTo>
                      <a:pt x="258049" y="444444"/>
                    </a:lnTo>
                    <a:lnTo>
                      <a:pt x="257209" y="441600"/>
                    </a:lnTo>
                    <a:lnTo>
                      <a:pt x="255825" y="439034"/>
                    </a:lnTo>
                    <a:lnTo>
                      <a:pt x="255275" y="436232"/>
                    </a:lnTo>
                    <a:lnTo>
                      <a:pt x="256215" y="431999"/>
                    </a:lnTo>
                    <a:lnTo>
                      <a:pt x="261690" y="420790"/>
                    </a:lnTo>
                    <a:lnTo>
                      <a:pt x="266688" y="407543"/>
                    </a:lnTo>
                    <a:lnTo>
                      <a:pt x="267778" y="399892"/>
                    </a:lnTo>
                    <a:lnTo>
                      <a:pt x="265476" y="394559"/>
                    </a:lnTo>
                    <a:lnTo>
                      <a:pt x="277500" y="384940"/>
                    </a:lnTo>
                    <a:lnTo>
                      <a:pt x="279161" y="380652"/>
                    </a:lnTo>
                    <a:lnTo>
                      <a:pt x="280675" y="375426"/>
                    </a:lnTo>
                    <a:lnTo>
                      <a:pt x="284084" y="368952"/>
                    </a:lnTo>
                    <a:lnTo>
                      <a:pt x="287931" y="363471"/>
                    </a:lnTo>
                    <a:lnTo>
                      <a:pt x="290873" y="361182"/>
                    </a:lnTo>
                    <a:lnTo>
                      <a:pt x="297119" y="358665"/>
                    </a:lnTo>
                    <a:lnTo>
                      <a:pt x="304752" y="351848"/>
                    </a:lnTo>
                    <a:lnTo>
                      <a:pt x="311732" y="342006"/>
                    </a:lnTo>
                    <a:lnTo>
                      <a:pt x="316042" y="330620"/>
                    </a:lnTo>
                    <a:lnTo>
                      <a:pt x="294566" y="353734"/>
                    </a:lnTo>
                    <a:lnTo>
                      <a:pt x="286698" y="359792"/>
                    </a:lnTo>
                    <a:lnTo>
                      <a:pt x="284093" y="360832"/>
                    </a:lnTo>
                    <a:lnTo>
                      <a:pt x="281256" y="360883"/>
                    </a:lnTo>
                    <a:lnTo>
                      <a:pt x="282880" y="355972"/>
                    </a:lnTo>
                    <a:lnTo>
                      <a:pt x="277061" y="353517"/>
                    </a:lnTo>
                    <a:lnTo>
                      <a:pt x="274218" y="351622"/>
                    </a:lnTo>
                    <a:lnTo>
                      <a:pt x="271403" y="347768"/>
                    </a:lnTo>
                    <a:lnTo>
                      <a:pt x="269947" y="342494"/>
                    </a:lnTo>
                    <a:lnTo>
                      <a:pt x="270051" y="332245"/>
                    </a:lnTo>
                    <a:lnTo>
                      <a:pt x="269068" y="329179"/>
                    </a:lnTo>
                    <a:lnTo>
                      <a:pt x="278526" y="315713"/>
                    </a:lnTo>
                    <a:lnTo>
                      <a:pt x="279993" y="312679"/>
                    </a:lnTo>
                    <a:lnTo>
                      <a:pt x="281487" y="307639"/>
                    </a:lnTo>
                    <a:lnTo>
                      <a:pt x="284827" y="303731"/>
                    </a:lnTo>
                    <a:lnTo>
                      <a:pt x="288809" y="300153"/>
                    </a:lnTo>
                    <a:lnTo>
                      <a:pt x="292207" y="295979"/>
                    </a:lnTo>
                    <a:lnTo>
                      <a:pt x="287324" y="298334"/>
                    </a:lnTo>
                    <a:lnTo>
                      <a:pt x="279753" y="306745"/>
                    </a:lnTo>
                    <a:lnTo>
                      <a:pt x="274048" y="309520"/>
                    </a:lnTo>
                    <a:lnTo>
                      <a:pt x="270083" y="313484"/>
                    </a:lnTo>
                    <a:lnTo>
                      <a:pt x="268110" y="313499"/>
                    </a:lnTo>
                    <a:lnTo>
                      <a:pt x="266677" y="310900"/>
                    </a:lnTo>
                    <a:lnTo>
                      <a:pt x="265498" y="306427"/>
                    </a:lnTo>
                    <a:lnTo>
                      <a:pt x="265156" y="302216"/>
                    </a:lnTo>
                    <a:lnTo>
                      <a:pt x="289753" y="266269"/>
                    </a:lnTo>
                    <a:lnTo>
                      <a:pt x="291691" y="261569"/>
                    </a:lnTo>
                    <a:lnTo>
                      <a:pt x="290841" y="259832"/>
                    </a:lnTo>
                    <a:lnTo>
                      <a:pt x="292169" y="258503"/>
                    </a:lnTo>
                    <a:lnTo>
                      <a:pt x="293426" y="256629"/>
                    </a:lnTo>
                    <a:lnTo>
                      <a:pt x="290720" y="255332"/>
                    </a:lnTo>
                    <a:lnTo>
                      <a:pt x="288000" y="256741"/>
                    </a:lnTo>
                    <a:lnTo>
                      <a:pt x="285053" y="259247"/>
                    </a:lnTo>
                    <a:lnTo>
                      <a:pt x="281625" y="261254"/>
                    </a:lnTo>
                    <a:lnTo>
                      <a:pt x="280097" y="268300"/>
                    </a:lnTo>
                    <a:lnTo>
                      <a:pt x="270528" y="278775"/>
                    </a:lnTo>
                    <a:lnTo>
                      <a:pt x="270428" y="287219"/>
                    </a:lnTo>
                    <a:lnTo>
                      <a:pt x="266628" y="293972"/>
                    </a:lnTo>
                    <a:lnTo>
                      <a:pt x="265797" y="295143"/>
                    </a:lnTo>
                    <a:lnTo>
                      <a:pt x="263684" y="294219"/>
                    </a:lnTo>
                    <a:lnTo>
                      <a:pt x="263113" y="291975"/>
                    </a:lnTo>
                    <a:lnTo>
                      <a:pt x="263550" y="289282"/>
                    </a:lnTo>
                    <a:lnTo>
                      <a:pt x="264461" y="287025"/>
                    </a:lnTo>
                    <a:lnTo>
                      <a:pt x="265976" y="276932"/>
                    </a:lnTo>
                    <a:lnTo>
                      <a:pt x="274289" y="261488"/>
                    </a:lnTo>
                    <a:lnTo>
                      <a:pt x="291087" y="238542"/>
                    </a:lnTo>
                    <a:lnTo>
                      <a:pt x="291789" y="237180"/>
                    </a:lnTo>
                    <a:lnTo>
                      <a:pt x="292157" y="235418"/>
                    </a:lnTo>
                    <a:lnTo>
                      <a:pt x="292760" y="233881"/>
                    </a:lnTo>
                    <a:lnTo>
                      <a:pt x="294154" y="233146"/>
                    </a:lnTo>
                    <a:lnTo>
                      <a:pt x="295512" y="233546"/>
                    </a:lnTo>
                    <a:lnTo>
                      <a:pt x="297203" y="234437"/>
                    </a:lnTo>
                    <a:lnTo>
                      <a:pt x="298423" y="235393"/>
                    </a:lnTo>
                    <a:lnTo>
                      <a:pt x="298442" y="235891"/>
                    </a:lnTo>
                    <a:lnTo>
                      <a:pt x="298989" y="236732"/>
                    </a:lnTo>
                    <a:lnTo>
                      <a:pt x="300738" y="237998"/>
                    </a:lnTo>
                    <a:lnTo>
                      <a:pt x="302406" y="238251"/>
                    </a:lnTo>
                    <a:lnTo>
                      <a:pt x="302795" y="236023"/>
                    </a:lnTo>
                    <a:lnTo>
                      <a:pt x="301880" y="233569"/>
                    </a:lnTo>
                    <a:lnTo>
                      <a:pt x="300504" y="232018"/>
                    </a:lnTo>
                    <a:lnTo>
                      <a:pt x="299232" y="231062"/>
                    </a:lnTo>
                    <a:lnTo>
                      <a:pt x="298609" y="230452"/>
                    </a:lnTo>
                    <a:lnTo>
                      <a:pt x="297426" y="224380"/>
                    </a:lnTo>
                    <a:lnTo>
                      <a:pt x="297154" y="221089"/>
                    </a:lnTo>
                    <a:lnTo>
                      <a:pt x="298089" y="218597"/>
                    </a:lnTo>
                    <a:lnTo>
                      <a:pt x="305259" y="207973"/>
                    </a:lnTo>
                    <a:lnTo>
                      <a:pt x="306807" y="204597"/>
                    </a:lnTo>
                    <a:lnTo>
                      <a:pt x="308262" y="199414"/>
                    </a:lnTo>
                    <a:lnTo>
                      <a:pt x="301770" y="201116"/>
                    </a:lnTo>
                    <a:lnTo>
                      <a:pt x="296786" y="206891"/>
                    </a:lnTo>
                    <a:lnTo>
                      <a:pt x="292289" y="213379"/>
                    </a:lnTo>
                    <a:lnTo>
                      <a:pt x="287244" y="217282"/>
                    </a:lnTo>
                    <a:lnTo>
                      <a:pt x="288859" y="209445"/>
                    </a:lnTo>
                    <a:lnTo>
                      <a:pt x="291857" y="201684"/>
                    </a:lnTo>
                    <a:lnTo>
                      <a:pt x="295699" y="194490"/>
                    </a:lnTo>
                    <a:lnTo>
                      <a:pt x="299898" y="188491"/>
                    </a:lnTo>
                    <a:lnTo>
                      <a:pt x="298162" y="183366"/>
                    </a:lnTo>
                    <a:lnTo>
                      <a:pt x="300878" y="179389"/>
                    </a:lnTo>
                    <a:lnTo>
                      <a:pt x="305546" y="176823"/>
                    </a:lnTo>
                    <a:lnTo>
                      <a:pt x="309704" y="175968"/>
                    </a:lnTo>
                    <a:lnTo>
                      <a:pt x="312168" y="174782"/>
                    </a:lnTo>
                    <a:lnTo>
                      <a:pt x="312656" y="172012"/>
                    </a:lnTo>
                    <a:lnTo>
                      <a:pt x="311376" y="169205"/>
                    </a:lnTo>
                    <a:lnTo>
                      <a:pt x="308566" y="167861"/>
                    </a:lnTo>
                    <a:lnTo>
                      <a:pt x="299659" y="170438"/>
                    </a:lnTo>
                    <a:lnTo>
                      <a:pt x="297740" y="171593"/>
                    </a:lnTo>
                    <a:lnTo>
                      <a:pt x="295652" y="174002"/>
                    </a:lnTo>
                    <a:lnTo>
                      <a:pt x="293528" y="175882"/>
                    </a:lnTo>
                    <a:lnTo>
                      <a:pt x="291459" y="175412"/>
                    </a:lnTo>
                    <a:lnTo>
                      <a:pt x="290313" y="172016"/>
                    </a:lnTo>
                    <a:lnTo>
                      <a:pt x="290975" y="167713"/>
                    </a:lnTo>
                    <a:lnTo>
                      <a:pt x="293545" y="159828"/>
                    </a:lnTo>
                    <a:lnTo>
                      <a:pt x="296541" y="145656"/>
                    </a:lnTo>
                    <a:lnTo>
                      <a:pt x="298780" y="140763"/>
                    </a:lnTo>
                    <a:lnTo>
                      <a:pt x="302949" y="136378"/>
                    </a:lnTo>
                    <a:lnTo>
                      <a:pt x="306787" y="138875"/>
                    </a:lnTo>
                    <a:lnTo>
                      <a:pt x="312525" y="138393"/>
                    </a:lnTo>
                    <a:lnTo>
                      <a:pt x="323254" y="134369"/>
                    </a:lnTo>
                    <a:lnTo>
                      <a:pt x="323323" y="131991"/>
                    </a:lnTo>
                    <a:lnTo>
                      <a:pt x="318225" y="132216"/>
                    </a:lnTo>
                    <a:lnTo>
                      <a:pt x="308989" y="135037"/>
                    </a:lnTo>
                    <a:lnTo>
                      <a:pt x="304338" y="133807"/>
                    </a:lnTo>
                    <a:lnTo>
                      <a:pt x="308991" y="121301"/>
                    </a:lnTo>
                    <a:lnTo>
                      <a:pt x="310708" y="118352"/>
                    </a:lnTo>
                    <a:lnTo>
                      <a:pt x="313017" y="116849"/>
                    </a:lnTo>
                    <a:lnTo>
                      <a:pt x="315773" y="115640"/>
                    </a:lnTo>
                    <a:lnTo>
                      <a:pt x="317530" y="113856"/>
                    </a:lnTo>
                    <a:lnTo>
                      <a:pt x="316721" y="110691"/>
                    </a:lnTo>
                    <a:lnTo>
                      <a:pt x="322281" y="103309"/>
                    </a:lnTo>
                    <a:lnTo>
                      <a:pt x="329445" y="100017"/>
                    </a:lnTo>
                    <a:lnTo>
                      <a:pt x="350757" y="98716"/>
                    </a:lnTo>
                    <a:lnTo>
                      <a:pt x="367686" y="104051"/>
                    </a:lnTo>
                    <a:lnTo>
                      <a:pt x="374769" y="102461"/>
                    </a:lnTo>
                    <a:lnTo>
                      <a:pt x="380564" y="97710"/>
                    </a:lnTo>
                    <a:lnTo>
                      <a:pt x="394387" y="79669"/>
                    </a:lnTo>
                    <a:lnTo>
                      <a:pt x="401687" y="64169"/>
                    </a:lnTo>
                    <a:lnTo>
                      <a:pt x="406283" y="58026"/>
                    </a:lnTo>
                    <a:lnTo>
                      <a:pt x="401597" y="60450"/>
                    </a:lnTo>
                    <a:lnTo>
                      <a:pt x="398709" y="66057"/>
                    </a:lnTo>
                    <a:lnTo>
                      <a:pt x="396229" y="72794"/>
                    </a:lnTo>
                    <a:lnTo>
                      <a:pt x="392843" y="78591"/>
                    </a:lnTo>
                    <a:lnTo>
                      <a:pt x="384018" y="86179"/>
                    </a:lnTo>
                    <a:lnTo>
                      <a:pt x="378900" y="94231"/>
                    </a:lnTo>
                    <a:lnTo>
                      <a:pt x="376534" y="96674"/>
                    </a:lnTo>
                    <a:lnTo>
                      <a:pt x="367496" y="97546"/>
                    </a:lnTo>
                    <a:lnTo>
                      <a:pt x="345185" y="91688"/>
                    </a:lnTo>
                    <a:lnTo>
                      <a:pt x="339145" y="96871"/>
                    </a:lnTo>
                    <a:lnTo>
                      <a:pt x="335798" y="94288"/>
                    </a:lnTo>
                    <a:lnTo>
                      <a:pt x="332783" y="79613"/>
                    </a:lnTo>
                    <a:lnTo>
                      <a:pt x="329878" y="80897"/>
                    </a:lnTo>
                    <a:lnTo>
                      <a:pt x="327291" y="84229"/>
                    </a:lnTo>
                    <a:lnTo>
                      <a:pt x="323033" y="92365"/>
                    </a:lnTo>
                    <a:lnTo>
                      <a:pt x="320227" y="89919"/>
                    </a:lnTo>
                    <a:lnTo>
                      <a:pt x="328202" y="71843"/>
                    </a:lnTo>
                    <a:lnTo>
                      <a:pt x="329559" y="66455"/>
                    </a:lnTo>
                    <a:lnTo>
                      <a:pt x="334436" y="71648"/>
                    </a:lnTo>
                    <a:lnTo>
                      <a:pt x="339547" y="73862"/>
                    </a:lnTo>
                    <a:lnTo>
                      <a:pt x="344311" y="73808"/>
                    </a:lnTo>
                    <a:lnTo>
                      <a:pt x="348234" y="72206"/>
                    </a:lnTo>
                    <a:lnTo>
                      <a:pt x="358511" y="64647"/>
                    </a:lnTo>
                    <a:lnTo>
                      <a:pt x="363942" y="62286"/>
                    </a:lnTo>
                    <a:lnTo>
                      <a:pt x="366625" y="60397"/>
                    </a:lnTo>
                    <a:lnTo>
                      <a:pt x="368923" y="57098"/>
                    </a:lnTo>
                    <a:lnTo>
                      <a:pt x="361739" y="61310"/>
                    </a:lnTo>
                    <a:lnTo>
                      <a:pt x="359376" y="61838"/>
                    </a:lnTo>
                    <a:lnTo>
                      <a:pt x="355169" y="61445"/>
                    </a:lnTo>
                    <a:lnTo>
                      <a:pt x="354287" y="61701"/>
                    </a:lnTo>
                    <a:lnTo>
                      <a:pt x="350680" y="64434"/>
                    </a:lnTo>
                    <a:lnTo>
                      <a:pt x="348341" y="65271"/>
                    </a:lnTo>
                    <a:lnTo>
                      <a:pt x="343674" y="69001"/>
                    </a:lnTo>
                    <a:lnTo>
                      <a:pt x="341108" y="69643"/>
                    </a:lnTo>
                    <a:lnTo>
                      <a:pt x="338630" y="68393"/>
                    </a:lnTo>
                    <a:lnTo>
                      <a:pt x="335339" y="64395"/>
                    </a:lnTo>
                    <a:lnTo>
                      <a:pt x="332523" y="63926"/>
                    </a:lnTo>
                    <a:lnTo>
                      <a:pt x="333247" y="61115"/>
                    </a:lnTo>
                    <a:lnTo>
                      <a:pt x="334037" y="59894"/>
                    </a:lnTo>
                    <a:lnTo>
                      <a:pt x="335028" y="59113"/>
                    </a:lnTo>
                    <a:lnTo>
                      <a:pt x="336350" y="57517"/>
                    </a:lnTo>
                    <a:lnTo>
                      <a:pt x="337233" y="55723"/>
                    </a:lnTo>
                    <a:lnTo>
                      <a:pt x="338036" y="52526"/>
                    </a:lnTo>
                    <a:lnTo>
                      <a:pt x="338643" y="51050"/>
                    </a:lnTo>
                    <a:lnTo>
                      <a:pt x="344391" y="40712"/>
                    </a:lnTo>
                    <a:lnTo>
                      <a:pt x="346310" y="38215"/>
                    </a:lnTo>
                    <a:lnTo>
                      <a:pt x="355157" y="30556"/>
                    </a:lnTo>
                    <a:lnTo>
                      <a:pt x="356558" y="28091"/>
                    </a:lnTo>
                    <a:lnTo>
                      <a:pt x="356559" y="28091"/>
                    </a:lnTo>
                    <a:lnTo>
                      <a:pt x="356561" y="28091"/>
                    </a:lnTo>
                    <a:lnTo>
                      <a:pt x="357666" y="28179"/>
                    </a:lnTo>
                    <a:lnTo>
                      <a:pt x="358180" y="28274"/>
                    </a:lnTo>
                    <a:lnTo>
                      <a:pt x="384891" y="32384"/>
                    </a:lnTo>
                    <a:lnTo>
                      <a:pt x="389895" y="38020"/>
                    </a:lnTo>
                    <a:lnTo>
                      <a:pt x="404426" y="41887"/>
                    </a:lnTo>
                    <a:lnTo>
                      <a:pt x="407485" y="37832"/>
                    </a:lnTo>
                    <a:lnTo>
                      <a:pt x="412264" y="35889"/>
                    </a:lnTo>
                    <a:lnTo>
                      <a:pt x="416323" y="29307"/>
                    </a:lnTo>
                    <a:lnTo>
                      <a:pt x="426687" y="28258"/>
                    </a:lnTo>
                    <a:close/>
                    <a:moveTo>
                      <a:pt x="185697" y="17229"/>
                    </a:moveTo>
                    <a:lnTo>
                      <a:pt x="188495" y="19392"/>
                    </a:lnTo>
                    <a:lnTo>
                      <a:pt x="198257" y="22939"/>
                    </a:lnTo>
                    <a:lnTo>
                      <a:pt x="197841" y="24650"/>
                    </a:lnTo>
                    <a:lnTo>
                      <a:pt x="197110" y="28777"/>
                    </a:lnTo>
                    <a:lnTo>
                      <a:pt x="196668" y="30472"/>
                    </a:lnTo>
                    <a:lnTo>
                      <a:pt x="203143" y="31291"/>
                    </a:lnTo>
                    <a:lnTo>
                      <a:pt x="208053" y="39176"/>
                    </a:lnTo>
                    <a:lnTo>
                      <a:pt x="215810" y="60125"/>
                    </a:lnTo>
                    <a:lnTo>
                      <a:pt x="216355" y="62820"/>
                    </a:lnTo>
                    <a:lnTo>
                      <a:pt x="216270" y="65338"/>
                    </a:lnTo>
                    <a:lnTo>
                      <a:pt x="216749" y="67254"/>
                    </a:lnTo>
                    <a:lnTo>
                      <a:pt x="218916" y="68080"/>
                    </a:lnTo>
                    <a:lnTo>
                      <a:pt x="239966" y="68830"/>
                    </a:lnTo>
                    <a:lnTo>
                      <a:pt x="241615" y="70255"/>
                    </a:lnTo>
                    <a:lnTo>
                      <a:pt x="243061" y="72578"/>
                    </a:lnTo>
                    <a:lnTo>
                      <a:pt x="244580" y="74092"/>
                    </a:lnTo>
                    <a:lnTo>
                      <a:pt x="247907" y="71966"/>
                    </a:lnTo>
                    <a:lnTo>
                      <a:pt x="249996" y="71617"/>
                    </a:lnTo>
                    <a:lnTo>
                      <a:pt x="252056" y="72108"/>
                    </a:lnTo>
                    <a:lnTo>
                      <a:pt x="253491" y="73324"/>
                    </a:lnTo>
                    <a:lnTo>
                      <a:pt x="257904" y="80893"/>
                    </a:lnTo>
                    <a:lnTo>
                      <a:pt x="259651" y="82539"/>
                    </a:lnTo>
                    <a:lnTo>
                      <a:pt x="261681" y="83229"/>
                    </a:lnTo>
                    <a:lnTo>
                      <a:pt x="265607" y="82690"/>
                    </a:lnTo>
                    <a:lnTo>
                      <a:pt x="266995" y="82783"/>
                    </a:lnTo>
                    <a:lnTo>
                      <a:pt x="269349" y="84853"/>
                    </a:lnTo>
                    <a:lnTo>
                      <a:pt x="272099" y="88457"/>
                    </a:lnTo>
                    <a:lnTo>
                      <a:pt x="274323" y="92963"/>
                    </a:lnTo>
                    <a:lnTo>
                      <a:pt x="275149" y="97657"/>
                    </a:lnTo>
                    <a:lnTo>
                      <a:pt x="276694" y="98533"/>
                    </a:lnTo>
                    <a:lnTo>
                      <a:pt x="279803" y="97854"/>
                    </a:lnTo>
                    <a:lnTo>
                      <a:pt x="281952" y="99448"/>
                    </a:lnTo>
                    <a:lnTo>
                      <a:pt x="280626" y="106966"/>
                    </a:lnTo>
                    <a:lnTo>
                      <a:pt x="278915" y="105604"/>
                    </a:lnTo>
                    <a:lnTo>
                      <a:pt x="277209" y="104896"/>
                    </a:lnTo>
                    <a:lnTo>
                      <a:pt x="273372" y="104119"/>
                    </a:lnTo>
                    <a:lnTo>
                      <a:pt x="275134" y="106789"/>
                    </a:lnTo>
                    <a:lnTo>
                      <a:pt x="278045" y="112265"/>
                    </a:lnTo>
                    <a:lnTo>
                      <a:pt x="279422" y="117583"/>
                    </a:lnTo>
                    <a:lnTo>
                      <a:pt x="276661" y="119906"/>
                    </a:lnTo>
                    <a:lnTo>
                      <a:pt x="269740" y="119836"/>
                    </a:lnTo>
                    <a:lnTo>
                      <a:pt x="266746" y="118213"/>
                    </a:lnTo>
                    <a:lnTo>
                      <a:pt x="267260" y="114123"/>
                    </a:lnTo>
                    <a:lnTo>
                      <a:pt x="266041" y="112466"/>
                    </a:lnTo>
                    <a:lnTo>
                      <a:pt x="264751" y="111677"/>
                    </a:lnTo>
                    <a:lnTo>
                      <a:pt x="263322" y="111442"/>
                    </a:lnTo>
                    <a:lnTo>
                      <a:pt x="261699" y="111575"/>
                    </a:lnTo>
                    <a:lnTo>
                      <a:pt x="262220" y="116601"/>
                    </a:lnTo>
                    <a:lnTo>
                      <a:pt x="259531" y="121024"/>
                    </a:lnTo>
                    <a:lnTo>
                      <a:pt x="252380" y="126912"/>
                    </a:lnTo>
                    <a:lnTo>
                      <a:pt x="252283" y="129755"/>
                    </a:lnTo>
                    <a:lnTo>
                      <a:pt x="255745" y="127259"/>
                    </a:lnTo>
                    <a:lnTo>
                      <a:pt x="259605" y="125708"/>
                    </a:lnTo>
                    <a:lnTo>
                      <a:pt x="267629" y="124807"/>
                    </a:lnTo>
                    <a:lnTo>
                      <a:pt x="271011" y="126738"/>
                    </a:lnTo>
                    <a:lnTo>
                      <a:pt x="269446" y="130841"/>
                    </a:lnTo>
                    <a:lnTo>
                      <a:pt x="265647" y="135228"/>
                    </a:lnTo>
                    <a:lnTo>
                      <a:pt x="246421" y="147525"/>
                    </a:lnTo>
                    <a:lnTo>
                      <a:pt x="237983" y="149256"/>
                    </a:lnTo>
                    <a:lnTo>
                      <a:pt x="231389" y="144451"/>
                    </a:lnTo>
                    <a:lnTo>
                      <a:pt x="232790" y="143364"/>
                    </a:lnTo>
                    <a:lnTo>
                      <a:pt x="235205" y="140929"/>
                    </a:lnTo>
                    <a:lnTo>
                      <a:pt x="237266" y="137734"/>
                    </a:lnTo>
                    <a:lnTo>
                      <a:pt x="237665" y="134247"/>
                    </a:lnTo>
                    <a:lnTo>
                      <a:pt x="236000" y="132089"/>
                    </a:lnTo>
                    <a:lnTo>
                      <a:pt x="233400" y="132230"/>
                    </a:lnTo>
                    <a:lnTo>
                      <a:pt x="228143" y="133912"/>
                    </a:lnTo>
                    <a:lnTo>
                      <a:pt x="227014" y="135085"/>
                    </a:lnTo>
                    <a:lnTo>
                      <a:pt x="225763" y="137748"/>
                    </a:lnTo>
                    <a:lnTo>
                      <a:pt x="224185" y="140398"/>
                    </a:lnTo>
                    <a:lnTo>
                      <a:pt x="222151" y="141539"/>
                    </a:lnTo>
                    <a:lnTo>
                      <a:pt x="214959" y="142913"/>
                    </a:lnTo>
                    <a:lnTo>
                      <a:pt x="197779" y="151007"/>
                    </a:lnTo>
                    <a:lnTo>
                      <a:pt x="194003" y="154973"/>
                    </a:lnTo>
                    <a:lnTo>
                      <a:pt x="191503" y="156901"/>
                    </a:lnTo>
                    <a:lnTo>
                      <a:pt x="188874" y="156085"/>
                    </a:lnTo>
                    <a:lnTo>
                      <a:pt x="186313" y="154214"/>
                    </a:lnTo>
                    <a:lnTo>
                      <a:pt x="183928" y="153157"/>
                    </a:lnTo>
                    <a:lnTo>
                      <a:pt x="181742" y="153851"/>
                    </a:lnTo>
                    <a:lnTo>
                      <a:pt x="176569" y="157198"/>
                    </a:lnTo>
                    <a:lnTo>
                      <a:pt x="174264" y="158261"/>
                    </a:lnTo>
                    <a:lnTo>
                      <a:pt x="154585" y="157478"/>
                    </a:lnTo>
                    <a:lnTo>
                      <a:pt x="153277" y="158639"/>
                    </a:lnTo>
                    <a:lnTo>
                      <a:pt x="152193" y="161270"/>
                    </a:lnTo>
                    <a:lnTo>
                      <a:pt x="150789" y="163921"/>
                    </a:lnTo>
                    <a:lnTo>
                      <a:pt x="148539" y="165043"/>
                    </a:lnTo>
                    <a:lnTo>
                      <a:pt x="145908" y="164702"/>
                    </a:lnTo>
                    <a:lnTo>
                      <a:pt x="141571" y="163030"/>
                    </a:lnTo>
                    <a:lnTo>
                      <a:pt x="135896" y="159262"/>
                    </a:lnTo>
                    <a:lnTo>
                      <a:pt x="132237" y="154877"/>
                    </a:lnTo>
                    <a:lnTo>
                      <a:pt x="129399" y="148905"/>
                    </a:lnTo>
                    <a:lnTo>
                      <a:pt x="128442" y="141768"/>
                    </a:lnTo>
                    <a:lnTo>
                      <a:pt x="130601" y="136443"/>
                    </a:lnTo>
                    <a:lnTo>
                      <a:pt x="135297" y="133496"/>
                    </a:lnTo>
                    <a:lnTo>
                      <a:pt x="140662" y="132646"/>
                    </a:lnTo>
                    <a:lnTo>
                      <a:pt x="144841" y="133565"/>
                    </a:lnTo>
                    <a:lnTo>
                      <a:pt x="148032" y="137727"/>
                    </a:lnTo>
                    <a:lnTo>
                      <a:pt x="150620" y="143405"/>
                    </a:lnTo>
                    <a:lnTo>
                      <a:pt x="153449" y="146818"/>
                    </a:lnTo>
                    <a:lnTo>
                      <a:pt x="157436" y="144272"/>
                    </a:lnTo>
                    <a:lnTo>
                      <a:pt x="157542" y="141662"/>
                    </a:lnTo>
                    <a:lnTo>
                      <a:pt x="155887" y="141205"/>
                    </a:lnTo>
                    <a:lnTo>
                      <a:pt x="155000" y="140532"/>
                    </a:lnTo>
                    <a:lnTo>
                      <a:pt x="154308" y="139741"/>
                    </a:lnTo>
                    <a:lnTo>
                      <a:pt x="153186" y="138902"/>
                    </a:lnTo>
                    <a:lnTo>
                      <a:pt x="157115" y="137319"/>
                    </a:lnTo>
                    <a:lnTo>
                      <a:pt x="166579" y="139859"/>
                    </a:lnTo>
                    <a:lnTo>
                      <a:pt x="169980" y="138267"/>
                    </a:lnTo>
                    <a:lnTo>
                      <a:pt x="173708" y="134959"/>
                    </a:lnTo>
                    <a:lnTo>
                      <a:pt x="188421" y="132447"/>
                    </a:lnTo>
                    <a:lnTo>
                      <a:pt x="198213" y="125863"/>
                    </a:lnTo>
                    <a:lnTo>
                      <a:pt x="202407" y="121819"/>
                    </a:lnTo>
                    <a:lnTo>
                      <a:pt x="201180" y="119859"/>
                    </a:lnTo>
                    <a:lnTo>
                      <a:pt x="196912" y="120866"/>
                    </a:lnTo>
                    <a:lnTo>
                      <a:pt x="184276" y="127293"/>
                    </a:lnTo>
                    <a:lnTo>
                      <a:pt x="173896" y="129551"/>
                    </a:lnTo>
                    <a:lnTo>
                      <a:pt x="168643" y="128971"/>
                    </a:lnTo>
                    <a:lnTo>
                      <a:pt x="164643" y="125109"/>
                    </a:lnTo>
                    <a:lnTo>
                      <a:pt x="163818" y="120983"/>
                    </a:lnTo>
                    <a:lnTo>
                      <a:pt x="164901" y="117198"/>
                    </a:lnTo>
                    <a:lnTo>
                      <a:pt x="167053" y="114436"/>
                    </a:lnTo>
                    <a:lnTo>
                      <a:pt x="169452" y="113443"/>
                    </a:lnTo>
                    <a:lnTo>
                      <a:pt x="172284" y="112822"/>
                    </a:lnTo>
                    <a:lnTo>
                      <a:pt x="173956" y="111037"/>
                    </a:lnTo>
                    <a:lnTo>
                      <a:pt x="177343" y="103296"/>
                    </a:lnTo>
                    <a:lnTo>
                      <a:pt x="178088" y="100539"/>
                    </a:lnTo>
                    <a:lnTo>
                      <a:pt x="179148" y="97872"/>
                    </a:lnTo>
                    <a:lnTo>
                      <a:pt x="181051" y="95612"/>
                    </a:lnTo>
                    <a:lnTo>
                      <a:pt x="183107" y="94945"/>
                    </a:lnTo>
                    <a:lnTo>
                      <a:pt x="190548" y="95978"/>
                    </a:lnTo>
                    <a:lnTo>
                      <a:pt x="203371" y="90473"/>
                    </a:lnTo>
                    <a:lnTo>
                      <a:pt x="205981" y="88484"/>
                    </a:lnTo>
                    <a:lnTo>
                      <a:pt x="207353" y="84661"/>
                    </a:lnTo>
                    <a:lnTo>
                      <a:pt x="207647" y="80953"/>
                    </a:lnTo>
                    <a:lnTo>
                      <a:pt x="206880" y="77781"/>
                    </a:lnTo>
                    <a:lnTo>
                      <a:pt x="205029" y="75411"/>
                    </a:lnTo>
                    <a:lnTo>
                      <a:pt x="191173" y="81998"/>
                    </a:lnTo>
                    <a:lnTo>
                      <a:pt x="186668" y="82526"/>
                    </a:lnTo>
                    <a:lnTo>
                      <a:pt x="185025" y="83428"/>
                    </a:lnTo>
                    <a:lnTo>
                      <a:pt x="183166" y="85051"/>
                    </a:lnTo>
                    <a:lnTo>
                      <a:pt x="181250" y="85709"/>
                    </a:lnTo>
                    <a:lnTo>
                      <a:pt x="179353" y="83690"/>
                    </a:lnTo>
                    <a:lnTo>
                      <a:pt x="176232" y="75678"/>
                    </a:lnTo>
                    <a:lnTo>
                      <a:pt x="174468" y="72108"/>
                    </a:lnTo>
                    <a:lnTo>
                      <a:pt x="172009" y="69163"/>
                    </a:lnTo>
                    <a:lnTo>
                      <a:pt x="167766" y="66443"/>
                    </a:lnTo>
                    <a:lnTo>
                      <a:pt x="148207" y="62227"/>
                    </a:lnTo>
                    <a:lnTo>
                      <a:pt x="144235" y="60149"/>
                    </a:lnTo>
                    <a:lnTo>
                      <a:pt x="140851" y="57347"/>
                    </a:lnTo>
                    <a:lnTo>
                      <a:pt x="138057" y="54243"/>
                    </a:lnTo>
                    <a:lnTo>
                      <a:pt x="148434" y="47064"/>
                    </a:lnTo>
                    <a:lnTo>
                      <a:pt x="146836" y="43450"/>
                    </a:lnTo>
                    <a:lnTo>
                      <a:pt x="142728" y="38410"/>
                    </a:lnTo>
                    <a:lnTo>
                      <a:pt x="141665" y="33727"/>
                    </a:lnTo>
                    <a:lnTo>
                      <a:pt x="149416" y="33332"/>
                    </a:lnTo>
                    <a:lnTo>
                      <a:pt x="152912" y="31858"/>
                    </a:lnTo>
                    <a:lnTo>
                      <a:pt x="156373" y="28887"/>
                    </a:lnTo>
                    <a:lnTo>
                      <a:pt x="158107" y="31914"/>
                    </a:lnTo>
                    <a:lnTo>
                      <a:pt x="159891" y="33526"/>
                    </a:lnTo>
                    <a:lnTo>
                      <a:pt x="161661" y="33598"/>
                    </a:lnTo>
                    <a:lnTo>
                      <a:pt x="163293" y="31999"/>
                    </a:lnTo>
                    <a:lnTo>
                      <a:pt x="164114" y="24640"/>
                    </a:lnTo>
                    <a:lnTo>
                      <a:pt x="170512" y="20057"/>
                    </a:lnTo>
                    <a:lnTo>
                      <a:pt x="178902" y="17758"/>
                    </a:lnTo>
                    <a:close/>
                    <a:moveTo>
                      <a:pt x="114286" y="0"/>
                    </a:moveTo>
                    <a:lnTo>
                      <a:pt x="116286" y="1162"/>
                    </a:lnTo>
                    <a:lnTo>
                      <a:pt x="114714" y="5031"/>
                    </a:lnTo>
                    <a:lnTo>
                      <a:pt x="112549" y="8749"/>
                    </a:lnTo>
                    <a:lnTo>
                      <a:pt x="109312" y="16358"/>
                    </a:lnTo>
                    <a:lnTo>
                      <a:pt x="107687" y="19228"/>
                    </a:lnTo>
                    <a:lnTo>
                      <a:pt x="105999" y="21395"/>
                    </a:lnTo>
                    <a:lnTo>
                      <a:pt x="104302" y="22954"/>
                    </a:lnTo>
                    <a:lnTo>
                      <a:pt x="102300" y="23878"/>
                    </a:lnTo>
                    <a:lnTo>
                      <a:pt x="99559" y="24097"/>
                    </a:lnTo>
                    <a:lnTo>
                      <a:pt x="91334" y="34374"/>
                    </a:lnTo>
                    <a:lnTo>
                      <a:pt x="79948" y="42853"/>
                    </a:lnTo>
                    <a:lnTo>
                      <a:pt x="76375" y="43918"/>
                    </a:lnTo>
                    <a:lnTo>
                      <a:pt x="71398" y="41446"/>
                    </a:lnTo>
                    <a:lnTo>
                      <a:pt x="68933" y="41347"/>
                    </a:lnTo>
                    <a:lnTo>
                      <a:pt x="67706" y="44823"/>
                    </a:lnTo>
                    <a:lnTo>
                      <a:pt x="66699" y="48714"/>
                    </a:lnTo>
                    <a:lnTo>
                      <a:pt x="64917" y="46513"/>
                    </a:lnTo>
                    <a:lnTo>
                      <a:pt x="63152" y="41760"/>
                    </a:lnTo>
                    <a:lnTo>
                      <a:pt x="62147" y="38024"/>
                    </a:lnTo>
                    <a:lnTo>
                      <a:pt x="67962" y="37223"/>
                    </a:lnTo>
                    <a:lnTo>
                      <a:pt x="73761" y="31982"/>
                    </a:lnTo>
                    <a:lnTo>
                      <a:pt x="83977" y="16856"/>
                    </a:lnTo>
                    <a:lnTo>
                      <a:pt x="86538" y="13829"/>
                    </a:lnTo>
                    <a:lnTo>
                      <a:pt x="93517" y="9010"/>
                    </a:lnTo>
                    <a:lnTo>
                      <a:pt x="98563" y="7103"/>
                    </a:lnTo>
                    <a:lnTo>
                      <a:pt x="105059" y="1836"/>
                    </a:lnTo>
                    <a:lnTo>
                      <a:pt x="108510" y="72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4" name="Freeform 180">
                <a:extLst>
                  <a:ext uri="{FF2B5EF4-FFF2-40B4-BE49-F238E27FC236}">
                    <a16:creationId xmlns:a16="http://schemas.microsoft.com/office/drawing/2014/main" id="{159BDFF1-C772-9F69-C0CB-FB7194D42750}"/>
                  </a:ext>
                </a:extLst>
              </p:cNvPr>
              <p:cNvSpPr>
                <a:spLocks noChangeAspect="1"/>
              </p:cNvSpPr>
              <p:nvPr>
                <p:custDataLst>
                  <p:tags r:id="rId125"/>
                </p:custDataLst>
              </p:nvPr>
            </p:nvSpPr>
            <p:spPr>
              <a:xfrm>
                <a:off x="4777214" y="1630313"/>
                <a:ext cx="244822" cy="500496"/>
              </a:xfrm>
              <a:custGeom>
                <a:avLst/>
                <a:gdLst/>
                <a:ahLst/>
                <a:cxnLst/>
                <a:rect l="l" t="t" r="r" b="b"/>
                <a:pathLst>
                  <a:path w="251366" h="513875">
                    <a:moveTo>
                      <a:pt x="102996" y="496046"/>
                    </a:moveTo>
                    <a:lnTo>
                      <a:pt x="106821" y="496054"/>
                    </a:lnTo>
                    <a:lnTo>
                      <a:pt x="107014" y="497898"/>
                    </a:lnTo>
                    <a:lnTo>
                      <a:pt x="106745" y="498450"/>
                    </a:lnTo>
                    <a:lnTo>
                      <a:pt x="106249" y="498494"/>
                    </a:lnTo>
                    <a:lnTo>
                      <a:pt x="105694" y="498944"/>
                    </a:lnTo>
                    <a:lnTo>
                      <a:pt x="102935" y="499607"/>
                    </a:lnTo>
                    <a:lnTo>
                      <a:pt x="102105" y="500997"/>
                    </a:lnTo>
                    <a:lnTo>
                      <a:pt x="101745" y="504006"/>
                    </a:lnTo>
                    <a:lnTo>
                      <a:pt x="104394" y="503936"/>
                    </a:lnTo>
                    <a:lnTo>
                      <a:pt x="104471" y="506778"/>
                    </a:lnTo>
                    <a:lnTo>
                      <a:pt x="101302" y="508945"/>
                    </a:lnTo>
                    <a:lnTo>
                      <a:pt x="97937" y="512701"/>
                    </a:lnTo>
                    <a:lnTo>
                      <a:pt x="95204" y="513875"/>
                    </a:lnTo>
                    <a:lnTo>
                      <a:pt x="93934" y="508235"/>
                    </a:lnTo>
                    <a:lnTo>
                      <a:pt x="95240" y="501829"/>
                    </a:lnTo>
                    <a:lnTo>
                      <a:pt x="98707" y="497853"/>
                    </a:lnTo>
                    <a:close/>
                    <a:moveTo>
                      <a:pt x="150889" y="282537"/>
                    </a:moveTo>
                    <a:lnTo>
                      <a:pt x="151906" y="282584"/>
                    </a:lnTo>
                    <a:lnTo>
                      <a:pt x="152163" y="286041"/>
                    </a:lnTo>
                    <a:lnTo>
                      <a:pt x="151044" y="291158"/>
                    </a:lnTo>
                    <a:lnTo>
                      <a:pt x="150800" y="293030"/>
                    </a:lnTo>
                    <a:lnTo>
                      <a:pt x="152308" y="290871"/>
                    </a:lnTo>
                    <a:lnTo>
                      <a:pt x="153606" y="290675"/>
                    </a:lnTo>
                    <a:lnTo>
                      <a:pt x="154357" y="293543"/>
                    </a:lnTo>
                    <a:lnTo>
                      <a:pt x="153526" y="297469"/>
                    </a:lnTo>
                    <a:lnTo>
                      <a:pt x="152135" y="301382"/>
                    </a:lnTo>
                    <a:lnTo>
                      <a:pt x="150599" y="307396"/>
                    </a:lnTo>
                    <a:lnTo>
                      <a:pt x="149386" y="310107"/>
                    </a:lnTo>
                    <a:lnTo>
                      <a:pt x="148342" y="310029"/>
                    </a:lnTo>
                    <a:lnTo>
                      <a:pt x="148450" y="307275"/>
                    </a:lnTo>
                    <a:lnTo>
                      <a:pt x="149117" y="303277"/>
                    </a:lnTo>
                    <a:lnTo>
                      <a:pt x="149112" y="298630"/>
                    </a:lnTo>
                    <a:lnTo>
                      <a:pt x="148793" y="297630"/>
                    </a:lnTo>
                    <a:lnTo>
                      <a:pt x="148643" y="300028"/>
                    </a:lnTo>
                    <a:lnTo>
                      <a:pt x="148226" y="302340"/>
                    </a:lnTo>
                    <a:lnTo>
                      <a:pt x="145420" y="307320"/>
                    </a:lnTo>
                    <a:lnTo>
                      <a:pt x="142816" y="309839"/>
                    </a:lnTo>
                    <a:lnTo>
                      <a:pt x="142392" y="308204"/>
                    </a:lnTo>
                    <a:lnTo>
                      <a:pt x="144739" y="304683"/>
                    </a:lnTo>
                    <a:lnTo>
                      <a:pt x="145552" y="300323"/>
                    </a:lnTo>
                    <a:lnTo>
                      <a:pt x="146241" y="294987"/>
                    </a:lnTo>
                    <a:lnTo>
                      <a:pt x="147945" y="291112"/>
                    </a:lnTo>
                    <a:lnTo>
                      <a:pt x="147406" y="288751"/>
                    </a:lnTo>
                    <a:lnTo>
                      <a:pt x="146099" y="286925"/>
                    </a:lnTo>
                    <a:lnTo>
                      <a:pt x="146295" y="285241"/>
                    </a:lnTo>
                    <a:lnTo>
                      <a:pt x="149677" y="284206"/>
                    </a:lnTo>
                    <a:close/>
                    <a:moveTo>
                      <a:pt x="8915" y="270213"/>
                    </a:moveTo>
                    <a:lnTo>
                      <a:pt x="11113" y="270854"/>
                    </a:lnTo>
                    <a:lnTo>
                      <a:pt x="11999" y="274037"/>
                    </a:lnTo>
                    <a:lnTo>
                      <a:pt x="12295" y="280866"/>
                    </a:lnTo>
                    <a:lnTo>
                      <a:pt x="9546" y="285209"/>
                    </a:lnTo>
                    <a:lnTo>
                      <a:pt x="4947" y="283280"/>
                    </a:lnTo>
                    <a:lnTo>
                      <a:pt x="1362" y="279994"/>
                    </a:lnTo>
                    <a:lnTo>
                      <a:pt x="0" y="277751"/>
                    </a:lnTo>
                    <a:lnTo>
                      <a:pt x="317" y="274948"/>
                    </a:lnTo>
                    <a:lnTo>
                      <a:pt x="1598" y="273122"/>
                    </a:lnTo>
                    <a:lnTo>
                      <a:pt x="4515" y="270999"/>
                    </a:lnTo>
                    <a:close/>
                    <a:moveTo>
                      <a:pt x="195951" y="253338"/>
                    </a:moveTo>
                    <a:lnTo>
                      <a:pt x="196883" y="255404"/>
                    </a:lnTo>
                    <a:lnTo>
                      <a:pt x="197355" y="259135"/>
                    </a:lnTo>
                    <a:lnTo>
                      <a:pt x="198085" y="262467"/>
                    </a:lnTo>
                    <a:lnTo>
                      <a:pt x="199433" y="262483"/>
                    </a:lnTo>
                    <a:lnTo>
                      <a:pt x="201702" y="260275"/>
                    </a:lnTo>
                    <a:lnTo>
                      <a:pt x="201810" y="262882"/>
                    </a:lnTo>
                    <a:lnTo>
                      <a:pt x="201572" y="268378"/>
                    </a:lnTo>
                    <a:lnTo>
                      <a:pt x="200433" y="272536"/>
                    </a:lnTo>
                    <a:lnTo>
                      <a:pt x="199160" y="275797"/>
                    </a:lnTo>
                    <a:lnTo>
                      <a:pt x="198108" y="284040"/>
                    </a:lnTo>
                    <a:lnTo>
                      <a:pt x="196220" y="285083"/>
                    </a:lnTo>
                    <a:lnTo>
                      <a:pt x="190539" y="281032"/>
                    </a:lnTo>
                    <a:lnTo>
                      <a:pt x="188682" y="278483"/>
                    </a:lnTo>
                    <a:lnTo>
                      <a:pt x="188819" y="266075"/>
                    </a:lnTo>
                    <a:lnTo>
                      <a:pt x="185538" y="261461"/>
                    </a:lnTo>
                    <a:lnTo>
                      <a:pt x="185537" y="257358"/>
                    </a:lnTo>
                    <a:lnTo>
                      <a:pt x="189153" y="256677"/>
                    </a:lnTo>
                    <a:lnTo>
                      <a:pt x="192685" y="258252"/>
                    </a:lnTo>
                    <a:lnTo>
                      <a:pt x="194161" y="257269"/>
                    </a:lnTo>
                    <a:lnTo>
                      <a:pt x="194653" y="254082"/>
                    </a:lnTo>
                    <a:close/>
                    <a:moveTo>
                      <a:pt x="224793" y="176501"/>
                    </a:moveTo>
                    <a:lnTo>
                      <a:pt x="225134" y="178200"/>
                    </a:lnTo>
                    <a:lnTo>
                      <a:pt x="223985" y="180401"/>
                    </a:lnTo>
                    <a:lnTo>
                      <a:pt x="221519" y="183615"/>
                    </a:lnTo>
                    <a:lnTo>
                      <a:pt x="218445" y="188545"/>
                    </a:lnTo>
                    <a:lnTo>
                      <a:pt x="213485" y="194660"/>
                    </a:lnTo>
                    <a:lnTo>
                      <a:pt x="206150" y="197281"/>
                    </a:lnTo>
                    <a:lnTo>
                      <a:pt x="202496" y="195108"/>
                    </a:lnTo>
                    <a:lnTo>
                      <a:pt x="203398" y="192978"/>
                    </a:lnTo>
                    <a:lnTo>
                      <a:pt x="204354" y="191499"/>
                    </a:lnTo>
                    <a:lnTo>
                      <a:pt x="204670" y="189562"/>
                    </a:lnTo>
                    <a:lnTo>
                      <a:pt x="205535" y="186656"/>
                    </a:lnTo>
                    <a:lnTo>
                      <a:pt x="207331" y="183935"/>
                    </a:lnTo>
                    <a:lnTo>
                      <a:pt x="209409" y="182836"/>
                    </a:lnTo>
                    <a:lnTo>
                      <a:pt x="211591" y="182511"/>
                    </a:lnTo>
                    <a:lnTo>
                      <a:pt x="213271" y="181067"/>
                    </a:lnTo>
                    <a:lnTo>
                      <a:pt x="214498" y="179065"/>
                    </a:lnTo>
                    <a:lnTo>
                      <a:pt x="221146" y="178173"/>
                    </a:lnTo>
                    <a:lnTo>
                      <a:pt x="223103" y="177402"/>
                    </a:lnTo>
                    <a:lnTo>
                      <a:pt x="223649" y="176776"/>
                    </a:lnTo>
                    <a:close/>
                    <a:moveTo>
                      <a:pt x="238284" y="83582"/>
                    </a:moveTo>
                    <a:lnTo>
                      <a:pt x="240318" y="84593"/>
                    </a:lnTo>
                    <a:lnTo>
                      <a:pt x="240691" y="87081"/>
                    </a:lnTo>
                    <a:lnTo>
                      <a:pt x="240567" y="89776"/>
                    </a:lnTo>
                    <a:lnTo>
                      <a:pt x="241039" y="91280"/>
                    </a:lnTo>
                    <a:lnTo>
                      <a:pt x="242693" y="91341"/>
                    </a:lnTo>
                    <a:lnTo>
                      <a:pt x="243922" y="90331"/>
                    </a:lnTo>
                    <a:lnTo>
                      <a:pt x="244853" y="89114"/>
                    </a:lnTo>
                    <a:lnTo>
                      <a:pt x="245531" y="88497"/>
                    </a:lnTo>
                    <a:lnTo>
                      <a:pt x="248454" y="89131"/>
                    </a:lnTo>
                    <a:lnTo>
                      <a:pt x="250562" y="91194"/>
                    </a:lnTo>
                    <a:lnTo>
                      <a:pt x="251366" y="94458"/>
                    </a:lnTo>
                    <a:lnTo>
                      <a:pt x="250421" y="98738"/>
                    </a:lnTo>
                    <a:lnTo>
                      <a:pt x="245997" y="103308"/>
                    </a:lnTo>
                    <a:lnTo>
                      <a:pt x="240693" y="101925"/>
                    </a:lnTo>
                    <a:lnTo>
                      <a:pt x="235129" y="99135"/>
                    </a:lnTo>
                    <a:lnTo>
                      <a:pt x="229820" y="99520"/>
                    </a:lnTo>
                    <a:lnTo>
                      <a:pt x="229929" y="102360"/>
                    </a:lnTo>
                    <a:lnTo>
                      <a:pt x="231022" y="103532"/>
                    </a:lnTo>
                    <a:lnTo>
                      <a:pt x="231624" y="104660"/>
                    </a:lnTo>
                    <a:lnTo>
                      <a:pt x="232107" y="105855"/>
                    </a:lnTo>
                    <a:lnTo>
                      <a:pt x="232803" y="107242"/>
                    </a:lnTo>
                    <a:lnTo>
                      <a:pt x="227620" y="106208"/>
                    </a:lnTo>
                    <a:lnTo>
                      <a:pt x="223288" y="100134"/>
                    </a:lnTo>
                    <a:lnTo>
                      <a:pt x="216509" y="87218"/>
                    </a:lnTo>
                    <a:lnTo>
                      <a:pt x="216403" y="84392"/>
                    </a:lnTo>
                    <a:close/>
                    <a:moveTo>
                      <a:pt x="148235" y="81210"/>
                    </a:moveTo>
                    <a:lnTo>
                      <a:pt x="150356" y="88757"/>
                    </a:lnTo>
                    <a:lnTo>
                      <a:pt x="150591" y="91795"/>
                    </a:lnTo>
                    <a:lnTo>
                      <a:pt x="149858" y="94429"/>
                    </a:lnTo>
                    <a:lnTo>
                      <a:pt x="150514" y="97734"/>
                    </a:lnTo>
                    <a:lnTo>
                      <a:pt x="150324" y="100164"/>
                    </a:lnTo>
                    <a:lnTo>
                      <a:pt x="149319" y="101717"/>
                    </a:lnTo>
                    <a:lnTo>
                      <a:pt x="147540" y="102316"/>
                    </a:lnTo>
                    <a:lnTo>
                      <a:pt x="149188" y="111044"/>
                    </a:lnTo>
                    <a:lnTo>
                      <a:pt x="147812" y="115189"/>
                    </a:lnTo>
                    <a:lnTo>
                      <a:pt x="145174" y="118191"/>
                    </a:lnTo>
                    <a:lnTo>
                      <a:pt x="143053" y="123322"/>
                    </a:lnTo>
                    <a:lnTo>
                      <a:pt x="146918" y="123204"/>
                    </a:lnTo>
                    <a:lnTo>
                      <a:pt x="146082" y="125109"/>
                    </a:lnTo>
                    <a:lnTo>
                      <a:pt x="145253" y="125787"/>
                    </a:lnTo>
                    <a:lnTo>
                      <a:pt x="143141" y="126147"/>
                    </a:lnTo>
                    <a:lnTo>
                      <a:pt x="144205" y="126844"/>
                    </a:lnTo>
                    <a:lnTo>
                      <a:pt x="144844" y="127664"/>
                    </a:lnTo>
                    <a:lnTo>
                      <a:pt x="145609" y="128340"/>
                    </a:lnTo>
                    <a:lnTo>
                      <a:pt x="147090" y="128637"/>
                    </a:lnTo>
                    <a:lnTo>
                      <a:pt x="143625" y="141546"/>
                    </a:lnTo>
                    <a:lnTo>
                      <a:pt x="145414" y="141119"/>
                    </a:lnTo>
                    <a:lnTo>
                      <a:pt x="147085" y="140104"/>
                    </a:lnTo>
                    <a:lnTo>
                      <a:pt x="148608" y="138535"/>
                    </a:lnTo>
                    <a:lnTo>
                      <a:pt x="149996" y="136379"/>
                    </a:lnTo>
                    <a:lnTo>
                      <a:pt x="151275" y="138701"/>
                    </a:lnTo>
                    <a:lnTo>
                      <a:pt x="148800" y="144590"/>
                    </a:lnTo>
                    <a:lnTo>
                      <a:pt x="148354" y="146949"/>
                    </a:lnTo>
                    <a:lnTo>
                      <a:pt x="149032" y="149212"/>
                    </a:lnTo>
                    <a:lnTo>
                      <a:pt x="149122" y="152053"/>
                    </a:lnTo>
                    <a:lnTo>
                      <a:pt x="145545" y="153794"/>
                    </a:lnTo>
                    <a:lnTo>
                      <a:pt x="141463" y="167220"/>
                    </a:lnTo>
                    <a:lnTo>
                      <a:pt x="138086" y="170647"/>
                    </a:lnTo>
                    <a:lnTo>
                      <a:pt x="138174" y="173503"/>
                    </a:lnTo>
                    <a:lnTo>
                      <a:pt x="140588" y="173710"/>
                    </a:lnTo>
                    <a:lnTo>
                      <a:pt x="142929" y="173299"/>
                    </a:lnTo>
                    <a:lnTo>
                      <a:pt x="145102" y="172207"/>
                    </a:lnTo>
                    <a:lnTo>
                      <a:pt x="147005" y="170378"/>
                    </a:lnTo>
                    <a:lnTo>
                      <a:pt x="146534" y="163493"/>
                    </a:lnTo>
                    <a:lnTo>
                      <a:pt x="151569" y="159422"/>
                    </a:lnTo>
                    <a:lnTo>
                      <a:pt x="163446" y="156826"/>
                    </a:lnTo>
                    <a:lnTo>
                      <a:pt x="154292" y="150215"/>
                    </a:lnTo>
                    <a:lnTo>
                      <a:pt x="151532" y="146757"/>
                    </a:lnTo>
                    <a:lnTo>
                      <a:pt x="153380" y="143810"/>
                    </a:lnTo>
                    <a:lnTo>
                      <a:pt x="155718" y="141609"/>
                    </a:lnTo>
                    <a:lnTo>
                      <a:pt x="157637" y="142574"/>
                    </a:lnTo>
                    <a:lnTo>
                      <a:pt x="158143" y="148929"/>
                    </a:lnTo>
                    <a:lnTo>
                      <a:pt x="159794" y="146608"/>
                    </a:lnTo>
                    <a:lnTo>
                      <a:pt x="163419" y="139671"/>
                    </a:lnTo>
                    <a:lnTo>
                      <a:pt x="164072" y="137132"/>
                    </a:lnTo>
                    <a:lnTo>
                      <a:pt x="165800" y="136051"/>
                    </a:lnTo>
                    <a:lnTo>
                      <a:pt x="169303" y="138083"/>
                    </a:lnTo>
                    <a:lnTo>
                      <a:pt x="171885" y="141869"/>
                    </a:lnTo>
                    <a:lnTo>
                      <a:pt x="170832" y="146145"/>
                    </a:lnTo>
                    <a:lnTo>
                      <a:pt x="173216" y="147187"/>
                    </a:lnTo>
                    <a:lnTo>
                      <a:pt x="175214" y="149065"/>
                    </a:lnTo>
                    <a:lnTo>
                      <a:pt x="176742" y="152013"/>
                    </a:lnTo>
                    <a:lnTo>
                      <a:pt x="177735" y="156362"/>
                    </a:lnTo>
                    <a:lnTo>
                      <a:pt x="176811" y="158118"/>
                    </a:lnTo>
                    <a:lnTo>
                      <a:pt x="176534" y="159013"/>
                    </a:lnTo>
                    <a:lnTo>
                      <a:pt x="179063" y="161277"/>
                    </a:lnTo>
                    <a:lnTo>
                      <a:pt x="176821" y="163386"/>
                    </a:lnTo>
                    <a:lnTo>
                      <a:pt x="172604" y="161193"/>
                    </a:lnTo>
                    <a:lnTo>
                      <a:pt x="170751" y="162978"/>
                    </a:lnTo>
                    <a:lnTo>
                      <a:pt x="169272" y="165669"/>
                    </a:lnTo>
                    <a:lnTo>
                      <a:pt x="167510" y="167698"/>
                    </a:lnTo>
                    <a:lnTo>
                      <a:pt x="165635" y="169110"/>
                    </a:lnTo>
                    <a:lnTo>
                      <a:pt x="166309" y="169974"/>
                    </a:lnTo>
                    <a:lnTo>
                      <a:pt x="168578" y="169295"/>
                    </a:lnTo>
                    <a:lnTo>
                      <a:pt x="172936" y="166948"/>
                    </a:lnTo>
                    <a:lnTo>
                      <a:pt x="172223" y="167919"/>
                    </a:lnTo>
                    <a:lnTo>
                      <a:pt x="170328" y="169644"/>
                    </a:lnTo>
                    <a:lnTo>
                      <a:pt x="170423" y="172499"/>
                    </a:lnTo>
                    <a:lnTo>
                      <a:pt x="176718" y="168518"/>
                    </a:lnTo>
                    <a:lnTo>
                      <a:pt x="178992" y="170028"/>
                    </a:lnTo>
                    <a:lnTo>
                      <a:pt x="179612" y="177390"/>
                    </a:lnTo>
                    <a:lnTo>
                      <a:pt x="181019" y="177343"/>
                    </a:lnTo>
                    <a:lnTo>
                      <a:pt x="181638" y="173390"/>
                    </a:lnTo>
                    <a:lnTo>
                      <a:pt x="182260" y="173137"/>
                    </a:lnTo>
                    <a:lnTo>
                      <a:pt x="183186" y="173665"/>
                    </a:lnTo>
                    <a:lnTo>
                      <a:pt x="184714" y="172029"/>
                    </a:lnTo>
                    <a:lnTo>
                      <a:pt x="185395" y="169722"/>
                    </a:lnTo>
                    <a:lnTo>
                      <a:pt x="185872" y="166831"/>
                    </a:lnTo>
                    <a:lnTo>
                      <a:pt x="186642" y="163759"/>
                    </a:lnTo>
                    <a:lnTo>
                      <a:pt x="188175" y="160972"/>
                    </a:lnTo>
                    <a:lnTo>
                      <a:pt x="188872" y="162224"/>
                    </a:lnTo>
                    <a:lnTo>
                      <a:pt x="189214" y="163455"/>
                    </a:lnTo>
                    <a:lnTo>
                      <a:pt x="189571" y="166396"/>
                    </a:lnTo>
                    <a:lnTo>
                      <a:pt x="191054" y="160035"/>
                    </a:lnTo>
                    <a:lnTo>
                      <a:pt x="193778" y="155544"/>
                    </a:lnTo>
                    <a:lnTo>
                      <a:pt x="197242" y="153140"/>
                    </a:lnTo>
                    <a:lnTo>
                      <a:pt x="200922" y="152966"/>
                    </a:lnTo>
                    <a:lnTo>
                      <a:pt x="198465" y="159658"/>
                    </a:lnTo>
                    <a:lnTo>
                      <a:pt x="185710" y="176145"/>
                    </a:lnTo>
                    <a:lnTo>
                      <a:pt x="184711" y="179069"/>
                    </a:lnTo>
                    <a:lnTo>
                      <a:pt x="185064" y="182181"/>
                    </a:lnTo>
                    <a:lnTo>
                      <a:pt x="186262" y="182763"/>
                    </a:lnTo>
                    <a:lnTo>
                      <a:pt x="187622" y="180883"/>
                    </a:lnTo>
                    <a:lnTo>
                      <a:pt x="189343" y="177065"/>
                    </a:lnTo>
                    <a:lnTo>
                      <a:pt x="190388" y="175910"/>
                    </a:lnTo>
                    <a:lnTo>
                      <a:pt x="192784" y="174027"/>
                    </a:lnTo>
                    <a:lnTo>
                      <a:pt x="195273" y="173909"/>
                    </a:lnTo>
                    <a:lnTo>
                      <a:pt x="196542" y="178015"/>
                    </a:lnTo>
                    <a:lnTo>
                      <a:pt x="196510" y="180147"/>
                    </a:lnTo>
                    <a:lnTo>
                      <a:pt x="196172" y="184089"/>
                    </a:lnTo>
                    <a:lnTo>
                      <a:pt x="195361" y="187956"/>
                    </a:lnTo>
                    <a:lnTo>
                      <a:pt x="193767" y="189720"/>
                    </a:lnTo>
                    <a:lnTo>
                      <a:pt x="179066" y="191845"/>
                    </a:lnTo>
                    <a:lnTo>
                      <a:pt x="176267" y="193149"/>
                    </a:lnTo>
                    <a:lnTo>
                      <a:pt x="180303" y="196949"/>
                    </a:lnTo>
                    <a:lnTo>
                      <a:pt x="189915" y="198989"/>
                    </a:lnTo>
                    <a:lnTo>
                      <a:pt x="194957" y="202704"/>
                    </a:lnTo>
                    <a:lnTo>
                      <a:pt x="186231" y="212401"/>
                    </a:lnTo>
                    <a:lnTo>
                      <a:pt x="184148" y="213762"/>
                    </a:lnTo>
                    <a:lnTo>
                      <a:pt x="183499" y="214637"/>
                    </a:lnTo>
                    <a:lnTo>
                      <a:pt x="183443" y="216598"/>
                    </a:lnTo>
                    <a:lnTo>
                      <a:pt x="183797" y="218809"/>
                    </a:lnTo>
                    <a:lnTo>
                      <a:pt x="184376" y="220390"/>
                    </a:lnTo>
                    <a:lnTo>
                      <a:pt x="185314" y="220965"/>
                    </a:lnTo>
                    <a:lnTo>
                      <a:pt x="186626" y="218916"/>
                    </a:lnTo>
                    <a:lnTo>
                      <a:pt x="187620" y="219085"/>
                    </a:lnTo>
                    <a:lnTo>
                      <a:pt x="189103" y="219998"/>
                    </a:lnTo>
                    <a:lnTo>
                      <a:pt x="191678" y="220331"/>
                    </a:lnTo>
                    <a:lnTo>
                      <a:pt x="192870" y="221270"/>
                    </a:lnTo>
                    <a:lnTo>
                      <a:pt x="185554" y="229039"/>
                    </a:lnTo>
                    <a:lnTo>
                      <a:pt x="182163" y="230674"/>
                    </a:lnTo>
                    <a:lnTo>
                      <a:pt x="178935" y="229801"/>
                    </a:lnTo>
                    <a:lnTo>
                      <a:pt x="176874" y="224819"/>
                    </a:lnTo>
                    <a:lnTo>
                      <a:pt x="175214" y="222090"/>
                    </a:lnTo>
                    <a:lnTo>
                      <a:pt x="173370" y="221917"/>
                    </a:lnTo>
                    <a:lnTo>
                      <a:pt x="172208" y="224099"/>
                    </a:lnTo>
                    <a:lnTo>
                      <a:pt x="172481" y="226515"/>
                    </a:lnTo>
                    <a:lnTo>
                      <a:pt x="173610" y="228623"/>
                    </a:lnTo>
                    <a:lnTo>
                      <a:pt x="175052" y="229929"/>
                    </a:lnTo>
                    <a:lnTo>
                      <a:pt x="175132" y="232304"/>
                    </a:lnTo>
                    <a:lnTo>
                      <a:pt x="173277" y="232303"/>
                    </a:lnTo>
                    <a:lnTo>
                      <a:pt x="171714" y="232927"/>
                    </a:lnTo>
                    <a:lnTo>
                      <a:pt x="168726" y="235122"/>
                    </a:lnTo>
                    <a:lnTo>
                      <a:pt x="168804" y="237482"/>
                    </a:lnTo>
                    <a:lnTo>
                      <a:pt x="176465" y="237234"/>
                    </a:lnTo>
                    <a:lnTo>
                      <a:pt x="175316" y="239851"/>
                    </a:lnTo>
                    <a:lnTo>
                      <a:pt x="174385" y="242539"/>
                    </a:lnTo>
                    <a:lnTo>
                      <a:pt x="172944" y="248010"/>
                    </a:lnTo>
                    <a:lnTo>
                      <a:pt x="176270" y="242711"/>
                    </a:lnTo>
                    <a:lnTo>
                      <a:pt x="178087" y="240849"/>
                    </a:lnTo>
                    <a:lnTo>
                      <a:pt x="180578" y="239958"/>
                    </a:lnTo>
                    <a:lnTo>
                      <a:pt x="175429" y="252902"/>
                    </a:lnTo>
                    <a:lnTo>
                      <a:pt x="174598" y="258618"/>
                    </a:lnTo>
                    <a:lnTo>
                      <a:pt x="177513" y="254109"/>
                    </a:lnTo>
                    <a:lnTo>
                      <a:pt x="181512" y="252190"/>
                    </a:lnTo>
                    <a:lnTo>
                      <a:pt x="183704" y="254029"/>
                    </a:lnTo>
                    <a:lnTo>
                      <a:pt x="181285" y="260777"/>
                    </a:lnTo>
                    <a:lnTo>
                      <a:pt x="187957" y="266011"/>
                    </a:lnTo>
                    <a:lnTo>
                      <a:pt x="188039" y="268386"/>
                    </a:lnTo>
                    <a:lnTo>
                      <a:pt x="182720" y="268563"/>
                    </a:lnTo>
                    <a:lnTo>
                      <a:pt x="182817" y="271404"/>
                    </a:lnTo>
                    <a:lnTo>
                      <a:pt x="184234" y="271357"/>
                    </a:lnTo>
                    <a:lnTo>
                      <a:pt x="184323" y="273965"/>
                    </a:lnTo>
                    <a:lnTo>
                      <a:pt x="181087" y="271834"/>
                    </a:lnTo>
                    <a:lnTo>
                      <a:pt x="179230" y="273792"/>
                    </a:lnTo>
                    <a:lnTo>
                      <a:pt x="177305" y="276497"/>
                    </a:lnTo>
                    <a:lnTo>
                      <a:pt x="173899" y="276685"/>
                    </a:lnTo>
                    <a:lnTo>
                      <a:pt x="176714" y="279437"/>
                    </a:lnTo>
                    <a:lnTo>
                      <a:pt x="175929" y="282634"/>
                    </a:lnTo>
                    <a:lnTo>
                      <a:pt x="174980" y="284436"/>
                    </a:lnTo>
                    <a:lnTo>
                      <a:pt x="173592" y="285166"/>
                    </a:lnTo>
                    <a:lnTo>
                      <a:pt x="171555" y="285059"/>
                    </a:lnTo>
                    <a:lnTo>
                      <a:pt x="171633" y="287404"/>
                    </a:lnTo>
                    <a:lnTo>
                      <a:pt x="173150" y="287759"/>
                    </a:lnTo>
                    <a:lnTo>
                      <a:pt x="177063" y="289840"/>
                    </a:lnTo>
                    <a:lnTo>
                      <a:pt x="173949" y="294261"/>
                    </a:lnTo>
                    <a:lnTo>
                      <a:pt x="175910" y="299266"/>
                    </a:lnTo>
                    <a:lnTo>
                      <a:pt x="179548" y="302784"/>
                    </a:lnTo>
                    <a:lnTo>
                      <a:pt x="181404" y="302738"/>
                    </a:lnTo>
                    <a:lnTo>
                      <a:pt x="180563" y="308221"/>
                    </a:lnTo>
                    <a:lnTo>
                      <a:pt x="177780" y="311250"/>
                    </a:lnTo>
                    <a:lnTo>
                      <a:pt x="174260" y="312032"/>
                    </a:lnTo>
                    <a:lnTo>
                      <a:pt x="171229" y="310901"/>
                    </a:lnTo>
                    <a:lnTo>
                      <a:pt x="172223" y="316045"/>
                    </a:lnTo>
                    <a:lnTo>
                      <a:pt x="176878" y="326853"/>
                    </a:lnTo>
                    <a:lnTo>
                      <a:pt x="175371" y="331145"/>
                    </a:lnTo>
                    <a:lnTo>
                      <a:pt x="172579" y="331048"/>
                    </a:lnTo>
                    <a:lnTo>
                      <a:pt x="166425" y="327187"/>
                    </a:lnTo>
                    <a:lnTo>
                      <a:pt x="167507" y="335033"/>
                    </a:lnTo>
                    <a:lnTo>
                      <a:pt x="167341" y="343105"/>
                    </a:lnTo>
                    <a:lnTo>
                      <a:pt x="165978" y="350329"/>
                    </a:lnTo>
                    <a:lnTo>
                      <a:pt x="163437" y="355725"/>
                    </a:lnTo>
                    <a:lnTo>
                      <a:pt x="162591" y="353932"/>
                    </a:lnTo>
                    <a:lnTo>
                      <a:pt x="162044" y="353157"/>
                    </a:lnTo>
                    <a:lnTo>
                      <a:pt x="163715" y="357566"/>
                    </a:lnTo>
                    <a:lnTo>
                      <a:pt x="164459" y="361754"/>
                    </a:lnTo>
                    <a:lnTo>
                      <a:pt x="164118" y="366195"/>
                    </a:lnTo>
                    <a:lnTo>
                      <a:pt x="162630" y="371402"/>
                    </a:lnTo>
                    <a:lnTo>
                      <a:pt x="164794" y="374070"/>
                    </a:lnTo>
                    <a:lnTo>
                      <a:pt x="165430" y="377298"/>
                    </a:lnTo>
                    <a:lnTo>
                      <a:pt x="164750" y="380210"/>
                    </a:lnTo>
                    <a:lnTo>
                      <a:pt x="162972" y="382038"/>
                    </a:lnTo>
                    <a:lnTo>
                      <a:pt x="162170" y="380183"/>
                    </a:lnTo>
                    <a:lnTo>
                      <a:pt x="158794" y="374350"/>
                    </a:lnTo>
                    <a:lnTo>
                      <a:pt x="157413" y="378340"/>
                    </a:lnTo>
                    <a:lnTo>
                      <a:pt x="155821" y="377923"/>
                    </a:lnTo>
                    <a:lnTo>
                      <a:pt x="155394" y="375045"/>
                    </a:lnTo>
                    <a:lnTo>
                      <a:pt x="157479" y="371562"/>
                    </a:lnTo>
                    <a:lnTo>
                      <a:pt x="157396" y="368954"/>
                    </a:lnTo>
                    <a:lnTo>
                      <a:pt x="154424" y="366340"/>
                    </a:lnTo>
                    <a:lnTo>
                      <a:pt x="148449" y="368045"/>
                    </a:lnTo>
                    <a:lnTo>
                      <a:pt x="145308" y="366491"/>
                    </a:lnTo>
                    <a:lnTo>
                      <a:pt x="142870" y="361854"/>
                    </a:lnTo>
                    <a:lnTo>
                      <a:pt x="146157" y="356814"/>
                    </a:lnTo>
                    <a:lnTo>
                      <a:pt x="144825" y="350839"/>
                    </a:lnTo>
                    <a:lnTo>
                      <a:pt x="146319" y="347686"/>
                    </a:lnTo>
                    <a:lnTo>
                      <a:pt x="148146" y="345750"/>
                    </a:lnTo>
                    <a:lnTo>
                      <a:pt x="150244" y="345020"/>
                    </a:lnTo>
                    <a:lnTo>
                      <a:pt x="152516" y="345385"/>
                    </a:lnTo>
                    <a:lnTo>
                      <a:pt x="152449" y="343242"/>
                    </a:lnTo>
                    <a:lnTo>
                      <a:pt x="148859" y="339093"/>
                    </a:lnTo>
                    <a:lnTo>
                      <a:pt x="147163" y="337947"/>
                    </a:lnTo>
                    <a:lnTo>
                      <a:pt x="147083" y="335354"/>
                    </a:lnTo>
                    <a:lnTo>
                      <a:pt x="152196" y="335199"/>
                    </a:lnTo>
                    <a:lnTo>
                      <a:pt x="150886" y="328432"/>
                    </a:lnTo>
                    <a:lnTo>
                      <a:pt x="152743" y="322407"/>
                    </a:lnTo>
                    <a:lnTo>
                      <a:pt x="155431" y="315874"/>
                    </a:lnTo>
                    <a:lnTo>
                      <a:pt x="157748" y="297618"/>
                    </a:lnTo>
                    <a:lnTo>
                      <a:pt x="160302" y="290064"/>
                    </a:lnTo>
                    <a:lnTo>
                      <a:pt x="162049" y="282424"/>
                    </a:lnTo>
                    <a:lnTo>
                      <a:pt x="160739" y="272115"/>
                    </a:lnTo>
                    <a:lnTo>
                      <a:pt x="159675" y="270609"/>
                    </a:lnTo>
                    <a:lnTo>
                      <a:pt x="158565" y="271064"/>
                    </a:lnTo>
                    <a:lnTo>
                      <a:pt x="157494" y="270771"/>
                    </a:lnTo>
                    <a:lnTo>
                      <a:pt x="156545" y="267024"/>
                    </a:lnTo>
                    <a:lnTo>
                      <a:pt x="156638" y="265575"/>
                    </a:lnTo>
                    <a:lnTo>
                      <a:pt x="157126" y="263649"/>
                    </a:lnTo>
                    <a:lnTo>
                      <a:pt x="159895" y="255606"/>
                    </a:lnTo>
                    <a:lnTo>
                      <a:pt x="157966" y="255790"/>
                    </a:lnTo>
                    <a:lnTo>
                      <a:pt x="155271" y="257957"/>
                    </a:lnTo>
                    <a:lnTo>
                      <a:pt x="154530" y="259253"/>
                    </a:lnTo>
                    <a:lnTo>
                      <a:pt x="152425" y="259038"/>
                    </a:lnTo>
                    <a:lnTo>
                      <a:pt x="151771" y="257692"/>
                    </a:lnTo>
                    <a:lnTo>
                      <a:pt x="152257" y="254475"/>
                    </a:lnTo>
                    <a:lnTo>
                      <a:pt x="154720" y="244328"/>
                    </a:lnTo>
                    <a:lnTo>
                      <a:pt x="156098" y="240509"/>
                    </a:lnTo>
                    <a:lnTo>
                      <a:pt x="157724" y="237428"/>
                    </a:lnTo>
                    <a:lnTo>
                      <a:pt x="159552" y="235412"/>
                    </a:lnTo>
                    <a:lnTo>
                      <a:pt x="159468" y="232804"/>
                    </a:lnTo>
                    <a:lnTo>
                      <a:pt x="155810" y="232499"/>
                    </a:lnTo>
                    <a:lnTo>
                      <a:pt x="153159" y="236590"/>
                    </a:lnTo>
                    <a:lnTo>
                      <a:pt x="148285" y="248784"/>
                    </a:lnTo>
                    <a:lnTo>
                      <a:pt x="145396" y="239998"/>
                    </a:lnTo>
                    <a:lnTo>
                      <a:pt x="142416" y="233654"/>
                    </a:lnTo>
                    <a:lnTo>
                      <a:pt x="138325" y="229783"/>
                    </a:lnTo>
                    <a:lnTo>
                      <a:pt x="132103" y="228412"/>
                    </a:lnTo>
                    <a:lnTo>
                      <a:pt x="132189" y="231253"/>
                    </a:lnTo>
                    <a:lnTo>
                      <a:pt x="135905" y="233009"/>
                    </a:lnTo>
                    <a:lnTo>
                      <a:pt x="138993" y="236197"/>
                    </a:lnTo>
                    <a:lnTo>
                      <a:pt x="141721" y="240684"/>
                    </a:lnTo>
                    <a:lnTo>
                      <a:pt x="144316" y="246294"/>
                    </a:lnTo>
                    <a:lnTo>
                      <a:pt x="143187" y="251799"/>
                    </a:lnTo>
                    <a:lnTo>
                      <a:pt x="139354" y="247965"/>
                    </a:lnTo>
                    <a:lnTo>
                      <a:pt x="137559" y="246682"/>
                    </a:lnTo>
                    <a:lnTo>
                      <a:pt x="135127" y="246568"/>
                    </a:lnTo>
                    <a:lnTo>
                      <a:pt x="135440" y="253582"/>
                    </a:lnTo>
                    <a:lnTo>
                      <a:pt x="134255" y="258652"/>
                    </a:lnTo>
                    <a:lnTo>
                      <a:pt x="132567" y="259666"/>
                    </a:lnTo>
                    <a:lnTo>
                      <a:pt x="131451" y="254491"/>
                    </a:lnTo>
                    <a:lnTo>
                      <a:pt x="129219" y="256747"/>
                    </a:lnTo>
                    <a:lnTo>
                      <a:pt x="128549" y="260745"/>
                    </a:lnTo>
                    <a:lnTo>
                      <a:pt x="128140" y="264984"/>
                    </a:lnTo>
                    <a:lnTo>
                      <a:pt x="126663" y="267917"/>
                    </a:lnTo>
                    <a:lnTo>
                      <a:pt x="124855" y="267829"/>
                    </a:lnTo>
                    <a:lnTo>
                      <a:pt x="117308" y="262728"/>
                    </a:lnTo>
                    <a:lnTo>
                      <a:pt x="116883" y="261947"/>
                    </a:lnTo>
                    <a:lnTo>
                      <a:pt x="112655" y="257357"/>
                    </a:lnTo>
                    <a:lnTo>
                      <a:pt x="112083" y="257668"/>
                    </a:lnTo>
                    <a:lnTo>
                      <a:pt x="110792" y="254192"/>
                    </a:lnTo>
                    <a:lnTo>
                      <a:pt x="110842" y="252419"/>
                    </a:lnTo>
                    <a:lnTo>
                      <a:pt x="111860" y="249843"/>
                    </a:lnTo>
                    <a:lnTo>
                      <a:pt x="113977" y="247609"/>
                    </a:lnTo>
                    <a:lnTo>
                      <a:pt x="119652" y="245895"/>
                    </a:lnTo>
                    <a:lnTo>
                      <a:pt x="122081" y="244598"/>
                    </a:lnTo>
                    <a:lnTo>
                      <a:pt x="119591" y="242758"/>
                    </a:lnTo>
                    <a:lnTo>
                      <a:pt x="114723" y="234829"/>
                    </a:lnTo>
                    <a:lnTo>
                      <a:pt x="113993" y="237927"/>
                    </a:lnTo>
                    <a:lnTo>
                      <a:pt x="113123" y="243157"/>
                    </a:lnTo>
                    <a:lnTo>
                      <a:pt x="110998" y="246774"/>
                    </a:lnTo>
                    <a:lnTo>
                      <a:pt x="108788" y="247379"/>
                    </a:lnTo>
                    <a:lnTo>
                      <a:pt x="107660" y="243588"/>
                    </a:lnTo>
                    <a:lnTo>
                      <a:pt x="106407" y="240265"/>
                    </a:lnTo>
                    <a:lnTo>
                      <a:pt x="103696" y="241209"/>
                    </a:lnTo>
                    <a:lnTo>
                      <a:pt x="98040" y="245260"/>
                    </a:lnTo>
                    <a:lnTo>
                      <a:pt x="93851" y="245947"/>
                    </a:lnTo>
                    <a:lnTo>
                      <a:pt x="92028" y="245419"/>
                    </a:lnTo>
                    <a:lnTo>
                      <a:pt x="90931" y="244049"/>
                    </a:lnTo>
                    <a:lnTo>
                      <a:pt x="90702" y="242144"/>
                    </a:lnTo>
                    <a:lnTo>
                      <a:pt x="90348" y="240475"/>
                    </a:lnTo>
                    <a:lnTo>
                      <a:pt x="88799" y="239802"/>
                    </a:lnTo>
                    <a:lnTo>
                      <a:pt x="84904" y="239249"/>
                    </a:lnTo>
                    <a:lnTo>
                      <a:pt x="83240" y="237116"/>
                    </a:lnTo>
                    <a:lnTo>
                      <a:pt x="81157" y="227193"/>
                    </a:lnTo>
                    <a:lnTo>
                      <a:pt x="78911" y="219824"/>
                    </a:lnTo>
                    <a:lnTo>
                      <a:pt x="79571" y="217601"/>
                    </a:lnTo>
                    <a:lnTo>
                      <a:pt x="82235" y="214146"/>
                    </a:lnTo>
                    <a:lnTo>
                      <a:pt x="84914" y="211622"/>
                    </a:lnTo>
                    <a:lnTo>
                      <a:pt x="88391" y="209528"/>
                    </a:lnTo>
                    <a:lnTo>
                      <a:pt x="92029" y="208330"/>
                    </a:lnTo>
                    <a:lnTo>
                      <a:pt x="95151" y="208590"/>
                    </a:lnTo>
                    <a:lnTo>
                      <a:pt x="97993" y="210969"/>
                    </a:lnTo>
                    <a:lnTo>
                      <a:pt x="100177" y="214080"/>
                    </a:lnTo>
                    <a:lnTo>
                      <a:pt x="102500" y="216332"/>
                    </a:lnTo>
                    <a:lnTo>
                      <a:pt x="105697" y="216138"/>
                    </a:lnTo>
                    <a:lnTo>
                      <a:pt x="104148" y="210959"/>
                    </a:lnTo>
                    <a:lnTo>
                      <a:pt x="110819" y="213387"/>
                    </a:lnTo>
                    <a:lnTo>
                      <a:pt x="110745" y="210778"/>
                    </a:lnTo>
                    <a:lnTo>
                      <a:pt x="109334" y="210817"/>
                    </a:lnTo>
                    <a:lnTo>
                      <a:pt x="109260" y="208209"/>
                    </a:lnTo>
                    <a:lnTo>
                      <a:pt x="118126" y="206810"/>
                    </a:lnTo>
                    <a:lnTo>
                      <a:pt x="120835" y="209764"/>
                    </a:lnTo>
                    <a:lnTo>
                      <a:pt x="121392" y="221139"/>
                    </a:lnTo>
                    <a:lnTo>
                      <a:pt x="122330" y="220723"/>
                    </a:lnTo>
                    <a:lnTo>
                      <a:pt x="124413" y="219125"/>
                    </a:lnTo>
                    <a:lnTo>
                      <a:pt x="125188" y="218170"/>
                    </a:lnTo>
                    <a:lnTo>
                      <a:pt x="124184" y="216087"/>
                    </a:lnTo>
                    <a:lnTo>
                      <a:pt x="123016" y="212079"/>
                    </a:lnTo>
                    <a:lnTo>
                      <a:pt x="122375" y="210451"/>
                    </a:lnTo>
                    <a:lnTo>
                      <a:pt x="126266" y="210339"/>
                    </a:lnTo>
                    <a:lnTo>
                      <a:pt x="125696" y="208802"/>
                    </a:lnTo>
                    <a:lnTo>
                      <a:pt x="124794" y="204911"/>
                    </a:lnTo>
                    <a:lnTo>
                      <a:pt x="129126" y="202812"/>
                    </a:lnTo>
                    <a:lnTo>
                      <a:pt x="134174" y="204296"/>
                    </a:lnTo>
                    <a:lnTo>
                      <a:pt x="138514" y="209295"/>
                    </a:lnTo>
                    <a:lnTo>
                      <a:pt x="140718" y="217714"/>
                    </a:lnTo>
                    <a:lnTo>
                      <a:pt x="143233" y="213226"/>
                    </a:lnTo>
                    <a:lnTo>
                      <a:pt x="145763" y="209762"/>
                    </a:lnTo>
                    <a:lnTo>
                      <a:pt x="140308" y="204456"/>
                    </a:lnTo>
                    <a:lnTo>
                      <a:pt x="143873" y="194170"/>
                    </a:lnTo>
                    <a:lnTo>
                      <a:pt x="145231" y="195714"/>
                    </a:lnTo>
                    <a:lnTo>
                      <a:pt x="146434" y="196222"/>
                    </a:lnTo>
                    <a:lnTo>
                      <a:pt x="149236" y="196384"/>
                    </a:lnTo>
                    <a:lnTo>
                      <a:pt x="146721" y="192141"/>
                    </a:lnTo>
                    <a:lnTo>
                      <a:pt x="150076" y="190826"/>
                    </a:lnTo>
                    <a:lnTo>
                      <a:pt x="159505" y="190844"/>
                    </a:lnTo>
                    <a:lnTo>
                      <a:pt x="154876" y="187757"/>
                    </a:lnTo>
                    <a:lnTo>
                      <a:pt x="149251" y="186656"/>
                    </a:lnTo>
                    <a:lnTo>
                      <a:pt x="144675" y="183889"/>
                    </a:lnTo>
                    <a:lnTo>
                      <a:pt x="143296" y="175712"/>
                    </a:lnTo>
                    <a:lnTo>
                      <a:pt x="139833" y="180120"/>
                    </a:lnTo>
                    <a:lnTo>
                      <a:pt x="137822" y="181564"/>
                    </a:lnTo>
                    <a:lnTo>
                      <a:pt x="135723" y="181128"/>
                    </a:lnTo>
                    <a:lnTo>
                      <a:pt x="133636" y="178299"/>
                    </a:lnTo>
                    <a:lnTo>
                      <a:pt x="132848" y="174640"/>
                    </a:lnTo>
                    <a:lnTo>
                      <a:pt x="133367" y="170974"/>
                    </a:lnTo>
                    <a:lnTo>
                      <a:pt x="135325" y="168119"/>
                    </a:lnTo>
                    <a:lnTo>
                      <a:pt x="135245" y="165511"/>
                    </a:lnTo>
                    <a:lnTo>
                      <a:pt x="129357" y="165745"/>
                    </a:lnTo>
                    <a:lnTo>
                      <a:pt x="126791" y="165028"/>
                    </a:lnTo>
                    <a:lnTo>
                      <a:pt x="124854" y="162955"/>
                    </a:lnTo>
                    <a:lnTo>
                      <a:pt x="125235" y="158220"/>
                    </a:lnTo>
                    <a:lnTo>
                      <a:pt x="124693" y="151617"/>
                    </a:lnTo>
                    <a:lnTo>
                      <a:pt x="122852" y="139550"/>
                    </a:lnTo>
                    <a:lnTo>
                      <a:pt x="120542" y="147044"/>
                    </a:lnTo>
                    <a:lnTo>
                      <a:pt x="118690" y="151136"/>
                    </a:lnTo>
                    <a:lnTo>
                      <a:pt x="116811" y="153007"/>
                    </a:lnTo>
                    <a:lnTo>
                      <a:pt x="113849" y="151786"/>
                    </a:lnTo>
                    <a:lnTo>
                      <a:pt x="113099" y="148683"/>
                    </a:lnTo>
                    <a:lnTo>
                      <a:pt x="114131" y="145065"/>
                    </a:lnTo>
                    <a:lnTo>
                      <a:pt x="116499" y="142342"/>
                    </a:lnTo>
                    <a:lnTo>
                      <a:pt x="112707" y="142541"/>
                    </a:lnTo>
                    <a:lnTo>
                      <a:pt x="109623" y="143606"/>
                    </a:lnTo>
                    <a:lnTo>
                      <a:pt x="106728" y="143500"/>
                    </a:lnTo>
                    <a:lnTo>
                      <a:pt x="103555" y="140091"/>
                    </a:lnTo>
                    <a:lnTo>
                      <a:pt x="101970" y="144562"/>
                    </a:lnTo>
                    <a:lnTo>
                      <a:pt x="99275" y="146127"/>
                    </a:lnTo>
                    <a:lnTo>
                      <a:pt x="92729" y="145835"/>
                    </a:lnTo>
                    <a:lnTo>
                      <a:pt x="92167" y="143799"/>
                    </a:lnTo>
                    <a:lnTo>
                      <a:pt x="93027" y="139318"/>
                    </a:lnTo>
                    <a:lnTo>
                      <a:pt x="94605" y="134785"/>
                    </a:lnTo>
                    <a:lnTo>
                      <a:pt x="96234" y="132707"/>
                    </a:lnTo>
                    <a:lnTo>
                      <a:pt x="100891" y="133125"/>
                    </a:lnTo>
                    <a:lnTo>
                      <a:pt x="101948" y="132553"/>
                    </a:lnTo>
                    <a:lnTo>
                      <a:pt x="102838" y="129888"/>
                    </a:lnTo>
                    <a:lnTo>
                      <a:pt x="102852" y="127091"/>
                    </a:lnTo>
                    <a:lnTo>
                      <a:pt x="102684" y="124407"/>
                    </a:lnTo>
                    <a:lnTo>
                      <a:pt x="103049" y="122113"/>
                    </a:lnTo>
                    <a:lnTo>
                      <a:pt x="104766" y="118400"/>
                    </a:lnTo>
                    <a:lnTo>
                      <a:pt x="106891" y="115342"/>
                    </a:lnTo>
                    <a:lnTo>
                      <a:pt x="109321" y="114902"/>
                    </a:lnTo>
                    <a:lnTo>
                      <a:pt x="111966" y="119023"/>
                    </a:lnTo>
                    <a:lnTo>
                      <a:pt x="114525" y="126969"/>
                    </a:lnTo>
                    <a:lnTo>
                      <a:pt x="120948" y="133265"/>
                    </a:lnTo>
                    <a:lnTo>
                      <a:pt x="128102" y="135608"/>
                    </a:lnTo>
                    <a:lnTo>
                      <a:pt x="134207" y="131636"/>
                    </a:lnTo>
                    <a:lnTo>
                      <a:pt x="132025" y="129960"/>
                    </a:lnTo>
                    <a:lnTo>
                      <a:pt x="129184" y="129297"/>
                    </a:lnTo>
                    <a:lnTo>
                      <a:pt x="124433" y="129312"/>
                    </a:lnTo>
                    <a:lnTo>
                      <a:pt x="123030" y="127985"/>
                    </a:lnTo>
                    <a:lnTo>
                      <a:pt x="121289" y="125114"/>
                    </a:lnTo>
                    <a:lnTo>
                      <a:pt x="118972" y="122414"/>
                    </a:lnTo>
                    <a:lnTo>
                      <a:pt x="115897" y="121756"/>
                    </a:lnTo>
                    <a:lnTo>
                      <a:pt x="117417" y="119009"/>
                    </a:lnTo>
                    <a:lnTo>
                      <a:pt x="119776" y="112292"/>
                    </a:lnTo>
                    <a:lnTo>
                      <a:pt x="120716" y="110944"/>
                    </a:lnTo>
                    <a:lnTo>
                      <a:pt x="122794" y="110325"/>
                    </a:lnTo>
                    <a:lnTo>
                      <a:pt x="128394" y="105734"/>
                    </a:lnTo>
                    <a:lnTo>
                      <a:pt x="126387" y="103587"/>
                    </a:lnTo>
                    <a:lnTo>
                      <a:pt x="125634" y="102971"/>
                    </a:lnTo>
                    <a:lnTo>
                      <a:pt x="127217" y="100175"/>
                    </a:lnTo>
                    <a:lnTo>
                      <a:pt x="127619" y="98299"/>
                    </a:lnTo>
                    <a:lnTo>
                      <a:pt x="127276" y="96817"/>
                    </a:lnTo>
                    <a:lnTo>
                      <a:pt x="126652" y="95127"/>
                    </a:lnTo>
                    <a:lnTo>
                      <a:pt x="131186" y="92694"/>
                    </a:lnTo>
                    <a:lnTo>
                      <a:pt x="136333" y="93333"/>
                    </a:lnTo>
                    <a:lnTo>
                      <a:pt x="141509" y="96083"/>
                    </a:lnTo>
                    <a:lnTo>
                      <a:pt x="146182" y="99980"/>
                    </a:lnTo>
                    <a:lnTo>
                      <a:pt x="146703" y="98349"/>
                    </a:lnTo>
                    <a:lnTo>
                      <a:pt x="147375" y="97116"/>
                    </a:lnTo>
                    <a:lnTo>
                      <a:pt x="143982" y="93521"/>
                    </a:lnTo>
                    <a:lnTo>
                      <a:pt x="144272" y="89629"/>
                    </a:lnTo>
                    <a:close/>
                    <a:moveTo>
                      <a:pt x="188513" y="44580"/>
                    </a:moveTo>
                    <a:lnTo>
                      <a:pt x="190756" y="51139"/>
                    </a:lnTo>
                    <a:lnTo>
                      <a:pt x="192760" y="46657"/>
                    </a:lnTo>
                    <a:lnTo>
                      <a:pt x="196569" y="45220"/>
                    </a:lnTo>
                    <a:lnTo>
                      <a:pt x="204727" y="45694"/>
                    </a:lnTo>
                    <a:lnTo>
                      <a:pt x="204976" y="50814"/>
                    </a:lnTo>
                    <a:lnTo>
                      <a:pt x="204737" y="52393"/>
                    </a:lnTo>
                    <a:lnTo>
                      <a:pt x="203618" y="53286"/>
                    </a:lnTo>
                    <a:lnTo>
                      <a:pt x="203722" y="56126"/>
                    </a:lnTo>
                    <a:lnTo>
                      <a:pt x="204664" y="56652"/>
                    </a:lnTo>
                    <a:lnTo>
                      <a:pt x="205519" y="57741"/>
                    </a:lnTo>
                    <a:lnTo>
                      <a:pt x="206374" y="58410"/>
                    </a:lnTo>
                    <a:lnTo>
                      <a:pt x="204525" y="63091"/>
                    </a:lnTo>
                    <a:lnTo>
                      <a:pt x="204825" y="66717"/>
                    </a:lnTo>
                    <a:lnTo>
                      <a:pt x="208343" y="74005"/>
                    </a:lnTo>
                    <a:lnTo>
                      <a:pt x="207374" y="78158"/>
                    </a:lnTo>
                    <a:lnTo>
                      <a:pt x="206060" y="82121"/>
                    </a:lnTo>
                    <a:lnTo>
                      <a:pt x="199729" y="75148"/>
                    </a:lnTo>
                    <a:lnTo>
                      <a:pt x="196499" y="72556"/>
                    </a:lnTo>
                    <a:lnTo>
                      <a:pt x="192783" y="72172"/>
                    </a:lnTo>
                    <a:lnTo>
                      <a:pt x="195094" y="74889"/>
                    </a:lnTo>
                    <a:lnTo>
                      <a:pt x="197845" y="79642"/>
                    </a:lnTo>
                    <a:lnTo>
                      <a:pt x="202515" y="90079"/>
                    </a:lnTo>
                    <a:lnTo>
                      <a:pt x="200111" y="92090"/>
                    </a:lnTo>
                    <a:lnTo>
                      <a:pt x="197529" y="92987"/>
                    </a:lnTo>
                    <a:lnTo>
                      <a:pt x="194829" y="92521"/>
                    </a:lnTo>
                    <a:lnTo>
                      <a:pt x="192149" y="90438"/>
                    </a:lnTo>
                    <a:lnTo>
                      <a:pt x="193215" y="94628"/>
                    </a:lnTo>
                    <a:lnTo>
                      <a:pt x="195593" y="97002"/>
                    </a:lnTo>
                    <a:lnTo>
                      <a:pt x="198581" y="98018"/>
                    </a:lnTo>
                    <a:lnTo>
                      <a:pt x="201523" y="98163"/>
                    </a:lnTo>
                    <a:lnTo>
                      <a:pt x="201202" y="99449"/>
                    </a:lnTo>
                    <a:lnTo>
                      <a:pt x="201169" y="99792"/>
                    </a:lnTo>
                    <a:lnTo>
                      <a:pt x="200211" y="100586"/>
                    </a:lnTo>
                    <a:lnTo>
                      <a:pt x="203567" y="104339"/>
                    </a:lnTo>
                    <a:lnTo>
                      <a:pt x="203797" y="108993"/>
                    </a:lnTo>
                    <a:lnTo>
                      <a:pt x="201716" y="112828"/>
                    </a:lnTo>
                    <a:lnTo>
                      <a:pt x="198120" y="113946"/>
                    </a:lnTo>
                    <a:lnTo>
                      <a:pt x="201155" y="120415"/>
                    </a:lnTo>
                    <a:lnTo>
                      <a:pt x="202123" y="123661"/>
                    </a:lnTo>
                    <a:lnTo>
                      <a:pt x="202606" y="128120"/>
                    </a:lnTo>
                    <a:lnTo>
                      <a:pt x="202204" y="132920"/>
                    </a:lnTo>
                    <a:lnTo>
                      <a:pt x="200742" y="133857"/>
                    </a:lnTo>
                    <a:lnTo>
                      <a:pt x="196199" y="132041"/>
                    </a:lnTo>
                    <a:lnTo>
                      <a:pt x="191582" y="132447"/>
                    </a:lnTo>
                    <a:lnTo>
                      <a:pt x="189296" y="131562"/>
                    </a:lnTo>
                    <a:lnTo>
                      <a:pt x="188250" y="128614"/>
                    </a:lnTo>
                    <a:lnTo>
                      <a:pt x="187567" y="128823"/>
                    </a:lnTo>
                    <a:lnTo>
                      <a:pt x="186517" y="130381"/>
                    </a:lnTo>
                    <a:lnTo>
                      <a:pt x="186375" y="132671"/>
                    </a:lnTo>
                    <a:lnTo>
                      <a:pt x="188478" y="135133"/>
                    </a:lnTo>
                    <a:lnTo>
                      <a:pt x="188560" y="137492"/>
                    </a:lnTo>
                    <a:lnTo>
                      <a:pt x="182205" y="136260"/>
                    </a:lnTo>
                    <a:lnTo>
                      <a:pt x="177646" y="131703"/>
                    </a:lnTo>
                    <a:lnTo>
                      <a:pt x="174741" y="123360"/>
                    </a:lnTo>
                    <a:lnTo>
                      <a:pt x="171225" y="87502"/>
                    </a:lnTo>
                    <a:lnTo>
                      <a:pt x="172575" y="79316"/>
                    </a:lnTo>
                    <a:lnTo>
                      <a:pt x="178778" y="77867"/>
                    </a:lnTo>
                    <a:lnTo>
                      <a:pt x="178859" y="80227"/>
                    </a:lnTo>
                    <a:lnTo>
                      <a:pt x="178458" y="84777"/>
                    </a:lnTo>
                    <a:lnTo>
                      <a:pt x="180659" y="89226"/>
                    </a:lnTo>
                    <a:lnTo>
                      <a:pt x="183681" y="91751"/>
                    </a:lnTo>
                    <a:lnTo>
                      <a:pt x="185721" y="90657"/>
                    </a:lnTo>
                    <a:lnTo>
                      <a:pt x="185072" y="88907"/>
                    </a:lnTo>
                    <a:lnTo>
                      <a:pt x="182090" y="78921"/>
                    </a:lnTo>
                    <a:lnTo>
                      <a:pt x="181315" y="73742"/>
                    </a:lnTo>
                    <a:lnTo>
                      <a:pt x="181754" y="71210"/>
                    </a:lnTo>
                    <a:lnTo>
                      <a:pt x="183334" y="65532"/>
                    </a:lnTo>
                    <a:lnTo>
                      <a:pt x="182839" y="64445"/>
                    </a:lnTo>
                    <a:lnTo>
                      <a:pt x="181736" y="63006"/>
                    </a:lnTo>
                    <a:lnTo>
                      <a:pt x="181449" y="59566"/>
                    </a:lnTo>
                    <a:lnTo>
                      <a:pt x="181762" y="55624"/>
                    </a:lnTo>
                    <a:lnTo>
                      <a:pt x="182431" y="52727"/>
                    </a:lnTo>
                    <a:lnTo>
                      <a:pt x="184141" y="48458"/>
                    </a:lnTo>
                    <a:lnTo>
                      <a:pt x="186234" y="44736"/>
                    </a:lnTo>
                    <a:close/>
                    <a:moveTo>
                      <a:pt x="235008" y="0"/>
                    </a:moveTo>
                    <a:lnTo>
                      <a:pt x="236300" y="1784"/>
                    </a:lnTo>
                    <a:lnTo>
                      <a:pt x="237412" y="2270"/>
                    </a:lnTo>
                    <a:lnTo>
                      <a:pt x="240075" y="2432"/>
                    </a:lnTo>
                    <a:lnTo>
                      <a:pt x="242483" y="3412"/>
                    </a:lnTo>
                    <a:lnTo>
                      <a:pt x="244595" y="5165"/>
                    </a:lnTo>
                    <a:lnTo>
                      <a:pt x="246195" y="8150"/>
                    </a:lnTo>
                    <a:lnTo>
                      <a:pt x="246975" y="12813"/>
                    </a:lnTo>
                    <a:lnTo>
                      <a:pt x="245480" y="13041"/>
                    </a:lnTo>
                    <a:lnTo>
                      <a:pt x="241986" y="15367"/>
                    </a:lnTo>
                    <a:lnTo>
                      <a:pt x="245704" y="17509"/>
                    </a:lnTo>
                    <a:lnTo>
                      <a:pt x="247174" y="17778"/>
                    </a:lnTo>
                    <a:lnTo>
                      <a:pt x="244497" y="21145"/>
                    </a:lnTo>
                    <a:lnTo>
                      <a:pt x="240859" y="23555"/>
                    </a:lnTo>
                    <a:lnTo>
                      <a:pt x="238596" y="26314"/>
                    </a:lnTo>
                    <a:lnTo>
                      <a:pt x="240046" y="30874"/>
                    </a:lnTo>
                    <a:lnTo>
                      <a:pt x="240158" y="33714"/>
                    </a:lnTo>
                    <a:lnTo>
                      <a:pt x="236482" y="34073"/>
                    </a:lnTo>
                    <a:lnTo>
                      <a:pt x="237779" y="34551"/>
                    </a:lnTo>
                    <a:lnTo>
                      <a:pt x="239033" y="35281"/>
                    </a:lnTo>
                    <a:lnTo>
                      <a:pt x="240260" y="36291"/>
                    </a:lnTo>
                    <a:lnTo>
                      <a:pt x="240373" y="39161"/>
                    </a:lnTo>
                    <a:lnTo>
                      <a:pt x="233004" y="47383"/>
                    </a:lnTo>
                    <a:lnTo>
                      <a:pt x="231736" y="49668"/>
                    </a:lnTo>
                    <a:lnTo>
                      <a:pt x="233225" y="54259"/>
                    </a:lnTo>
                    <a:lnTo>
                      <a:pt x="236039" y="58396"/>
                    </a:lnTo>
                    <a:lnTo>
                      <a:pt x="237489" y="62117"/>
                    </a:lnTo>
                    <a:lnTo>
                      <a:pt x="234896" y="65433"/>
                    </a:lnTo>
                    <a:lnTo>
                      <a:pt x="233076" y="65734"/>
                    </a:lnTo>
                    <a:lnTo>
                      <a:pt x="231488" y="64908"/>
                    </a:lnTo>
                    <a:lnTo>
                      <a:pt x="229992" y="63705"/>
                    </a:lnTo>
                    <a:lnTo>
                      <a:pt x="228410" y="62831"/>
                    </a:lnTo>
                    <a:lnTo>
                      <a:pt x="224718" y="62611"/>
                    </a:lnTo>
                    <a:lnTo>
                      <a:pt x="222005" y="63068"/>
                    </a:lnTo>
                    <a:lnTo>
                      <a:pt x="216396" y="64004"/>
                    </a:lnTo>
                    <a:lnTo>
                      <a:pt x="213462" y="63270"/>
                    </a:lnTo>
                    <a:lnTo>
                      <a:pt x="210409" y="61142"/>
                    </a:lnTo>
                    <a:lnTo>
                      <a:pt x="211176" y="57353"/>
                    </a:lnTo>
                    <a:lnTo>
                      <a:pt x="211302" y="53759"/>
                    </a:lnTo>
                    <a:lnTo>
                      <a:pt x="210832" y="50528"/>
                    </a:lnTo>
                    <a:lnTo>
                      <a:pt x="209918" y="47857"/>
                    </a:lnTo>
                    <a:lnTo>
                      <a:pt x="213304" y="50423"/>
                    </a:lnTo>
                    <a:lnTo>
                      <a:pt x="214194" y="47314"/>
                    </a:lnTo>
                    <a:lnTo>
                      <a:pt x="213511" y="41884"/>
                    </a:lnTo>
                    <a:lnTo>
                      <a:pt x="212093" y="37335"/>
                    </a:lnTo>
                    <a:lnTo>
                      <a:pt x="215172" y="35826"/>
                    </a:lnTo>
                    <a:lnTo>
                      <a:pt x="216763" y="30577"/>
                    </a:lnTo>
                    <a:lnTo>
                      <a:pt x="216539" y="24836"/>
                    </a:lnTo>
                    <a:lnTo>
                      <a:pt x="214063" y="21864"/>
                    </a:lnTo>
                    <a:lnTo>
                      <a:pt x="213957" y="19023"/>
                    </a:lnTo>
                    <a:lnTo>
                      <a:pt x="216837" y="17397"/>
                    </a:lnTo>
                    <a:lnTo>
                      <a:pt x="220223" y="13512"/>
                    </a:lnTo>
                    <a:lnTo>
                      <a:pt x="222595" y="8980"/>
                    </a:lnTo>
                    <a:lnTo>
                      <a:pt x="222368" y="5445"/>
                    </a:lnTo>
                    <a:lnTo>
                      <a:pt x="223994" y="1499"/>
                    </a:lnTo>
                    <a:lnTo>
                      <a:pt x="226114" y="1360"/>
                    </a:lnTo>
                    <a:lnTo>
                      <a:pt x="228045" y="4209"/>
                    </a:lnTo>
                    <a:lnTo>
                      <a:pt x="229019" y="9363"/>
                    </a:lnTo>
                    <a:lnTo>
                      <a:pt x="228408" y="13597"/>
                    </a:lnTo>
                    <a:lnTo>
                      <a:pt x="226668" y="16165"/>
                    </a:lnTo>
                    <a:lnTo>
                      <a:pt x="224609" y="18354"/>
                    </a:lnTo>
                    <a:lnTo>
                      <a:pt x="222983" y="21538"/>
                    </a:lnTo>
                    <a:lnTo>
                      <a:pt x="223526" y="22636"/>
                    </a:lnTo>
                    <a:lnTo>
                      <a:pt x="225761" y="21435"/>
                    </a:lnTo>
                    <a:lnTo>
                      <a:pt x="228321" y="19211"/>
                    </a:lnTo>
                    <a:lnTo>
                      <a:pt x="229890" y="17131"/>
                    </a:lnTo>
                    <a:lnTo>
                      <a:pt x="233326" y="296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5" name="Freeform 189">
                <a:extLst>
                  <a:ext uri="{FF2B5EF4-FFF2-40B4-BE49-F238E27FC236}">
                    <a16:creationId xmlns:a16="http://schemas.microsoft.com/office/drawing/2014/main" id="{8264C1F3-BCE8-D037-2A25-2FA2A20F8A7C}"/>
                  </a:ext>
                </a:extLst>
              </p:cNvPr>
              <p:cNvSpPr>
                <a:spLocks noChangeAspect="1"/>
              </p:cNvSpPr>
              <p:nvPr>
                <p:custDataLst>
                  <p:tags r:id="rId126"/>
                </p:custDataLst>
              </p:nvPr>
            </p:nvSpPr>
            <p:spPr>
              <a:xfrm>
                <a:off x="5114410" y="5225746"/>
                <a:ext cx="228248" cy="166209"/>
              </a:xfrm>
              <a:custGeom>
                <a:avLst/>
                <a:gdLst/>
                <a:ahLst/>
                <a:cxnLst/>
                <a:rect l="0" t="0" r="0" b="0"/>
                <a:pathLst>
                  <a:path w="234349" h="170652">
                    <a:moveTo>
                      <a:pt x="196589" y="9576"/>
                    </a:moveTo>
                    <a:lnTo>
                      <a:pt x="206781" y="6450"/>
                    </a:lnTo>
                    <a:lnTo>
                      <a:pt x="212343" y="8516"/>
                    </a:lnTo>
                    <a:lnTo>
                      <a:pt x="225110" y="7409"/>
                    </a:lnTo>
                    <a:lnTo>
                      <a:pt x="230236" y="7417"/>
                    </a:lnTo>
                    <a:lnTo>
                      <a:pt x="234348" y="16603"/>
                    </a:lnTo>
                    <a:lnTo>
                      <a:pt x="229710" y="17244"/>
                    </a:lnTo>
                    <a:lnTo>
                      <a:pt x="229325" y="21947"/>
                    </a:lnTo>
                    <a:lnTo>
                      <a:pt x="225907" y="24266"/>
                    </a:lnTo>
                    <a:lnTo>
                      <a:pt x="220865" y="25221"/>
                    </a:lnTo>
                    <a:lnTo>
                      <a:pt x="219233" y="30279"/>
                    </a:lnTo>
                    <a:lnTo>
                      <a:pt x="224971" y="32868"/>
                    </a:lnTo>
                    <a:lnTo>
                      <a:pt x="226552" y="37929"/>
                    </a:lnTo>
                    <a:lnTo>
                      <a:pt x="229890" y="38063"/>
                    </a:lnTo>
                    <a:lnTo>
                      <a:pt x="231251" y="40013"/>
                    </a:lnTo>
                    <a:lnTo>
                      <a:pt x="226986" y="47116"/>
                    </a:lnTo>
                    <a:lnTo>
                      <a:pt x="225559" y="51009"/>
                    </a:lnTo>
                    <a:lnTo>
                      <a:pt x="225476" y="62068"/>
                    </a:lnTo>
                    <a:lnTo>
                      <a:pt x="224076" y="66582"/>
                    </a:lnTo>
                    <a:lnTo>
                      <a:pt x="217288" y="67342"/>
                    </a:lnTo>
                    <a:lnTo>
                      <a:pt x="213061" y="62762"/>
                    </a:lnTo>
                    <a:lnTo>
                      <a:pt x="211458" y="62838"/>
                    </a:lnTo>
                    <a:lnTo>
                      <a:pt x="202719" y="72063"/>
                    </a:lnTo>
                    <a:lnTo>
                      <a:pt x="205885" y="79877"/>
                    </a:lnTo>
                    <a:lnTo>
                      <a:pt x="200731" y="88714"/>
                    </a:lnTo>
                    <a:lnTo>
                      <a:pt x="198761" y="98587"/>
                    </a:lnTo>
                    <a:lnTo>
                      <a:pt x="198723" y="102825"/>
                    </a:lnTo>
                    <a:lnTo>
                      <a:pt x="198694" y="105771"/>
                    </a:lnTo>
                    <a:lnTo>
                      <a:pt x="198685" y="107086"/>
                    </a:lnTo>
                    <a:lnTo>
                      <a:pt x="195779" y="106687"/>
                    </a:lnTo>
                    <a:lnTo>
                      <a:pt x="192716" y="102700"/>
                    </a:lnTo>
                    <a:lnTo>
                      <a:pt x="191040" y="102875"/>
                    </a:lnTo>
                    <a:lnTo>
                      <a:pt x="188202" y="105239"/>
                    </a:lnTo>
                    <a:lnTo>
                      <a:pt x="186078" y="110216"/>
                    </a:lnTo>
                    <a:lnTo>
                      <a:pt x="178402" y="109618"/>
                    </a:lnTo>
                    <a:lnTo>
                      <a:pt x="174380" y="112664"/>
                    </a:lnTo>
                    <a:lnTo>
                      <a:pt x="174613" y="116685"/>
                    </a:lnTo>
                    <a:lnTo>
                      <a:pt x="180232" y="126675"/>
                    </a:lnTo>
                    <a:lnTo>
                      <a:pt x="174524" y="130058"/>
                    </a:lnTo>
                    <a:lnTo>
                      <a:pt x="165552" y="126883"/>
                    </a:lnTo>
                    <a:lnTo>
                      <a:pt x="135163" y="139377"/>
                    </a:lnTo>
                    <a:lnTo>
                      <a:pt x="93785" y="141096"/>
                    </a:lnTo>
                    <a:lnTo>
                      <a:pt x="54731" y="155923"/>
                    </a:lnTo>
                    <a:lnTo>
                      <a:pt x="52570" y="155258"/>
                    </a:lnTo>
                    <a:lnTo>
                      <a:pt x="50499" y="153564"/>
                    </a:lnTo>
                    <a:lnTo>
                      <a:pt x="48439" y="152414"/>
                    </a:lnTo>
                    <a:lnTo>
                      <a:pt x="46211" y="153399"/>
                    </a:lnTo>
                    <a:lnTo>
                      <a:pt x="44995" y="156773"/>
                    </a:lnTo>
                    <a:lnTo>
                      <a:pt x="46910" y="163915"/>
                    </a:lnTo>
                    <a:lnTo>
                      <a:pt x="45911" y="167871"/>
                    </a:lnTo>
                    <a:lnTo>
                      <a:pt x="41421" y="170651"/>
                    </a:lnTo>
                    <a:lnTo>
                      <a:pt x="35826" y="169056"/>
                    </a:lnTo>
                    <a:lnTo>
                      <a:pt x="13253" y="155693"/>
                    </a:lnTo>
                    <a:lnTo>
                      <a:pt x="11395" y="153489"/>
                    </a:lnTo>
                    <a:lnTo>
                      <a:pt x="12617" y="149542"/>
                    </a:lnTo>
                    <a:lnTo>
                      <a:pt x="15763" y="146911"/>
                    </a:lnTo>
                    <a:lnTo>
                      <a:pt x="22630" y="143818"/>
                    </a:lnTo>
                    <a:lnTo>
                      <a:pt x="22547" y="141458"/>
                    </a:lnTo>
                    <a:lnTo>
                      <a:pt x="20078" y="139759"/>
                    </a:lnTo>
                    <a:lnTo>
                      <a:pt x="15197" y="135192"/>
                    </a:lnTo>
                    <a:lnTo>
                      <a:pt x="12355" y="133770"/>
                    </a:lnTo>
                    <a:lnTo>
                      <a:pt x="11231" y="135084"/>
                    </a:lnTo>
                    <a:lnTo>
                      <a:pt x="8352" y="136865"/>
                    </a:lnTo>
                    <a:lnTo>
                      <a:pt x="6587" y="136461"/>
                    </a:lnTo>
                    <a:lnTo>
                      <a:pt x="8808" y="131284"/>
                    </a:lnTo>
                    <a:lnTo>
                      <a:pt x="6158" y="129917"/>
                    </a:lnTo>
                    <a:lnTo>
                      <a:pt x="7782" y="126065"/>
                    </a:lnTo>
                    <a:lnTo>
                      <a:pt x="7381" y="120234"/>
                    </a:lnTo>
                    <a:lnTo>
                      <a:pt x="564" y="113147"/>
                    </a:lnTo>
                    <a:lnTo>
                      <a:pt x="0" y="110303"/>
                    </a:lnTo>
                    <a:lnTo>
                      <a:pt x="7053" y="99115"/>
                    </a:lnTo>
                    <a:lnTo>
                      <a:pt x="4752" y="94536"/>
                    </a:lnTo>
                    <a:lnTo>
                      <a:pt x="4544" y="90297"/>
                    </a:lnTo>
                    <a:lnTo>
                      <a:pt x="12971" y="71000"/>
                    </a:lnTo>
                    <a:lnTo>
                      <a:pt x="13287" y="64729"/>
                    </a:lnTo>
                    <a:lnTo>
                      <a:pt x="18981" y="57612"/>
                    </a:lnTo>
                    <a:lnTo>
                      <a:pt x="19641" y="51643"/>
                    </a:lnTo>
                    <a:lnTo>
                      <a:pt x="25425" y="44956"/>
                    </a:lnTo>
                    <a:lnTo>
                      <a:pt x="27517" y="43714"/>
                    </a:lnTo>
                    <a:lnTo>
                      <a:pt x="37287" y="44518"/>
                    </a:lnTo>
                    <a:lnTo>
                      <a:pt x="40208" y="36547"/>
                    </a:lnTo>
                    <a:lnTo>
                      <a:pt x="45155" y="33458"/>
                    </a:lnTo>
                    <a:lnTo>
                      <a:pt x="50719" y="37325"/>
                    </a:lnTo>
                    <a:lnTo>
                      <a:pt x="61161" y="39680"/>
                    </a:lnTo>
                    <a:lnTo>
                      <a:pt x="66858" y="38718"/>
                    </a:lnTo>
                    <a:lnTo>
                      <a:pt x="75692" y="33917"/>
                    </a:lnTo>
                    <a:lnTo>
                      <a:pt x="81817" y="36854"/>
                    </a:lnTo>
                    <a:lnTo>
                      <a:pt x="96239" y="35107"/>
                    </a:lnTo>
                    <a:lnTo>
                      <a:pt x="100952" y="31200"/>
                    </a:lnTo>
                    <a:lnTo>
                      <a:pt x="105338" y="32186"/>
                    </a:lnTo>
                    <a:lnTo>
                      <a:pt x="111788" y="28303"/>
                    </a:lnTo>
                    <a:lnTo>
                      <a:pt x="124951" y="27117"/>
                    </a:lnTo>
                    <a:lnTo>
                      <a:pt x="141188" y="19505"/>
                    </a:lnTo>
                    <a:lnTo>
                      <a:pt x="152949" y="18357"/>
                    </a:lnTo>
                    <a:lnTo>
                      <a:pt x="181083" y="0"/>
                    </a:lnTo>
                    <a:lnTo>
                      <a:pt x="190950" y="3042"/>
                    </a:lnTo>
                    <a:lnTo>
                      <a:pt x="192465" y="838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6" name="Freeform 190">
                <a:extLst>
                  <a:ext uri="{FF2B5EF4-FFF2-40B4-BE49-F238E27FC236}">
                    <a16:creationId xmlns:a16="http://schemas.microsoft.com/office/drawing/2014/main" id="{DC263428-CA14-F2C2-19F5-EA9D5BC4737D}"/>
                  </a:ext>
                </a:extLst>
              </p:cNvPr>
              <p:cNvSpPr>
                <a:spLocks noChangeAspect="1"/>
              </p:cNvSpPr>
              <p:nvPr>
                <p:custDataLst>
                  <p:tags r:id="rId127"/>
                </p:custDataLst>
              </p:nvPr>
            </p:nvSpPr>
            <p:spPr>
              <a:xfrm>
                <a:off x="5014095" y="4680491"/>
                <a:ext cx="220207" cy="251780"/>
              </a:xfrm>
              <a:custGeom>
                <a:avLst/>
                <a:gdLst/>
                <a:ahLst/>
                <a:cxnLst/>
                <a:rect l="0" t="0" r="0" b="0"/>
                <a:pathLst>
                  <a:path w="226094" h="258511">
                    <a:moveTo>
                      <a:pt x="195266" y="28188"/>
                    </a:moveTo>
                    <a:lnTo>
                      <a:pt x="206121" y="26156"/>
                    </a:lnTo>
                    <a:lnTo>
                      <a:pt x="206097" y="28587"/>
                    </a:lnTo>
                    <a:lnTo>
                      <a:pt x="206063" y="32205"/>
                    </a:lnTo>
                    <a:lnTo>
                      <a:pt x="210169" y="36931"/>
                    </a:lnTo>
                    <a:lnTo>
                      <a:pt x="208541" y="46782"/>
                    </a:lnTo>
                    <a:lnTo>
                      <a:pt x="222624" y="54523"/>
                    </a:lnTo>
                    <a:lnTo>
                      <a:pt x="226093" y="67543"/>
                    </a:lnTo>
                    <a:lnTo>
                      <a:pt x="225258" y="70662"/>
                    </a:lnTo>
                    <a:lnTo>
                      <a:pt x="215813" y="84570"/>
                    </a:lnTo>
                    <a:lnTo>
                      <a:pt x="208253" y="91161"/>
                    </a:lnTo>
                    <a:lnTo>
                      <a:pt x="206263" y="96344"/>
                    </a:lnTo>
                    <a:lnTo>
                      <a:pt x="192870" y="103389"/>
                    </a:lnTo>
                    <a:lnTo>
                      <a:pt x="192870" y="109862"/>
                    </a:lnTo>
                    <a:lnTo>
                      <a:pt x="198906" y="119162"/>
                    </a:lnTo>
                    <a:lnTo>
                      <a:pt x="199755" y="124787"/>
                    </a:lnTo>
                    <a:lnTo>
                      <a:pt x="189505" y="127420"/>
                    </a:lnTo>
                    <a:lnTo>
                      <a:pt x="184621" y="135170"/>
                    </a:lnTo>
                    <a:lnTo>
                      <a:pt x="184973" y="143870"/>
                    </a:lnTo>
                    <a:lnTo>
                      <a:pt x="183575" y="148056"/>
                    </a:lnTo>
                    <a:lnTo>
                      <a:pt x="181484" y="149634"/>
                    </a:lnTo>
                    <a:lnTo>
                      <a:pt x="177367" y="148951"/>
                    </a:lnTo>
                    <a:lnTo>
                      <a:pt x="172715" y="143204"/>
                    </a:lnTo>
                    <a:lnTo>
                      <a:pt x="169621" y="142360"/>
                    </a:lnTo>
                    <a:lnTo>
                      <a:pt x="157852" y="145497"/>
                    </a:lnTo>
                    <a:lnTo>
                      <a:pt x="157361" y="148262"/>
                    </a:lnTo>
                    <a:lnTo>
                      <a:pt x="159327" y="153390"/>
                    </a:lnTo>
                    <a:lnTo>
                      <a:pt x="160110" y="161865"/>
                    </a:lnTo>
                    <a:lnTo>
                      <a:pt x="155772" y="171045"/>
                    </a:lnTo>
                    <a:lnTo>
                      <a:pt x="138793" y="183500"/>
                    </a:lnTo>
                    <a:lnTo>
                      <a:pt x="131033" y="183478"/>
                    </a:lnTo>
                    <a:lnTo>
                      <a:pt x="127935" y="189540"/>
                    </a:lnTo>
                    <a:lnTo>
                      <a:pt x="120697" y="187797"/>
                    </a:lnTo>
                    <a:lnTo>
                      <a:pt x="119163" y="190302"/>
                    </a:lnTo>
                    <a:lnTo>
                      <a:pt x="119408" y="193366"/>
                    </a:lnTo>
                    <a:lnTo>
                      <a:pt x="116552" y="197412"/>
                    </a:lnTo>
                    <a:lnTo>
                      <a:pt x="104395" y="202202"/>
                    </a:lnTo>
                    <a:lnTo>
                      <a:pt x="104657" y="206005"/>
                    </a:lnTo>
                    <a:lnTo>
                      <a:pt x="107386" y="207290"/>
                    </a:lnTo>
                    <a:lnTo>
                      <a:pt x="111070" y="213536"/>
                    </a:lnTo>
                    <a:lnTo>
                      <a:pt x="116861" y="218519"/>
                    </a:lnTo>
                    <a:lnTo>
                      <a:pt x="117029" y="221486"/>
                    </a:lnTo>
                    <a:lnTo>
                      <a:pt x="115338" y="222605"/>
                    </a:lnTo>
                    <a:lnTo>
                      <a:pt x="110459" y="223968"/>
                    </a:lnTo>
                    <a:lnTo>
                      <a:pt x="110565" y="230860"/>
                    </a:lnTo>
                    <a:lnTo>
                      <a:pt x="108082" y="233499"/>
                    </a:lnTo>
                    <a:lnTo>
                      <a:pt x="102931" y="238958"/>
                    </a:lnTo>
                    <a:lnTo>
                      <a:pt x="100296" y="239606"/>
                    </a:lnTo>
                    <a:lnTo>
                      <a:pt x="90385" y="219581"/>
                    </a:lnTo>
                    <a:lnTo>
                      <a:pt x="88145" y="218919"/>
                    </a:lnTo>
                    <a:lnTo>
                      <a:pt x="78688" y="223396"/>
                    </a:lnTo>
                    <a:lnTo>
                      <a:pt x="71045" y="223007"/>
                    </a:lnTo>
                    <a:lnTo>
                      <a:pt x="68055" y="227356"/>
                    </a:lnTo>
                    <a:lnTo>
                      <a:pt x="54070" y="231546"/>
                    </a:lnTo>
                    <a:lnTo>
                      <a:pt x="48963" y="235101"/>
                    </a:lnTo>
                    <a:lnTo>
                      <a:pt x="43804" y="241866"/>
                    </a:lnTo>
                    <a:lnTo>
                      <a:pt x="51800" y="244864"/>
                    </a:lnTo>
                    <a:lnTo>
                      <a:pt x="49318" y="246151"/>
                    </a:lnTo>
                    <a:lnTo>
                      <a:pt x="44940" y="252534"/>
                    </a:lnTo>
                    <a:lnTo>
                      <a:pt x="39344" y="253366"/>
                    </a:lnTo>
                    <a:lnTo>
                      <a:pt x="34420" y="257237"/>
                    </a:lnTo>
                    <a:lnTo>
                      <a:pt x="22511" y="256860"/>
                    </a:lnTo>
                    <a:lnTo>
                      <a:pt x="17387" y="258510"/>
                    </a:lnTo>
                    <a:lnTo>
                      <a:pt x="15258" y="257301"/>
                    </a:lnTo>
                    <a:lnTo>
                      <a:pt x="9254" y="238169"/>
                    </a:lnTo>
                    <a:lnTo>
                      <a:pt x="7134" y="234934"/>
                    </a:lnTo>
                    <a:lnTo>
                      <a:pt x="7416" y="222504"/>
                    </a:lnTo>
                    <a:lnTo>
                      <a:pt x="4350" y="220265"/>
                    </a:lnTo>
                    <a:lnTo>
                      <a:pt x="11995" y="216005"/>
                    </a:lnTo>
                    <a:lnTo>
                      <a:pt x="19007" y="214822"/>
                    </a:lnTo>
                    <a:lnTo>
                      <a:pt x="20447" y="212663"/>
                    </a:lnTo>
                    <a:lnTo>
                      <a:pt x="0" y="188263"/>
                    </a:lnTo>
                    <a:lnTo>
                      <a:pt x="762" y="184704"/>
                    </a:lnTo>
                    <a:lnTo>
                      <a:pt x="4030" y="180675"/>
                    </a:lnTo>
                    <a:lnTo>
                      <a:pt x="16619" y="174880"/>
                    </a:lnTo>
                    <a:lnTo>
                      <a:pt x="17284" y="170831"/>
                    </a:lnTo>
                    <a:lnTo>
                      <a:pt x="12429" y="165233"/>
                    </a:lnTo>
                    <a:lnTo>
                      <a:pt x="12216" y="162592"/>
                    </a:lnTo>
                    <a:lnTo>
                      <a:pt x="25473" y="153687"/>
                    </a:lnTo>
                    <a:lnTo>
                      <a:pt x="25014" y="145111"/>
                    </a:lnTo>
                    <a:lnTo>
                      <a:pt x="21321" y="141393"/>
                    </a:lnTo>
                    <a:lnTo>
                      <a:pt x="26158" y="134023"/>
                    </a:lnTo>
                    <a:lnTo>
                      <a:pt x="24807" y="132159"/>
                    </a:lnTo>
                    <a:lnTo>
                      <a:pt x="16907" y="130598"/>
                    </a:lnTo>
                    <a:lnTo>
                      <a:pt x="14984" y="127370"/>
                    </a:lnTo>
                    <a:lnTo>
                      <a:pt x="18658" y="124273"/>
                    </a:lnTo>
                    <a:lnTo>
                      <a:pt x="30720" y="119755"/>
                    </a:lnTo>
                    <a:lnTo>
                      <a:pt x="34306" y="115928"/>
                    </a:lnTo>
                    <a:lnTo>
                      <a:pt x="33706" y="111809"/>
                    </a:lnTo>
                    <a:lnTo>
                      <a:pt x="28929" y="103369"/>
                    </a:lnTo>
                    <a:lnTo>
                      <a:pt x="35942" y="104310"/>
                    </a:lnTo>
                    <a:lnTo>
                      <a:pt x="40881" y="94471"/>
                    </a:lnTo>
                    <a:lnTo>
                      <a:pt x="48455" y="86381"/>
                    </a:lnTo>
                    <a:lnTo>
                      <a:pt x="61633" y="94218"/>
                    </a:lnTo>
                    <a:lnTo>
                      <a:pt x="66593" y="82474"/>
                    </a:lnTo>
                    <a:lnTo>
                      <a:pt x="64069" y="81395"/>
                    </a:lnTo>
                    <a:lnTo>
                      <a:pt x="63122" y="79194"/>
                    </a:lnTo>
                    <a:lnTo>
                      <a:pt x="63793" y="78006"/>
                    </a:lnTo>
                    <a:lnTo>
                      <a:pt x="80033" y="70215"/>
                    </a:lnTo>
                    <a:lnTo>
                      <a:pt x="86006" y="70757"/>
                    </a:lnTo>
                    <a:lnTo>
                      <a:pt x="95442" y="75933"/>
                    </a:lnTo>
                    <a:lnTo>
                      <a:pt x="98484" y="75942"/>
                    </a:lnTo>
                    <a:lnTo>
                      <a:pt x="101577" y="69982"/>
                    </a:lnTo>
                    <a:lnTo>
                      <a:pt x="96243" y="65730"/>
                    </a:lnTo>
                    <a:lnTo>
                      <a:pt x="100868" y="53651"/>
                    </a:lnTo>
                    <a:lnTo>
                      <a:pt x="102815" y="52098"/>
                    </a:lnTo>
                    <a:lnTo>
                      <a:pt x="109997" y="53959"/>
                    </a:lnTo>
                    <a:lnTo>
                      <a:pt x="119822" y="52220"/>
                    </a:lnTo>
                    <a:lnTo>
                      <a:pt x="126445" y="54837"/>
                    </a:lnTo>
                    <a:lnTo>
                      <a:pt x="132579" y="52687"/>
                    </a:lnTo>
                    <a:lnTo>
                      <a:pt x="133609" y="51779"/>
                    </a:lnTo>
                    <a:lnTo>
                      <a:pt x="141029" y="45249"/>
                    </a:lnTo>
                    <a:lnTo>
                      <a:pt x="144279" y="37476"/>
                    </a:lnTo>
                    <a:lnTo>
                      <a:pt x="174584" y="18108"/>
                    </a:lnTo>
                    <a:lnTo>
                      <a:pt x="180313" y="5126"/>
                    </a:lnTo>
                    <a:lnTo>
                      <a:pt x="187076" y="64"/>
                    </a:lnTo>
                    <a:lnTo>
                      <a:pt x="187170" y="0"/>
                    </a:lnTo>
                    <a:lnTo>
                      <a:pt x="191051" y="4245"/>
                    </a:lnTo>
                    <a:lnTo>
                      <a:pt x="193290" y="10208"/>
                    </a:lnTo>
                    <a:lnTo>
                      <a:pt x="192140" y="2597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7" name="Freeform 191">
                <a:extLst>
                  <a:ext uri="{FF2B5EF4-FFF2-40B4-BE49-F238E27FC236}">
                    <a16:creationId xmlns:a16="http://schemas.microsoft.com/office/drawing/2014/main" id="{D87762BE-ACF6-3CC9-696C-84B226DC897C}"/>
                  </a:ext>
                </a:extLst>
              </p:cNvPr>
              <p:cNvSpPr>
                <a:spLocks noChangeAspect="1"/>
              </p:cNvSpPr>
              <p:nvPr>
                <p:custDataLst>
                  <p:tags r:id="rId128"/>
                </p:custDataLst>
              </p:nvPr>
            </p:nvSpPr>
            <p:spPr>
              <a:xfrm>
                <a:off x="4871790" y="4673805"/>
                <a:ext cx="175719" cy="268686"/>
              </a:xfrm>
              <a:custGeom>
                <a:avLst/>
                <a:gdLst/>
                <a:ahLst/>
                <a:cxnLst/>
                <a:rect l="0" t="0" r="0" b="0"/>
                <a:pathLst>
                  <a:path w="180416" h="275868">
                    <a:moveTo>
                      <a:pt x="175038" y="110233"/>
                    </a:moveTo>
                    <a:lnTo>
                      <a:pt x="179815" y="118673"/>
                    </a:lnTo>
                    <a:lnTo>
                      <a:pt x="180415" y="122792"/>
                    </a:lnTo>
                    <a:lnTo>
                      <a:pt x="176829" y="126619"/>
                    </a:lnTo>
                    <a:lnTo>
                      <a:pt x="164767" y="131137"/>
                    </a:lnTo>
                    <a:lnTo>
                      <a:pt x="161093" y="134234"/>
                    </a:lnTo>
                    <a:lnTo>
                      <a:pt x="163016" y="137462"/>
                    </a:lnTo>
                    <a:lnTo>
                      <a:pt x="170916" y="139023"/>
                    </a:lnTo>
                    <a:lnTo>
                      <a:pt x="172267" y="140887"/>
                    </a:lnTo>
                    <a:lnTo>
                      <a:pt x="167430" y="148257"/>
                    </a:lnTo>
                    <a:lnTo>
                      <a:pt x="171123" y="151975"/>
                    </a:lnTo>
                    <a:lnTo>
                      <a:pt x="171582" y="160551"/>
                    </a:lnTo>
                    <a:lnTo>
                      <a:pt x="158325" y="169456"/>
                    </a:lnTo>
                    <a:lnTo>
                      <a:pt x="158538" y="172097"/>
                    </a:lnTo>
                    <a:lnTo>
                      <a:pt x="163393" y="177695"/>
                    </a:lnTo>
                    <a:lnTo>
                      <a:pt x="162728" y="181744"/>
                    </a:lnTo>
                    <a:lnTo>
                      <a:pt x="150139" y="187539"/>
                    </a:lnTo>
                    <a:lnTo>
                      <a:pt x="146871" y="191568"/>
                    </a:lnTo>
                    <a:lnTo>
                      <a:pt x="146109" y="195127"/>
                    </a:lnTo>
                    <a:lnTo>
                      <a:pt x="143300" y="198785"/>
                    </a:lnTo>
                    <a:lnTo>
                      <a:pt x="141680" y="205627"/>
                    </a:lnTo>
                    <a:lnTo>
                      <a:pt x="134300" y="212004"/>
                    </a:lnTo>
                    <a:lnTo>
                      <a:pt x="139733" y="217158"/>
                    </a:lnTo>
                    <a:lnTo>
                      <a:pt x="138269" y="220697"/>
                    </a:lnTo>
                    <a:lnTo>
                      <a:pt x="133217" y="222118"/>
                    </a:lnTo>
                    <a:lnTo>
                      <a:pt x="126460" y="216260"/>
                    </a:lnTo>
                    <a:lnTo>
                      <a:pt x="122077" y="215969"/>
                    </a:lnTo>
                    <a:lnTo>
                      <a:pt x="119424" y="216559"/>
                    </a:lnTo>
                    <a:lnTo>
                      <a:pt x="119837" y="222076"/>
                    </a:lnTo>
                    <a:lnTo>
                      <a:pt x="118884" y="222952"/>
                    </a:lnTo>
                    <a:lnTo>
                      <a:pt x="111932" y="223996"/>
                    </a:lnTo>
                    <a:lnTo>
                      <a:pt x="110933" y="228585"/>
                    </a:lnTo>
                    <a:lnTo>
                      <a:pt x="106339" y="234774"/>
                    </a:lnTo>
                    <a:lnTo>
                      <a:pt x="106413" y="242513"/>
                    </a:lnTo>
                    <a:lnTo>
                      <a:pt x="103588" y="258725"/>
                    </a:lnTo>
                    <a:lnTo>
                      <a:pt x="101725" y="262596"/>
                    </a:lnTo>
                    <a:lnTo>
                      <a:pt x="95292" y="264140"/>
                    </a:lnTo>
                    <a:lnTo>
                      <a:pt x="94463" y="270117"/>
                    </a:lnTo>
                    <a:lnTo>
                      <a:pt x="85911" y="271083"/>
                    </a:lnTo>
                    <a:lnTo>
                      <a:pt x="84331" y="275468"/>
                    </a:lnTo>
                    <a:lnTo>
                      <a:pt x="81844" y="275867"/>
                    </a:lnTo>
                    <a:lnTo>
                      <a:pt x="70132" y="265078"/>
                    </a:lnTo>
                    <a:lnTo>
                      <a:pt x="70211" y="263091"/>
                    </a:lnTo>
                    <a:lnTo>
                      <a:pt x="74281" y="258427"/>
                    </a:lnTo>
                    <a:lnTo>
                      <a:pt x="79195" y="248547"/>
                    </a:lnTo>
                    <a:lnTo>
                      <a:pt x="77068" y="247110"/>
                    </a:lnTo>
                    <a:lnTo>
                      <a:pt x="68616" y="248697"/>
                    </a:lnTo>
                    <a:lnTo>
                      <a:pt x="64532" y="247209"/>
                    </a:lnTo>
                    <a:lnTo>
                      <a:pt x="56645" y="234340"/>
                    </a:lnTo>
                    <a:lnTo>
                      <a:pt x="54305" y="226874"/>
                    </a:lnTo>
                    <a:lnTo>
                      <a:pt x="49308" y="225296"/>
                    </a:lnTo>
                    <a:lnTo>
                      <a:pt x="44273" y="219157"/>
                    </a:lnTo>
                    <a:lnTo>
                      <a:pt x="42919" y="216740"/>
                    </a:lnTo>
                    <a:lnTo>
                      <a:pt x="38642" y="215142"/>
                    </a:lnTo>
                    <a:lnTo>
                      <a:pt x="37161" y="210299"/>
                    </a:lnTo>
                    <a:lnTo>
                      <a:pt x="31122" y="208740"/>
                    </a:lnTo>
                    <a:lnTo>
                      <a:pt x="27279" y="205529"/>
                    </a:lnTo>
                    <a:lnTo>
                      <a:pt x="24528" y="208040"/>
                    </a:lnTo>
                    <a:lnTo>
                      <a:pt x="16345" y="203108"/>
                    </a:lnTo>
                    <a:lnTo>
                      <a:pt x="14104" y="205191"/>
                    </a:lnTo>
                    <a:lnTo>
                      <a:pt x="12809" y="209227"/>
                    </a:lnTo>
                    <a:lnTo>
                      <a:pt x="7325" y="205653"/>
                    </a:lnTo>
                    <a:lnTo>
                      <a:pt x="3486" y="199475"/>
                    </a:lnTo>
                    <a:lnTo>
                      <a:pt x="0" y="197633"/>
                    </a:lnTo>
                    <a:lnTo>
                      <a:pt x="2714" y="193232"/>
                    </a:lnTo>
                    <a:lnTo>
                      <a:pt x="4765" y="185863"/>
                    </a:lnTo>
                    <a:lnTo>
                      <a:pt x="9525" y="179916"/>
                    </a:lnTo>
                    <a:lnTo>
                      <a:pt x="9224" y="172282"/>
                    </a:lnTo>
                    <a:lnTo>
                      <a:pt x="4917" y="161652"/>
                    </a:lnTo>
                    <a:lnTo>
                      <a:pt x="4912" y="158789"/>
                    </a:lnTo>
                    <a:lnTo>
                      <a:pt x="13559" y="155522"/>
                    </a:lnTo>
                    <a:lnTo>
                      <a:pt x="16791" y="146012"/>
                    </a:lnTo>
                    <a:lnTo>
                      <a:pt x="21504" y="141662"/>
                    </a:lnTo>
                    <a:lnTo>
                      <a:pt x="20487" y="136591"/>
                    </a:lnTo>
                    <a:lnTo>
                      <a:pt x="15109" y="131082"/>
                    </a:lnTo>
                    <a:lnTo>
                      <a:pt x="14336" y="128550"/>
                    </a:lnTo>
                    <a:lnTo>
                      <a:pt x="19833" y="121636"/>
                    </a:lnTo>
                    <a:lnTo>
                      <a:pt x="21985" y="116394"/>
                    </a:lnTo>
                    <a:lnTo>
                      <a:pt x="21597" y="113521"/>
                    </a:lnTo>
                    <a:lnTo>
                      <a:pt x="23751" y="114623"/>
                    </a:lnTo>
                    <a:lnTo>
                      <a:pt x="26775" y="116168"/>
                    </a:lnTo>
                    <a:lnTo>
                      <a:pt x="28704" y="121002"/>
                    </a:lnTo>
                    <a:lnTo>
                      <a:pt x="32951" y="125268"/>
                    </a:lnTo>
                    <a:lnTo>
                      <a:pt x="41895" y="130787"/>
                    </a:lnTo>
                    <a:lnTo>
                      <a:pt x="43558" y="126818"/>
                    </a:lnTo>
                    <a:lnTo>
                      <a:pt x="52112" y="123650"/>
                    </a:lnTo>
                    <a:lnTo>
                      <a:pt x="59750" y="128341"/>
                    </a:lnTo>
                    <a:lnTo>
                      <a:pt x="62284" y="125829"/>
                    </a:lnTo>
                    <a:lnTo>
                      <a:pt x="69586" y="124905"/>
                    </a:lnTo>
                    <a:lnTo>
                      <a:pt x="78500" y="120440"/>
                    </a:lnTo>
                    <a:lnTo>
                      <a:pt x="81163" y="115592"/>
                    </a:lnTo>
                    <a:lnTo>
                      <a:pt x="87405" y="116277"/>
                    </a:lnTo>
                    <a:lnTo>
                      <a:pt x="93596" y="122374"/>
                    </a:lnTo>
                    <a:lnTo>
                      <a:pt x="99561" y="117749"/>
                    </a:lnTo>
                    <a:lnTo>
                      <a:pt x="110796" y="118073"/>
                    </a:lnTo>
                    <a:lnTo>
                      <a:pt x="117864" y="111081"/>
                    </a:lnTo>
                    <a:lnTo>
                      <a:pt x="115885" y="93637"/>
                    </a:lnTo>
                    <a:lnTo>
                      <a:pt x="114728" y="91439"/>
                    </a:lnTo>
                    <a:lnTo>
                      <a:pt x="111852" y="90452"/>
                    </a:lnTo>
                    <a:lnTo>
                      <a:pt x="73491" y="89031"/>
                    </a:lnTo>
                    <a:lnTo>
                      <a:pt x="63839" y="96819"/>
                    </a:lnTo>
                    <a:lnTo>
                      <a:pt x="58847" y="91207"/>
                    </a:lnTo>
                    <a:lnTo>
                      <a:pt x="44678" y="69463"/>
                    </a:lnTo>
                    <a:lnTo>
                      <a:pt x="46354" y="64012"/>
                    </a:lnTo>
                    <a:lnTo>
                      <a:pt x="41495" y="55220"/>
                    </a:lnTo>
                    <a:lnTo>
                      <a:pt x="41463" y="50759"/>
                    </a:lnTo>
                    <a:lnTo>
                      <a:pt x="37118" y="44699"/>
                    </a:lnTo>
                    <a:lnTo>
                      <a:pt x="35483" y="39920"/>
                    </a:lnTo>
                    <a:lnTo>
                      <a:pt x="41038" y="38248"/>
                    </a:lnTo>
                    <a:lnTo>
                      <a:pt x="61517" y="39133"/>
                    </a:lnTo>
                    <a:lnTo>
                      <a:pt x="66636" y="37404"/>
                    </a:lnTo>
                    <a:lnTo>
                      <a:pt x="68551" y="34274"/>
                    </a:lnTo>
                    <a:lnTo>
                      <a:pt x="68492" y="26633"/>
                    </a:lnTo>
                    <a:lnTo>
                      <a:pt x="70704" y="19685"/>
                    </a:lnTo>
                    <a:lnTo>
                      <a:pt x="68525" y="15059"/>
                    </a:lnTo>
                    <a:lnTo>
                      <a:pt x="68866" y="13352"/>
                    </a:lnTo>
                    <a:lnTo>
                      <a:pt x="75763" y="8079"/>
                    </a:lnTo>
                    <a:lnTo>
                      <a:pt x="80384" y="0"/>
                    </a:lnTo>
                    <a:lnTo>
                      <a:pt x="91424" y="13196"/>
                    </a:lnTo>
                    <a:lnTo>
                      <a:pt x="90894" y="17654"/>
                    </a:lnTo>
                    <a:lnTo>
                      <a:pt x="85825" y="20989"/>
                    </a:lnTo>
                    <a:lnTo>
                      <a:pt x="89900" y="28840"/>
                    </a:lnTo>
                    <a:lnTo>
                      <a:pt x="89267" y="36501"/>
                    </a:lnTo>
                    <a:lnTo>
                      <a:pt x="95834" y="38772"/>
                    </a:lnTo>
                    <a:lnTo>
                      <a:pt x="101311" y="45516"/>
                    </a:lnTo>
                    <a:lnTo>
                      <a:pt x="119608" y="53083"/>
                    </a:lnTo>
                    <a:lnTo>
                      <a:pt x="122736" y="56588"/>
                    </a:lnTo>
                    <a:lnTo>
                      <a:pt x="124820" y="61623"/>
                    </a:lnTo>
                    <a:lnTo>
                      <a:pt x="149027" y="73549"/>
                    </a:lnTo>
                    <a:lnTo>
                      <a:pt x="161804" y="93542"/>
                    </a:lnTo>
                    <a:lnTo>
                      <a:pt x="168781" y="9725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8" name="Freeform 192">
                <a:extLst>
                  <a:ext uri="{FF2B5EF4-FFF2-40B4-BE49-F238E27FC236}">
                    <a16:creationId xmlns:a16="http://schemas.microsoft.com/office/drawing/2014/main" id="{6251010B-F1DF-7B52-8635-78771DBE674D}"/>
                  </a:ext>
                </a:extLst>
              </p:cNvPr>
              <p:cNvSpPr>
                <a:spLocks noChangeAspect="1"/>
              </p:cNvSpPr>
              <p:nvPr>
                <p:custDataLst>
                  <p:tags r:id="rId129"/>
                </p:custDataLst>
              </p:nvPr>
            </p:nvSpPr>
            <p:spPr>
              <a:xfrm>
                <a:off x="4928955" y="4863852"/>
                <a:ext cx="196004" cy="260966"/>
              </a:xfrm>
              <a:custGeom>
                <a:avLst/>
                <a:gdLst/>
                <a:ahLst/>
                <a:cxnLst/>
                <a:rect l="0" t="0" r="0" b="0"/>
                <a:pathLst>
                  <a:path w="201243" h="267942">
                    <a:moveTo>
                      <a:pt x="104803" y="70247"/>
                    </a:moveTo>
                    <a:lnTo>
                      <a:pt x="109927" y="68597"/>
                    </a:lnTo>
                    <a:lnTo>
                      <a:pt x="121836" y="68974"/>
                    </a:lnTo>
                    <a:lnTo>
                      <a:pt x="126760" y="65103"/>
                    </a:lnTo>
                    <a:lnTo>
                      <a:pt x="132356" y="64271"/>
                    </a:lnTo>
                    <a:lnTo>
                      <a:pt x="136734" y="57888"/>
                    </a:lnTo>
                    <a:lnTo>
                      <a:pt x="139216" y="56601"/>
                    </a:lnTo>
                    <a:lnTo>
                      <a:pt x="151139" y="61084"/>
                    </a:lnTo>
                    <a:lnTo>
                      <a:pt x="152383" y="62455"/>
                    </a:lnTo>
                    <a:lnTo>
                      <a:pt x="147337" y="72075"/>
                    </a:lnTo>
                    <a:lnTo>
                      <a:pt x="145961" y="78067"/>
                    </a:lnTo>
                    <a:lnTo>
                      <a:pt x="148082" y="81077"/>
                    </a:lnTo>
                    <a:lnTo>
                      <a:pt x="154049" y="81193"/>
                    </a:lnTo>
                    <a:lnTo>
                      <a:pt x="154426" y="82662"/>
                    </a:lnTo>
                    <a:lnTo>
                      <a:pt x="147943" y="90632"/>
                    </a:lnTo>
                    <a:lnTo>
                      <a:pt x="146831" y="98953"/>
                    </a:lnTo>
                    <a:lnTo>
                      <a:pt x="148002" y="102529"/>
                    </a:lnTo>
                    <a:lnTo>
                      <a:pt x="151529" y="106125"/>
                    </a:lnTo>
                    <a:lnTo>
                      <a:pt x="151731" y="112271"/>
                    </a:lnTo>
                    <a:lnTo>
                      <a:pt x="155229" y="118958"/>
                    </a:lnTo>
                    <a:lnTo>
                      <a:pt x="155772" y="123384"/>
                    </a:lnTo>
                    <a:lnTo>
                      <a:pt x="150629" y="127072"/>
                    </a:lnTo>
                    <a:lnTo>
                      <a:pt x="139443" y="122029"/>
                    </a:lnTo>
                    <a:lnTo>
                      <a:pt x="137331" y="123579"/>
                    </a:lnTo>
                    <a:lnTo>
                      <a:pt x="136692" y="126149"/>
                    </a:lnTo>
                    <a:lnTo>
                      <a:pt x="140336" y="131224"/>
                    </a:lnTo>
                    <a:lnTo>
                      <a:pt x="141927" y="144227"/>
                    </a:lnTo>
                    <a:lnTo>
                      <a:pt x="148844" y="146556"/>
                    </a:lnTo>
                    <a:lnTo>
                      <a:pt x="152389" y="154713"/>
                    </a:lnTo>
                    <a:lnTo>
                      <a:pt x="158547" y="157597"/>
                    </a:lnTo>
                    <a:lnTo>
                      <a:pt x="163686" y="153908"/>
                    </a:lnTo>
                    <a:lnTo>
                      <a:pt x="170154" y="154851"/>
                    </a:lnTo>
                    <a:lnTo>
                      <a:pt x="176055" y="152099"/>
                    </a:lnTo>
                    <a:lnTo>
                      <a:pt x="188934" y="157590"/>
                    </a:lnTo>
                    <a:lnTo>
                      <a:pt x="195763" y="166590"/>
                    </a:lnTo>
                    <a:lnTo>
                      <a:pt x="197890" y="172559"/>
                    </a:lnTo>
                    <a:lnTo>
                      <a:pt x="196523" y="178770"/>
                    </a:lnTo>
                    <a:lnTo>
                      <a:pt x="198855" y="184947"/>
                    </a:lnTo>
                    <a:lnTo>
                      <a:pt x="198304" y="186351"/>
                    </a:lnTo>
                    <a:lnTo>
                      <a:pt x="189738" y="184525"/>
                    </a:lnTo>
                    <a:lnTo>
                      <a:pt x="187675" y="185664"/>
                    </a:lnTo>
                    <a:lnTo>
                      <a:pt x="186740" y="192818"/>
                    </a:lnTo>
                    <a:lnTo>
                      <a:pt x="183027" y="194321"/>
                    </a:lnTo>
                    <a:lnTo>
                      <a:pt x="185931" y="198149"/>
                    </a:lnTo>
                    <a:lnTo>
                      <a:pt x="182839" y="204204"/>
                    </a:lnTo>
                    <a:lnTo>
                      <a:pt x="185798" y="211329"/>
                    </a:lnTo>
                    <a:lnTo>
                      <a:pt x="189588" y="210345"/>
                    </a:lnTo>
                    <a:lnTo>
                      <a:pt x="191111" y="212306"/>
                    </a:lnTo>
                    <a:lnTo>
                      <a:pt x="190941" y="215176"/>
                    </a:lnTo>
                    <a:lnTo>
                      <a:pt x="187101" y="218502"/>
                    </a:lnTo>
                    <a:lnTo>
                      <a:pt x="186447" y="222663"/>
                    </a:lnTo>
                    <a:lnTo>
                      <a:pt x="197411" y="230834"/>
                    </a:lnTo>
                    <a:lnTo>
                      <a:pt x="198507" y="238400"/>
                    </a:lnTo>
                    <a:lnTo>
                      <a:pt x="199758" y="242166"/>
                    </a:lnTo>
                    <a:lnTo>
                      <a:pt x="200973" y="244166"/>
                    </a:lnTo>
                    <a:lnTo>
                      <a:pt x="201242" y="246221"/>
                    </a:lnTo>
                    <a:lnTo>
                      <a:pt x="199657" y="250100"/>
                    </a:lnTo>
                    <a:lnTo>
                      <a:pt x="198186" y="252563"/>
                    </a:lnTo>
                    <a:lnTo>
                      <a:pt x="193662" y="258354"/>
                    </a:lnTo>
                    <a:lnTo>
                      <a:pt x="187958" y="261085"/>
                    </a:lnTo>
                    <a:lnTo>
                      <a:pt x="180222" y="267143"/>
                    </a:lnTo>
                    <a:lnTo>
                      <a:pt x="174842" y="267941"/>
                    </a:lnTo>
                    <a:lnTo>
                      <a:pt x="170857" y="265708"/>
                    </a:lnTo>
                    <a:lnTo>
                      <a:pt x="161533" y="257276"/>
                    </a:lnTo>
                    <a:lnTo>
                      <a:pt x="157345" y="255482"/>
                    </a:lnTo>
                    <a:lnTo>
                      <a:pt x="152041" y="254947"/>
                    </a:lnTo>
                    <a:lnTo>
                      <a:pt x="146682" y="253051"/>
                    </a:lnTo>
                    <a:lnTo>
                      <a:pt x="141870" y="249930"/>
                    </a:lnTo>
                    <a:lnTo>
                      <a:pt x="138186" y="245685"/>
                    </a:lnTo>
                    <a:lnTo>
                      <a:pt x="135972" y="239643"/>
                    </a:lnTo>
                    <a:lnTo>
                      <a:pt x="127113" y="242800"/>
                    </a:lnTo>
                    <a:lnTo>
                      <a:pt x="122607" y="242410"/>
                    </a:lnTo>
                    <a:lnTo>
                      <a:pt x="116840" y="239194"/>
                    </a:lnTo>
                    <a:lnTo>
                      <a:pt x="107933" y="239804"/>
                    </a:lnTo>
                    <a:lnTo>
                      <a:pt x="101738" y="233820"/>
                    </a:lnTo>
                    <a:lnTo>
                      <a:pt x="97522" y="232141"/>
                    </a:lnTo>
                    <a:lnTo>
                      <a:pt x="94061" y="233518"/>
                    </a:lnTo>
                    <a:lnTo>
                      <a:pt x="90174" y="238521"/>
                    </a:lnTo>
                    <a:lnTo>
                      <a:pt x="83752" y="235737"/>
                    </a:lnTo>
                    <a:lnTo>
                      <a:pt x="78506" y="239296"/>
                    </a:lnTo>
                    <a:lnTo>
                      <a:pt x="71264" y="237903"/>
                    </a:lnTo>
                    <a:lnTo>
                      <a:pt x="64083" y="240969"/>
                    </a:lnTo>
                    <a:lnTo>
                      <a:pt x="54953" y="235811"/>
                    </a:lnTo>
                    <a:lnTo>
                      <a:pt x="43625" y="234735"/>
                    </a:lnTo>
                    <a:lnTo>
                      <a:pt x="35756" y="236741"/>
                    </a:lnTo>
                    <a:lnTo>
                      <a:pt x="34095" y="238809"/>
                    </a:lnTo>
                    <a:lnTo>
                      <a:pt x="31993" y="247700"/>
                    </a:lnTo>
                    <a:lnTo>
                      <a:pt x="27621" y="246727"/>
                    </a:lnTo>
                    <a:lnTo>
                      <a:pt x="16722" y="228544"/>
                    </a:lnTo>
                    <a:lnTo>
                      <a:pt x="11583" y="228869"/>
                    </a:lnTo>
                    <a:lnTo>
                      <a:pt x="9895" y="227114"/>
                    </a:lnTo>
                    <a:lnTo>
                      <a:pt x="9050" y="216839"/>
                    </a:lnTo>
                    <a:lnTo>
                      <a:pt x="13231" y="212381"/>
                    </a:lnTo>
                    <a:lnTo>
                      <a:pt x="14287" y="204397"/>
                    </a:lnTo>
                    <a:lnTo>
                      <a:pt x="7129" y="197468"/>
                    </a:lnTo>
                    <a:lnTo>
                      <a:pt x="6302" y="190380"/>
                    </a:lnTo>
                    <a:lnTo>
                      <a:pt x="7011" y="186728"/>
                    </a:lnTo>
                    <a:lnTo>
                      <a:pt x="15126" y="188383"/>
                    </a:lnTo>
                    <a:lnTo>
                      <a:pt x="16276" y="186084"/>
                    </a:lnTo>
                    <a:lnTo>
                      <a:pt x="15491" y="183555"/>
                    </a:lnTo>
                    <a:lnTo>
                      <a:pt x="8477" y="176731"/>
                    </a:lnTo>
                    <a:lnTo>
                      <a:pt x="7307" y="166582"/>
                    </a:lnTo>
                    <a:lnTo>
                      <a:pt x="4061" y="154765"/>
                    </a:lnTo>
                    <a:lnTo>
                      <a:pt x="0" y="150095"/>
                    </a:lnTo>
                    <a:lnTo>
                      <a:pt x="6894" y="141436"/>
                    </a:lnTo>
                    <a:lnTo>
                      <a:pt x="7143" y="119236"/>
                    </a:lnTo>
                    <a:lnTo>
                      <a:pt x="11146" y="108532"/>
                    </a:lnTo>
                    <a:lnTo>
                      <a:pt x="15827" y="104268"/>
                    </a:lnTo>
                    <a:lnTo>
                      <a:pt x="13640" y="98163"/>
                    </a:lnTo>
                    <a:lnTo>
                      <a:pt x="21295" y="89694"/>
                    </a:lnTo>
                    <a:lnTo>
                      <a:pt x="21281" y="86733"/>
                    </a:lnTo>
                    <a:lnTo>
                      <a:pt x="19718" y="84640"/>
                    </a:lnTo>
                    <a:lnTo>
                      <a:pt x="10639" y="79459"/>
                    </a:lnTo>
                    <a:lnTo>
                      <a:pt x="11439" y="69951"/>
                    </a:lnTo>
                    <a:lnTo>
                      <a:pt x="23151" y="80740"/>
                    </a:lnTo>
                    <a:lnTo>
                      <a:pt x="25638" y="80341"/>
                    </a:lnTo>
                    <a:lnTo>
                      <a:pt x="27218" y="75956"/>
                    </a:lnTo>
                    <a:lnTo>
                      <a:pt x="35770" y="74990"/>
                    </a:lnTo>
                    <a:lnTo>
                      <a:pt x="36599" y="69013"/>
                    </a:lnTo>
                    <a:lnTo>
                      <a:pt x="43032" y="67469"/>
                    </a:lnTo>
                    <a:lnTo>
                      <a:pt x="44895" y="63598"/>
                    </a:lnTo>
                    <a:lnTo>
                      <a:pt x="47720" y="47386"/>
                    </a:lnTo>
                    <a:lnTo>
                      <a:pt x="47646" y="39647"/>
                    </a:lnTo>
                    <a:lnTo>
                      <a:pt x="52240" y="33458"/>
                    </a:lnTo>
                    <a:lnTo>
                      <a:pt x="53239" y="28869"/>
                    </a:lnTo>
                    <a:lnTo>
                      <a:pt x="60191" y="27825"/>
                    </a:lnTo>
                    <a:lnTo>
                      <a:pt x="61144" y="26949"/>
                    </a:lnTo>
                    <a:lnTo>
                      <a:pt x="60731" y="21432"/>
                    </a:lnTo>
                    <a:lnTo>
                      <a:pt x="63384" y="20842"/>
                    </a:lnTo>
                    <a:lnTo>
                      <a:pt x="67767" y="21133"/>
                    </a:lnTo>
                    <a:lnTo>
                      <a:pt x="74524" y="26991"/>
                    </a:lnTo>
                    <a:lnTo>
                      <a:pt x="79576" y="25570"/>
                    </a:lnTo>
                    <a:lnTo>
                      <a:pt x="81040" y="22031"/>
                    </a:lnTo>
                    <a:lnTo>
                      <a:pt x="75607" y="16877"/>
                    </a:lnTo>
                    <a:lnTo>
                      <a:pt x="82987" y="10500"/>
                    </a:lnTo>
                    <a:lnTo>
                      <a:pt x="84607" y="3658"/>
                    </a:lnTo>
                    <a:lnTo>
                      <a:pt x="87416" y="0"/>
                    </a:lnTo>
                    <a:lnTo>
                      <a:pt x="107863" y="24400"/>
                    </a:lnTo>
                    <a:lnTo>
                      <a:pt x="106423" y="26559"/>
                    </a:lnTo>
                    <a:lnTo>
                      <a:pt x="99411" y="27742"/>
                    </a:lnTo>
                    <a:lnTo>
                      <a:pt x="91766" y="32002"/>
                    </a:lnTo>
                    <a:lnTo>
                      <a:pt x="94832" y="34241"/>
                    </a:lnTo>
                    <a:lnTo>
                      <a:pt x="94550" y="46671"/>
                    </a:lnTo>
                    <a:lnTo>
                      <a:pt x="96670" y="49906"/>
                    </a:lnTo>
                    <a:lnTo>
                      <a:pt x="102674" y="6903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699" name="Freeform 193">
                <a:extLst>
                  <a:ext uri="{FF2B5EF4-FFF2-40B4-BE49-F238E27FC236}">
                    <a16:creationId xmlns:a16="http://schemas.microsoft.com/office/drawing/2014/main" id="{1887EA8B-E4E2-C0B0-91E4-9691327A8031}"/>
                  </a:ext>
                </a:extLst>
              </p:cNvPr>
              <p:cNvSpPr>
                <a:spLocks noChangeAspect="1"/>
              </p:cNvSpPr>
              <p:nvPr>
                <p:custDataLst>
                  <p:tags r:id="rId130"/>
                </p:custDataLst>
              </p:nvPr>
            </p:nvSpPr>
            <p:spPr>
              <a:xfrm>
                <a:off x="5210853" y="4945448"/>
                <a:ext cx="33187" cy="35892"/>
              </a:xfrm>
              <a:custGeom>
                <a:avLst/>
                <a:gdLst/>
                <a:ahLst/>
                <a:cxnLst/>
                <a:rect l="0" t="0" r="0" b="0"/>
                <a:pathLst>
                  <a:path w="34074" h="36851">
                    <a:moveTo>
                      <a:pt x="23959" y="36850"/>
                    </a:moveTo>
                    <a:lnTo>
                      <a:pt x="14547" y="30022"/>
                    </a:lnTo>
                    <a:lnTo>
                      <a:pt x="6551" y="28780"/>
                    </a:lnTo>
                    <a:lnTo>
                      <a:pt x="6447" y="28784"/>
                    </a:lnTo>
                    <a:lnTo>
                      <a:pt x="5729" y="27649"/>
                    </a:lnTo>
                    <a:lnTo>
                      <a:pt x="1647" y="21616"/>
                    </a:lnTo>
                    <a:lnTo>
                      <a:pt x="198" y="17528"/>
                    </a:lnTo>
                    <a:lnTo>
                      <a:pt x="0" y="12715"/>
                    </a:lnTo>
                    <a:lnTo>
                      <a:pt x="1053" y="7159"/>
                    </a:lnTo>
                    <a:lnTo>
                      <a:pt x="2610" y="3635"/>
                    </a:lnTo>
                    <a:lnTo>
                      <a:pt x="7284" y="3439"/>
                    </a:lnTo>
                    <a:lnTo>
                      <a:pt x="17030" y="2332"/>
                    </a:lnTo>
                    <a:lnTo>
                      <a:pt x="21181" y="0"/>
                    </a:lnTo>
                    <a:lnTo>
                      <a:pt x="24640" y="5068"/>
                    </a:lnTo>
                    <a:lnTo>
                      <a:pt x="25739" y="10849"/>
                    </a:lnTo>
                    <a:lnTo>
                      <a:pt x="30438" y="14903"/>
                    </a:lnTo>
                    <a:lnTo>
                      <a:pt x="30950" y="20719"/>
                    </a:lnTo>
                    <a:lnTo>
                      <a:pt x="34073" y="26215"/>
                    </a:lnTo>
                    <a:lnTo>
                      <a:pt x="33076" y="29026"/>
                    </a:lnTo>
                    <a:lnTo>
                      <a:pt x="29066" y="31956"/>
                    </a:lnTo>
                    <a:lnTo>
                      <a:pt x="27604" y="3606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0" name="Freeform 194">
                <a:extLst>
                  <a:ext uri="{FF2B5EF4-FFF2-40B4-BE49-F238E27FC236}">
                    <a16:creationId xmlns:a16="http://schemas.microsoft.com/office/drawing/2014/main" id="{93E0A0BE-8A6E-22C8-E518-FA99C64EF6E0}"/>
                  </a:ext>
                </a:extLst>
              </p:cNvPr>
              <p:cNvSpPr>
                <a:spLocks noChangeAspect="1"/>
              </p:cNvSpPr>
              <p:nvPr>
                <p:custDataLst>
                  <p:tags r:id="rId131"/>
                </p:custDataLst>
              </p:nvPr>
            </p:nvSpPr>
            <p:spPr>
              <a:xfrm>
                <a:off x="5211642" y="5059147"/>
                <a:ext cx="29708" cy="60997"/>
              </a:xfrm>
              <a:custGeom>
                <a:avLst/>
                <a:gdLst/>
                <a:ahLst/>
                <a:cxnLst/>
                <a:rect l="0" t="0" r="0" b="0"/>
                <a:pathLst>
                  <a:path w="30502" h="62628">
                    <a:moveTo>
                      <a:pt x="7879" y="2433"/>
                    </a:moveTo>
                    <a:lnTo>
                      <a:pt x="14207" y="467"/>
                    </a:lnTo>
                    <a:lnTo>
                      <a:pt x="21842" y="309"/>
                    </a:lnTo>
                    <a:lnTo>
                      <a:pt x="24686" y="11015"/>
                    </a:lnTo>
                    <a:lnTo>
                      <a:pt x="24877" y="11462"/>
                    </a:lnTo>
                    <a:lnTo>
                      <a:pt x="25064" y="12125"/>
                    </a:lnTo>
                    <a:lnTo>
                      <a:pt x="25267" y="12572"/>
                    </a:lnTo>
                    <a:lnTo>
                      <a:pt x="25455" y="13234"/>
                    </a:lnTo>
                    <a:lnTo>
                      <a:pt x="25652" y="13671"/>
                    </a:lnTo>
                    <a:lnTo>
                      <a:pt x="25828" y="14344"/>
                    </a:lnTo>
                    <a:lnTo>
                      <a:pt x="30268" y="23460"/>
                    </a:lnTo>
                    <a:lnTo>
                      <a:pt x="30501" y="25327"/>
                    </a:lnTo>
                    <a:lnTo>
                      <a:pt x="24591" y="30836"/>
                    </a:lnTo>
                    <a:lnTo>
                      <a:pt x="21868" y="31605"/>
                    </a:lnTo>
                    <a:lnTo>
                      <a:pt x="21704" y="31790"/>
                    </a:lnTo>
                    <a:lnTo>
                      <a:pt x="21577" y="31994"/>
                    </a:lnTo>
                    <a:lnTo>
                      <a:pt x="21513" y="32214"/>
                    </a:lnTo>
                    <a:lnTo>
                      <a:pt x="21491" y="32718"/>
                    </a:lnTo>
                    <a:lnTo>
                      <a:pt x="21519" y="32964"/>
                    </a:lnTo>
                    <a:lnTo>
                      <a:pt x="21579" y="33198"/>
                    </a:lnTo>
                    <a:lnTo>
                      <a:pt x="21680" y="33431"/>
                    </a:lnTo>
                    <a:lnTo>
                      <a:pt x="22078" y="33967"/>
                    </a:lnTo>
                    <a:lnTo>
                      <a:pt x="22466" y="34286"/>
                    </a:lnTo>
                    <a:lnTo>
                      <a:pt x="23448" y="34660"/>
                    </a:lnTo>
                    <a:lnTo>
                      <a:pt x="28504" y="34975"/>
                    </a:lnTo>
                    <a:lnTo>
                      <a:pt x="29493" y="35368"/>
                    </a:lnTo>
                    <a:lnTo>
                      <a:pt x="29856" y="35667"/>
                    </a:lnTo>
                    <a:lnTo>
                      <a:pt x="30012" y="35859"/>
                    </a:lnTo>
                    <a:lnTo>
                      <a:pt x="30375" y="36593"/>
                    </a:lnTo>
                    <a:lnTo>
                      <a:pt x="30422" y="36829"/>
                    </a:lnTo>
                    <a:lnTo>
                      <a:pt x="30404" y="37285"/>
                    </a:lnTo>
                    <a:lnTo>
                      <a:pt x="30023" y="38585"/>
                    </a:lnTo>
                    <a:lnTo>
                      <a:pt x="25470" y="46486"/>
                    </a:lnTo>
                    <a:lnTo>
                      <a:pt x="22779" y="53083"/>
                    </a:lnTo>
                    <a:lnTo>
                      <a:pt x="20541" y="55983"/>
                    </a:lnTo>
                    <a:lnTo>
                      <a:pt x="20005" y="57291"/>
                    </a:lnTo>
                    <a:lnTo>
                      <a:pt x="19953" y="57529"/>
                    </a:lnTo>
                    <a:lnTo>
                      <a:pt x="19932" y="60721"/>
                    </a:lnTo>
                    <a:lnTo>
                      <a:pt x="19868" y="60951"/>
                    </a:lnTo>
                    <a:lnTo>
                      <a:pt x="18958" y="62037"/>
                    </a:lnTo>
                    <a:lnTo>
                      <a:pt x="18089" y="62627"/>
                    </a:lnTo>
                    <a:lnTo>
                      <a:pt x="15501" y="62618"/>
                    </a:lnTo>
                    <a:lnTo>
                      <a:pt x="14503" y="62147"/>
                    </a:lnTo>
                    <a:lnTo>
                      <a:pt x="6757" y="60575"/>
                    </a:lnTo>
                    <a:lnTo>
                      <a:pt x="862" y="53571"/>
                    </a:lnTo>
                    <a:lnTo>
                      <a:pt x="3634" y="47113"/>
                    </a:lnTo>
                    <a:lnTo>
                      <a:pt x="5864" y="25773"/>
                    </a:lnTo>
                    <a:lnTo>
                      <a:pt x="0" y="10349"/>
                    </a:lnTo>
                    <a:lnTo>
                      <a:pt x="1642" y="7683"/>
                    </a:lnTo>
                    <a:lnTo>
                      <a:pt x="2466" y="646"/>
                    </a:lnTo>
                    <a:lnTo>
                      <a:pt x="5140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1" name="Freeform 195">
                <a:extLst>
                  <a:ext uri="{FF2B5EF4-FFF2-40B4-BE49-F238E27FC236}">
                    <a16:creationId xmlns:a16="http://schemas.microsoft.com/office/drawing/2014/main" id="{9413B380-9775-2A1C-8139-9E7A1729FFF9}"/>
                  </a:ext>
                </a:extLst>
              </p:cNvPr>
              <p:cNvSpPr>
                <a:spLocks noChangeAspect="1"/>
              </p:cNvSpPr>
              <p:nvPr>
                <p:custDataLst>
                  <p:tags r:id="rId132"/>
                </p:custDataLst>
              </p:nvPr>
            </p:nvSpPr>
            <p:spPr>
              <a:xfrm>
                <a:off x="5256778" y="5125336"/>
                <a:ext cx="20334" cy="41277"/>
              </a:xfrm>
              <a:custGeom>
                <a:avLst/>
                <a:gdLst/>
                <a:ahLst/>
                <a:cxnLst/>
                <a:rect l="0" t="0" r="0" b="0"/>
                <a:pathLst>
                  <a:path w="20878" h="42380">
                    <a:moveTo>
                      <a:pt x="15430" y="305"/>
                    </a:moveTo>
                    <a:lnTo>
                      <a:pt x="16330" y="2260"/>
                    </a:lnTo>
                    <a:lnTo>
                      <a:pt x="16403" y="2534"/>
                    </a:lnTo>
                    <a:lnTo>
                      <a:pt x="16575" y="5302"/>
                    </a:lnTo>
                    <a:lnTo>
                      <a:pt x="16851" y="6386"/>
                    </a:lnTo>
                    <a:lnTo>
                      <a:pt x="16981" y="7527"/>
                    </a:lnTo>
                    <a:lnTo>
                      <a:pt x="17214" y="8326"/>
                    </a:lnTo>
                    <a:lnTo>
                      <a:pt x="17391" y="10116"/>
                    </a:lnTo>
                    <a:lnTo>
                      <a:pt x="17986" y="12698"/>
                    </a:lnTo>
                    <a:lnTo>
                      <a:pt x="19333" y="15265"/>
                    </a:lnTo>
                    <a:lnTo>
                      <a:pt x="20299" y="16466"/>
                    </a:lnTo>
                    <a:lnTo>
                      <a:pt x="20705" y="17415"/>
                    </a:lnTo>
                    <a:lnTo>
                      <a:pt x="20877" y="18080"/>
                    </a:lnTo>
                    <a:lnTo>
                      <a:pt x="20159" y="18606"/>
                    </a:lnTo>
                    <a:lnTo>
                      <a:pt x="19695" y="18982"/>
                    </a:lnTo>
                    <a:lnTo>
                      <a:pt x="18810" y="19912"/>
                    </a:lnTo>
                    <a:lnTo>
                      <a:pt x="18432" y="20422"/>
                    </a:lnTo>
                    <a:lnTo>
                      <a:pt x="18267" y="20608"/>
                    </a:lnTo>
                    <a:lnTo>
                      <a:pt x="17963" y="20839"/>
                    </a:lnTo>
                    <a:lnTo>
                      <a:pt x="16709" y="22772"/>
                    </a:lnTo>
                    <a:lnTo>
                      <a:pt x="10890" y="27599"/>
                    </a:lnTo>
                    <a:lnTo>
                      <a:pt x="5467" y="40366"/>
                    </a:lnTo>
                    <a:lnTo>
                      <a:pt x="1038" y="42379"/>
                    </a:lnTo>
                    <a:lnTo>
                      <a:pt x="0" y="33614"/>
                    </a:lnTo>
                    <a:lnTo>
                      <a:pt x="3658" y="24522"/>
                    </a:lnTo>
                    <a:lnTo>
                      <a:pt x="1372" y="19327"/>
                    </a:lnTo>
                    <a:lnTo>
                      <a:pt x="2531" y="17003"/>
                    </a:lnTo>
                    <a:lnTo>
                      <a:pt x="2650" y="16495"/>
                    </a:lnTo>
                    <a:lnTo>
                      <a:pt x="3014" y="11075"/>
                    </a:lnTo>
                    <a:lnTo>
                      <a:pt x="2734" y="7441"/>
                    </a:lnTo>
                    <a:lnTo>
                      <a:pt x="1709" y="4553"/>
                    </a:lnTo>
                    <a:lnTo>
                      <a:pt x="1534" y="2920"/>
                    </a:lnTo>
                    <a:lnTo>
                      <a:pt x="1622" y="2542"/>
                    </a:lnTo>
                    <a:lnTo>
                      <a:pt x="1690" y="2400"/>
                    </a:lnTo>
                    <a:lnTo>
                      <a:pt x="1830" y="2216"/>
                    </a:lnTo>
                    <a:lnTo>
                      <a:pt x="2351" y="1868"/>
                    </a:lnTo>
                    <a:lnTo>
                      <a:pt x="2871" y="1775"/>
                    </a:lnTo>
                    <a:lnTo>
                      <a:pt x="3404" y="1850"/>
                    </a:lnTo>
                    <a:lnTo>
                      <a:pt x="6615" y="3960"/>
                    </a:lnTo>
                    <a:lnTo>
                      <a:pt x="7166" y="4005"/>
                    </a:lnTo>
                    <a:lnTo>
                      <a:pt x="10491" y="2938"/>
                    </a:lnTo>
                    <a:lnTo>
                      <a:pt x="13216" y="148"/>
                    </a:lnTo>
                    <a:lnTo>
                      <a:pt x="13876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2" name="Freeform 196">
                <a:extLst>
                  <a:ext uri="{FF2B5EF4-FFF2-40B4-BE49-F238E27FC236}">
                    <a16:creationId xmlns:a16="http://schemas.microsoft.com/office/drawing/2014/main" id="{D2D48212-A318-9D82-BD1C-A853814DCB51}"/>
                  </a:ext>
                </a:extLst>
              </p:cNvPr>
              <p:cNvSpPr>
                <a:spLocks noChangeAspect="1"/>
              </p:cNvSpPr>
              <p:nvPr>
                <p:custDataLst>
                  <p:tags r:id="rId133"/>
                </p:custDataLst>
              </p:nvPr>
            </p:nvSpPr>
            <p:spPr>
              <a:xfrm>
                <a:off x="5136687" y="5111323"/>
                <a:ext cx="211625" cy="153071"/>
              </a:xfrm>
              <a:custGeom>
                <a:avLst/>
                <a:gdLst/>
                <a:ahLst/>
                <a:cxnLst/>
                <a:rect l="0" t="0" r="0" b="0"/>
                <a:pathLst>
                  <a:path w="217282" h="157163">
                    <a:moveTo>
                      <a:pt x="91462" y="8576"/>
                    </a:moveTo>
                    <a:lnTo>
                      <a:pt x="91982" y="14620"/>
                    </a:lnTo>
                    <a:lnTo>
                      <a:pt x="94148" y="17510"/>
                    </a:lnTo>
                    <a:lnTo>
                      <a:pt x="101713" y="19193"/>
                    </a:lnTo>
                    <a:lnTo>
                      <a:pt x="105679" y="23340"/>
                    </a:lnTo>
                    <a:lnTo>
                      <a:pt x="108193" y="23598"/>
                    </a:lnTo>
                    <a:lnTo>
                      <a:pt x="114206" y="28276"/>
                    </a:lnTo>
                    <a:lnTo>
                      <a:pt x="114320" y="28775"/>
                    </a:lnTo>
                    <a:lnTo>
                      <a:pt x="117837" y="28661"/>
                    </a:lnTo>
                    <a:lnTo>
                      <a:pt x="123346" y="30681"/>
                    </a:lnTo>
                    <a:lnTo>
                      <a:pt x="124673" y="33715"/>
                    </a:lnTo>
                    <a:lnTo>
                      <a:pt x="126959" y="38910"/>
                    </a:lnTo>
                    <a:lnTo>
                      <a:pt x="123301" y="48002"/>
                    </a:lnTo>
                    <a:lnTo>
                      <a:pt x="124339" y="56767"/>
                    </a:lnTo>
                    <a:lnTo>
                      <a:pt x="128768" y="54754"/>
                    </a:lnTo>
                    <a:lnTo>
                      <a:pt x="134191" y="41987"/>
                    </a:lnTo>
                    <a:lnTo>
                      <a:pt x="140010" y="37160"/>
                    </a:lnTo>
                    <a:lnTo>
                      <a:pt x="146326" y="44739"/>
                    </a:lnTo>
                    <a:lnTo>
                      <a:pt x="146411" y="54180"/>
                    </a:lnTo>
                    <a:lnTo>
                      <a:pt x="153573" y="49507"/>
                    </a:lnTo>
                    <a:lnTo>
                      <a:pt x="156035" y="49601"/>
                    </a:lnTo>
                    <a:lnTo>
                      <a:pt x="159878" y="56884"/>
                    </a:lnTo>
                    <a:lnTo>
                      <a:pt x="163149" y="63085"/>
                    </a:lnTo>
                    <a:lnTo>
                      <a:pt x="168893" y="68124"/>
                    </a:lnTo>
                    <a:lnTo>
                      <a:pt x="175074" y="66451"/>
                    </a:lnTo>
                    <a:lnTo>
                      <a:pt x="178861" y="59278"/>
                    </a:lnTo>
                    <a:lnTo>
                      <a:pt x="183343" y="57049"/>
                    </a:lnTo>
                    <a:lnTo>
                      <a:pt x="187860" y="57150"/>
                    </a:lnTo>
                    <a:lnTo>
                      <a:pt x="192358" y="51085"/>
                    </a:lnTo>
                    <a:lnTo>
                      <a:pt x="198756" y="51280"/>
                    </a:lnTo>
                    <a:lnTo>
                      <a:pt x="202046" y="54471"/>
                    </a:lnTo>
                    <a:lnTo>
                      <a:pt x="202844" y="55261"/>
                    </a:lnTo>
                    <a:lnTo>
                      <a:pt x="204842" y="66201"/>
                    </a:lnTo>
                    <a:lnTo>
                      <a:pt x="210915" y="63878"/>
                    </a:lnTo>
                    <a:lnTo>
                      <a:pt x="212463" y="65719"/>
                    </a:lnTo>
                    <a:lnTo>
                      <a:pt x="213224" y="74614"/>
                    </a:lnTo>
                    <a:lnTo>
                      <a:pt x="215593" y="83825"/>
                    </a:lnTo>
                    <a:lnTo>
                      <a:pt x="211532" y="96357"/>
                    </a:lnTo>
                    <a:lnTo>
                      <a:pt x="215847" y="106983"/>
                    </a:lnTo>
                    <a:lnTo>
                      <a:pt x="215231" y="112222"/>
                    </a:lnTo>
                    <a:lnTo>
                      <a:pt x="217281" y="124413"/>
                    </a:lnTo>
                    <a:lnTo>
                      <a:pt x="207364" y="124899"/>
                    </a:lnTo>
                    <a:lnTo>
                      <a:pt x="202238" y="124891"/>
                    </a:lnTo>
                    <a:lnTo>
                      <a:pt x="189471" y="125998"/>
                    </a:lnTo>
                    <a:lnTo>
                      <a:pt x="183909" y="123932"/>
                    </a:lnTo>
                    <a:lnTo>
                      <a:pt x="173717" y="127058"/>
                    </a:lnTo>
                    <a:lnTo>
                      <a:pt x="169593" y="125868"/>
                    </a:lnTo>
                    <a:lnTo>
                      <a:pt x="168078" y="120524"/>
                    </a:lnTo>
                    <a:lnTo>
                      <a:pt x="158211" y="117482"/>
                    </a:lnTo>
                    <a:lnTo>
                      <a:pt x="130077" y="135839"/>
                    </a:lnTo>
                    <a:lnTo>
                      <a:pt x="118316" y="136987"/>
                    </a:lnTo>
                    <a:lnTo>
                      <a:pt x="102079" y="144599"/>
                    </a:lnTo>
                    <a:lnTo>
                      <a:pt x="88916" y="145785"/>
                    </a:lnTo>
                    <a:lnTo>
                      <a:pt x="82466" y="149668"/>
                    </a:lnTo>
                    <a:lnTo>
                      <a:pt x="78080" y="148682"/>
                    </a:lnTo>
                    <a:lnTo>
                      <a:pt x="73367" y="152589"/>
                    </a:lnTo>
                    <a:lnTo>
                      <a:pt x="58945" y="154336"/>
                    </a:lnTo>
                    <a:lnTo>
                      <a:pt x="52820" y="151399"/>
                    </a:lnTo>
                    <a:lnTo>
                      <a:pt x="43986" y="156200"/>
                    </a:lnTo>
                    <a:lnTo>
                      <a:pt x="38289" y="157162"/>
                    </a:lnTo>
                    <a:lnTo>
                      <a:pt x="27847" y="154807"/>
                    </a:lnTo>
                    <a:lnTo>
                      <a:pt x="22283" y="150940"/>
                    </a:lnTo>
                    <a:lnTo>
                      <a:pt x="24347" y="144957"/>
                    </a:lnTo>
                    <a:lnTo>
                      <a:pt x="23570" y="142242"/>
                    </a:lnTo>
                    <a:lnTo>
                      <a:pt x="15479" y="137864"/>
                    </a:lnTo>
                    <a:lnTo>
                      <a:pt x="12559" y="129046"/>
                    </a:lnTo>
                    <a:lnTo>
                      <a:pt x="4637" y="127542"/>
                    </a:lnTo>
                    <a:lnTo>
                      <a:pt x="4013" y="115675"/>
                    </a:lnTo>
                    <a:lnTo>
                      <a:pt x="0" y="107745"/>
                    </a:lnTo>
                    <a:lnTo>
                      <a:pt x="2288" y="99188"/>
                    </a:lnTo>
                    <a:lnTo>
                      <a:pt x="5192" y="94933"/>
                    </a:lnTo>
                    <a:lnTo>
                      <a:pt x="9215" y="93925"/>
                    </a:lnTo>
                    <a:lnTo>
                      <a:pt x="21540" y="96337"/>
                    </a:lnTo>
                    <a:lnTo>
                      <a:pt x="25494" y="91505"/>
                    </a:lnTo>
                    <a:lnTo>
                      <a:pt x="26524" y="81611"/>
                    </a:lnTo>
                    <a:lnTo>
                      <a:pt x="25149" y="73268"/>
                    </a:lnTo>
                    <a:lnTo>
                      <a:pt x="16098" y="58422"/>
                    </a:lnTo>
                    <a:lnTo>
                      <a:pt x="26242" y="45613"/>
                    </a:lnTo>
                    <a:lnTo>
                      <a:pt x="31492" y="44246"/>
                    </a:lnTo>
                    <a:lnTo>
                      <a:pt x="40949" y="38031"/>
                    </a:lnTo>
                    <a:lnTo>
                      <a:pt x="50003" y="35560"/>
                    </a:lnTo>
                    <a:lnTo>
                      <a:pt x="54730" y="29317"/>
                    </a:lnTo>
                    <a:lnTo>
                      <a:pt x="56446" y="20547"/>
                    </a:lnTo>
                    <a:lnTo>
                      <a:pt x="59626" y="13031"/>
                    </a:lnTo>
                    <a:lnTo>
                      <a:pt x="70302" y="17180"/>
                    </a:lnTo>
                    <a:lnTo>
                      <a:pt x="73377" y="14861"/>
                    </a:lnTo>
                    <a:lnTo>
                      <a:pt x="72547" y="10757"/>
                    </a:lnTo>
                    <a:lnTo>
                      <a:pt x="74140" y="922"/>
                    </a:lnTo>
                    <a:lnTo>
                      <a:pt x="77821" y="0"/>
                    </a:lnTo>
                    <a:lnTo>
                      <a:pt x="83716" y="700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3" name="Freeform 197">
                <a:extLst>
                  <a:ext uri="{FF2B5EF4-FFF2-40B4-BE49-F238E27FC236}">
                    <a16:creationId xmlns:a16="http://schemas.microsoft.com/office/drawing/2014/main" id="{82D4C69B-4CA9-D119-D945-B9637538D7E1}"/>
                  </a:ext>
                </a:extLst>
              </p:cNvPr>
              <p:cNvSpPr>
                <a:spLocks noChangeAspect="1"/>
              </p:cNvSpPr>
              <p:nvPr>
                <p:custDataLst>
                  <p:tags r:id="rId134"/>
                </p:custDataLst>
              </p:nvPr>
            </p:nvSpPr>
            <p:spPr>
              <a:xfrm>
                <a:off x="4900912" y="5044918"/>
                <a:ext cx="60286" cy="82345"/>
              </a:xfrm>
              <a:custGeom>
                <a:avLst/>
                <a:gdLst/>
                <a:ahLst/>
                <a:cxnLst/>
                <a:rect l="0" t="0" r="0" b="0"/>
                <a:pathLst>
                  <a:path w="61898" h="84546">
                    <a:moveTo>
                      <a:pt x="35804" y="822"/>
                    </a:moveTo>
                    <a:lnTo>
                      <a:pt x="35095" y="4474"/>
                    </a:lnTo>
                    <a:lnTo>
                      <a:pt x="35922" y="11562"/>
                    </a:lnTo>
                    <a:lnTo>
                      <a:pt x="43080" y="18491"/>
                    </a:lnTo>
                    <a:lnTo>
                      <a:pt x="42024" y="26475"/>
                    </a:lnTo>
                    <a:lnTo>
                      <a:pt x="37843" y="30933"/>
                    </a:lnTo>
                    <a:lnTo>
                      <a:pt x="38688" y="41208"/>
                    </a:lnTo>
                    <a:lnTo>
                      <a:pt x="40376" y="42963"/>
                    </a:lnTo>
                    <a:lnTo>
                      <a:pt x="45515" y="42638"/>
                    </a:lnTo>
                    <a:lnTo>
                      <a:pt x="56414" y="60821"/>
                    </a:lnTo>
                    <a:lnTo>
                      <a:pt x="60786" y="61794"/>
                    </a:lnTo>
                    <a:lnTo>
                      <a:pt x="61897" y="67254"/>
                    </a:lnTo>
                    <a:lnTo>
                      <a:pt x="57242" y="72173"/>
                    </a:lnTo>
                    <a:lnTo>
                      <a:pt x="49293" y="76364"/>
                    </a:lnTo>
                    <a:lnTo>
                      <a:pt x="40726" y="80883"/>
                    </a:lnTo>
                    <a:lnTo>
                      <a:pt x="34402" y="84356"/>
                    </a:lnTo>
                    <a:lnTo>
                      <a:pt x="26557" y="84545"/>
                    </a:lnTo>
                    <a:lnTo>
                      <a:pt x="19305" y="83710"/>
                    </a:lnTo>
                    <a:lnTo>
                      <a:pt x="13252" y="81207"/>
                    </a:lnTo>
                    <a:lnTo>
                      <a:pt x="7381" y="77374"/>
                    </a:lnTo>
                    <a:lnTo>
                      <a:pt x="1366" y="66888"/>
                    </a:lnTo>
                    <a:lnTo>
                      <a:pt x="0" y="60957"/>
                    </a:lnTo>
                    <a:lnTo>
                      <a:pt x="7" y="52012"/>
                    </a:lnTo>
                    <a:lnTo>
                      <a:pt x="1707" y="44690"/>
                    </a:lnTo>
                    <a:lnTo>
                      <a:pt x="4669" y="38986"/>
                    </a:lnTo>
                    <a:lnTo>
                      <a:pt x="10436" y="29574"/>
                    </a:lnTo>
                    <a:lnTo>
                      <a:pt x="15167" y="20184"/>
                    </a:lnTo>
                    <a:lnTo>
                      <a:pt x="18755" y="15134"/>
                    </a:lnTo>
                    <a:lnTo>
                      <a:pt x="20250" y="8770"/>
                    </a:lnTo>
                    <a:lnTo>
                      <a:pt x="26193" y="7129"/>
                    </a:lnTo>
                    <a:lnTo>
                      <a:pt x="3156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4" name="Freeform 198">
                <a:extLst>
                  <a:ext uri="{FF2B5EF4-FFF2-40B4-BE49-F238E27FC236}">
                    <a16:creationId xmlns:a16="http://schemas.microsoft.com/office/drawing/2014/main" id="{7EB78384-F37A-0D95-D2A2-D5F6325C4804}"/>
                  </a:ext>
                </a:extLst>
              </p:cNvPr>
              <p:cNvSpPr>
                <a:spLocks noChangeAspect="1"/>
              </p:cNvSpPr>
              <p:nvPr>
                <p:custDataLst>
                  <p:tags r:id="rId135"/>
                </p:custDataLst>
              </p:nvPr>
            </p:nvSpPr>
            <p:spPr>
              <a:xfrm>
                <a:off x="4784612" y="5039186"/>
                <a:ext cx="200088" cy="277461"/>
              </a:xfrm>
              <a:custGeom>
                <a:avLst/>
                <a:gdLst/>
                <a:ahLst/>
                <a:cxnLst/>
                <a:rect l="0" t="0" r="0" b="0"/>
                <a:pathLst>
                  <a:path w="205437" h="284878">
                    <a:moveTo>
                      <a:pt x="137630" y="15218"/>
                    </a:moveTo>
                    <a:lnTo>
                      <a:pt x="139658" y="14655"/>
                    </a:lnTo>
                    <a:lnTo>
                      <a:pt x="138163" y="21019"/>
                    </a:lnTo>
                    <a:lnTo>
                      <a:pt x="134575" y="26069"/>
                    </a:lnTo>
                    <a:lnTo>
                      <a:pt x="129844" y="35459"/>
                    </a:lnTo>
                    <a:lnTo>
                      <a:pt x="124077" y="44871"/>
                    </a:lnTo>
                    <a:lnTo>
                      <a:pt x="121115" y="50575"/>
                    </a:lnTo>
                    <a:lnTo>
                      <a:pt x="119415" y="57897"/>
                    </a:lnTo>
                    <a:lnTo>
                      <a:pt x="119408" y="66842"/>
                    </a:lnTo>
                    <a:lnTo>
                      <a:pt x="120774" y="72773"/>
                    </a:lnTo>
                    <a:lnTo>
                      <a:pt x="126789" y="83259"/>
                    </a:lnTo>
                    <a:lnTo>
                      <a:pt x="132660" y="87092"/>
                    </a:lnTo>
                    <a:lnTo>
                      <a:pt x="138713" y="89595"/>
                    </a:lnTo>
                    <a:lnTo>
                      <a:pt x="145965" y="90430"/>
                    </a:lnTo>
                    <a:lnTo>
                      <a:pt x="153810" y="90241"/>
                    </a:lnTo>
                    <a:lnTo>
                      <a:pt x="160134" y="86768"/>
                    </a:lnTo>
                    <a:lnTo>
                      <a:pt x="168701" y="82249"/>
                    </a:lnTo>
                    <a:lnTo>
                      <a:pt x="176650" y="78058"/>
                    </a:lnTo>
                    <a:lnTo>
                      <a:pt x="181305" y="73139"/>
                    </a:lnTo>
                    <a:lnTo>
                      <a:pt x="182402" y="78521"/>
                    </a:lnTo>
                    <a:lnTo>
                      <a:pt x="188816" y="88855"/>
                    </a:lnTo>
                    <a:lnTo>
                      <a:pt x="194207" y="92543"/>
                    </a:lnTo>
                    <a:lnTo>
                      <a:pt x="196103" y="99067"/>
                    </a:lnTo>
                    <a:lnTo>
                      <a:pt x="195990" y="102268"/>
                    </a:lnTo>
                    <a:lnTo>
                      <a:pt x="188577" y="104579"/>
                    </a:lnTo>
                    <a:lnTo>
                      <a:pt x="186261" y="107720"/>
                    </a:lnTo>
                    <a:lnTo>
                      <a:pt x="193751" y="120789"/>
                    </a:lnTo>
                    <a:lnTo>
                      <a:pt x="202280" y="124903"/>
                    </a:lnTo>
                    <a:lnTo>
                      <a:pt x="202676" y="129354"/>
                    </a:lnTo>
                    <a:lnTo>
                      <a:pt x="205436" y="133307"/>
                    </a:lnTo>
                    <a:lnTo>
                      <a:pt x="205275" y="137665"/>
                    </a:lnTo>
                    <a:lnTo>
                      <a:pt x="195820" y="138977"/>
                    </a:lnTo>
                    <a:lnTo>
                      <a:pt x="197692" y="149332"/>
                    </a:lnTo>
                    <a:lnTo>
                      <a:pt x="193385" y="159744"/>
                    </a:lnTo>
                    <a:lnTo>
                      <a:pt x="196334" y="168482"/>
                    </a:lnTo>
                    <a:lnTo>
                      <a:pt x="193887" y="171409"/>
                    </a:lnTo>
                    <a:lnTo>
                      <a:pt x="183866" y="166797"/>
                    </a:lnTo>
                    <a:lnTo>
                      <a:pt x="179059" y="168936"/>
                    </a:lnTo>
                    <a:lnTo>
                      <a:pt x="175669" y="174324"/>
                    </a:lnTo>
                    <a:lnTo>
                      <a:pt x="172514" y="176102"/>
                    </a:lnTo>
                    <a:lnTo>
                      <a:pt x="159909" y="174176"/>
                    </a:lnTo>
                    <a:lnTo>
                      <a:pt x="156137" y="175553"/>
                    </a:lnTo>
                    <a:lnTo>
                      <a:pt x="159090" y="187464"/>
                    </a:lnTo>
                    <a:lnTo>
                      <a:pt x="166657" y="200227"/>
                    </a:lnTo>
                    <a:lnTo>
                      <a:pt x="168591" y="208352"/>
                    </a:lnTo>
                    <a:lnTo>
                      <a:pt x="167610" y="217399"/>
                    </a:lnTo>
                    <a:lnTo>
                      <a:pt x="173429" y="220756"/>
                    </a:lnTo>
                    <a:lnTo>
                      <a:pt x="175175" y="224117"/>
                    </a:lnTo>
                    <a:lnTo>
                      <a:pt x="173122" y="232649"/>
                    </a:lnTo>
                    <a:lnTo>
                      <a:pt x="176093" y="244784"/>
                    </a:lnTo>
                    <a:lnTo>
                      <a:pt x="175879" y="252428"/>
                    </a:lnTo>
                    <a:lnTo>
                      <a:pt x="180568" y="255270"/>
                    </a:lnTo>
                    <a:lnTo>
                      <a:pt x="182119" y="258625"/>
                    </a:lnTo>
                    <a:lnTo>
                      <a:pt x="177694" y="263419"/>
                    </a:lnTo>
                    <a:lnTo>
                      <a:pt x="176390" y="267478"/>
                    </a:lnTo>
                    <a:lnTo>
                      <a:pt x="181775" y="274131"/>
                    </a:lnTo>
                    <a:lnTo>
                      <a:pt x="179334" y="280769"/>
                    </a:lnTo>
                    <a:lnTo>
                      <a:pt x="168717" y="284651"/>
                    </a:lnTo>
                    <a:lnTo>
                      <a:pt x="164868" y="283049"/>
                    </a:lnTo>
                    <a:lnTo>
                      <a:pt x="158126" y="275465"/>
                    </a:lnTo>
                    <a:lnTo>
                      <a:pt x="147864" y="274548"/>
                    </a:lnTo>
                    <a:lnTo>
                      <a:pt x="141508" y="271412"/>
                    </a:lnTo>
                    <a:lnTo>
                      <a:pt x="130837" y="269329"/>
                    </a:lnTo>
                    <a:lnTo>
                      <a:pt x="124272" y="263210"/>
                    </a:lnTo>
                    <a:lnTo>
                      <a:pt x="121952" y="264001"/>
                    </a:lnTo>
                    <a:lnTo>
                      <a:pt x="119520" y="268832"/>
                    </a:lnTo>
                    <a:lnTo>
                      <a:pt x="116916" y="268358"/>
                    </a:lnTo>
                    <a:lnTo>
                      <a:pt x="117776" y="265258"/>
                    </a:lnTo>
                    <a:lnTo>
                      <a:pt x="116755" y="264650"/>
                    </a:lnTo>
                    <a:lnTo>
                      <a:pt x="102971" y="267356"/>
                    </a:lnTo>
                    <a:lnTo>
                      <a:pt x="97377" y="271756"/>
                    </a:lnTo>
                    <a:lnTo>
                      <a:pt x="92468" y="270160"/>
                    </a:lnTo>
                    <a:lnTo>
                      <a:pt x="86366" y="276107"/>
                    </a:lnTo>
                    <a:lnTo>
                      <a:pt x="77447" y="278515"/>
                    </a:lnTo>
                    <a:lnTo>
                      <a:pt x="71380" y="283095"/>
                    </a:lnTo>
                    <a:lnTo>
                      <a:pt x="61716" y="284877"/>
                    </a:lnTo>
                    <a:lnTo>
                      <a:pt x="58173" y="281331"/>
                    </a:lnTo>
                    <a:lnTo>
                      <a:pt x="55725" y="275317"/>
                    </a:lnTo>
                    <a:lnTo>
                      <a:pt x="50679" y="273514"/>
                    </a:lnTo>
                    <a:lnTo>
                      <a:pt x="38273" y="251668"/>
                    </a:lnTo>
                    <a:lnTo>
                      <a:pt x="30920" y="243503"/>
                    </a:lnTo>
                    <a:lnTo>
                      <a:pt x="27420" y="241331"/>
                    </a:lnTo>
                    <a:lnTo>
                      <a:pt x="21274" y="241335"/>
                    </a:lnTo>
                    <a:lnTo>
                      <a:pt x="15487" y="238132"/>
                    </a:lnTo>
                    <a:lnTo>
                      <a:pt x="7396" y="237096"/>
                    </a:lnTo>
                    <a:lnTo>
                      <a:pt x="1125" y="232752"/>
                    </a:lnTo>
                    <a:lnTo>
                      <a:pt x="0" y="228841"/>
                    </a:lnTo>
                    <a:lnTo>
                      <a:pt x="661" y="224055"/>
                    </a:lnTo>
                    <a:lnTo>
                      <a:pt x="19965" y="188952"/>
                    </a:lnTo>
                    <a:lnTo>
                      <a:pt x="23004" y="175203"/>
                    </a:lnTo>
                    <a:lnTo>
                      <a:pt x="26802" y="167717"/>
                    </a:lnTo>
                    <a:lnTo>
                      <a:pt x="25076" y="159683"/>
                    </a:lnTo>
                    <a:lnTo>
                      <a:pt x="18241" y="155759"/>
                    </a:lnTo>
                    <a:lnTo>
                      <a:pt x="17317" y="151649"/>
                    </a:lnTo>
                    <a:lnTo>
                      <a:pt x="19110" y="147909"/>
                    </a:lnTo>
                    <a:lnTo>
                      <a:pt x="15863" y="144023"/>
                    </a:lnTo>
                    <a:lnTo>
                      <a:pt x="13528" y="144712"/>
                    </a:lnTo>
                    <a:lnTo>
                      <a:pt x="11869" y="138887"/>
                    </a:lnTo>
                    <a:lnTo>
                      <a:pt x="4569" y="138152"/>
                    </a:lnTo>
                    <a:lnTo>
                      <a:pt x="3001" y="136479"/>
                    </a:lnTo>
                    <a:lnTo>
                      <a:pt x="15660" y="126528"/>
                    </a:lnTo>
                    <a:lnTo>
                      <a:pt x="13913" y="121345"/>
                    </a:lnTo>
                    <a:lnTo>
                      <a:pt x="16226" y="116323"/>
                    </a:lnTo>
                    <a:lnTo>
                      <a:pt x="15217" y="108256"/>
                    </a:lnTo>
                    <a:lnTo>
                      <a:pt x="13354" y="93245"/>
                    </a:lnTo>
                    <a:lnTo>
                      <a:pt x="14511" y="87383"/>
                    </a:lnTo>
                    <a:lnTo>
                      <a:pt x="13341" y="84973"/>
                    </a:lnTo>
                    <a:lnTo>
                      <a:pt x="7666" y="85578"/>
                    </a:lnTo>
                    <a:lnTo>
                      <a:pt x="5336" y="84134"/>
                    </a:lnTo>
                    <a:lnTo>
                      <a:pt x="6993" y="80287"/>
                    </a:lnTo>
                    <a:lnTo>
                      <a:pt x="14693" y="74017"/>
                    </a:lnTo>
                    <a:lnTo>
                      <a:pt x="23036" y="70582"/>
                    </a:lnTo>
                    <a:lnTo>
                      <a:pt x="18890" y="59724"/>
                    </a:lnTo>
                    <a:lnTo>
                      <a:pt x="18892" y="51877"/>
                    </a:lnTo>
                    <a:lnTo>
                      <a:pt x="16410" y="48305"/>
                    </a:lnTo>
                    <a:lnTo>
                      <a:pt x="23910" y="47432"/>
                    </a:lnTo>
                    <a:lnTo>
                      <a:pt x="35262" y="39914"/>
                    </a:lnTo>
                    <a:lnTo>
                      <a:pt x="45475" y="43147"/>
                    </a:lnTo>
                    <a:lnTo>
                      <a:pt x="56610" y="31157"/>
                    </a:lnTo>
                    <a:lnTo>
                      <a:pt x="66703" y="14193"/>
                    </a:lnTo>
                    <a:lnTo>
                      <a:pt x="83240" y="20864"/>
                    </a:lnTo>
                    <a:lnTo>
                      <a:pt x="88010" y="25129"/>
                    </a:lnTo>
                    <a:lnTo>
                      <a:pt x="92637" y="22901"/>
                    </a:lnTo>
                    <a:lnTo>
                      <a:pt x="92283" y="15170"/>
                    </a:lnTo>
                    <a:lnTo>
                      <a:pt x="94503" y="14057"/>
                    </a:lnTo>
                    <a:lnTo>
                      <a:pt x="105130" y="18174"/>
                    </a:lnTo>
                    <a:lnTo>
                      <a:pt x="110157" y="22210"/>
                    </a:lnTo>
                    <a:lnTo>
                      <a:pt x="111436" y="20059"/>
                    </a:lnTo>
                    <a:lnTo>
                      <a:pt x="107021" y="14006"/>
                    </a:lnTo>
                    <a:lnTo>
                      <a:pt x="106738" y="10182"/>
                    </a:lnTo>
                    <a:lnTo>
                      <a:pt x="111881" y="9754"/>
                    </a:lnTo>
                    <a:lnTo>
                      <a:pt x="119970" y="15950"/>
                    </a:lnTo>
                    <a:lnTo>
                      <a:pt x="123688" y="10872"/>
                    </a:lnTo>
                    <a:lnTo>
                      <a:pt x="124675" y="2142"/>
                    </a:lnTo>
                    <a:lnTo>
                      <a:pt x="125944" y="0"/>
                    </a:lnTo>
                    <a:lnTo>
                      <a:pt x="128411" y="1326"/>
                    </a:lnTo>
                    <a:lnTo>
                      <a:pt x="133090" y="1420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5" name="Freeform 199">
                <a:extLst>
                  <a:ext uri="{FF2B5EF4-FFF2-40B4-BE49-F238E27FC236}">
                    <a16:creationId xmlns:a16="http://schemas.microsoft.com/office/drawing/2014/main" id="{F9BF3AAA-FC72-F8E9-F278-DB7A9790FDAA}"/>
                  </a:ext>
                </a:extLst>
              </p:cNvPr>
              <p:cNvSpPr>
                <a:spLocks noChangeAspect="1"/>
              </p:cNvSpPr>
              <p:nvPr>
                <p:custDataLst>
                  <p:tags r:id="rId136"/>
                </p:custDataLst>
              </p:nvPr>
            </p:nvSpPr>
            <p:spPr>
              <a:xfrm>
                <a:off x="4971771" y="5379928"/>
                <a:ext cx="119356" cy="70769"/>
              </a:xfrm>
              <a:custGeom>
                <a:avLst/>
                <a:gdLst/>
                <a:ahLst/>
                <a:cxnLst/>
                <a:rect l="0" t="0" r="0" b="0"/>
                <a:pathLst>
                  <a:path w="122547" h="72661">
                    <a:moveTo>
                      <a:pt x="117256" y="21220"/>
                    </a:moveTo>
                    <a:lnTo>
                      <a:pt x="122453" y="28883"/>
                    </a:lnTo>
                    <a:lnTo>
                      <a:pt x="122546" y="31757"/>
                    </a:lnTo>
                    <a:lnTo>
                      <a:pt x="121424" y="31809"/>
                    </a:lnTo>
                    <a:lnTo>
                      <a:pt x="120795" y="32499"/>
                    </a:lnTo>
                    <a:lnTo>
                      <a:pt x="120284" y="33479"/>
                    </a:lnTo>
                    <a:lnTo>
                      <a:pt x="119487" y="34439"/>
                    </a:lnTo>
                    <a:lnTo>
                      <a:pt x="110517" y="37439"/>
                    </a:lnTo>
                    <a:lnTo>
                      <a:pt x="106714" y="39475"/>
                    </a:lnTo>
                    <a:lnTo>
                      <a:pt x="100188" y="45671"/>
                    </a:lnTo>
                    <a:lnTo>
                      <a:pt x="98825" y="47549"/>
                    </a:lnTo>
                    <a:lnTo>
                      <a:pt x="98283" y="49493"/>
                    </a:lnTo>
                    <a:lnTo>
                      <a:pt x="98677" y="57721"/>
                    </a:lnTo>
                    <a:lnTo>
                      <a:pt x="98592" y="61982"/>
                    </a:lnTo>
                    <a:lnTo>
                      <a:pt x="97819" y="63826"/>
                    </a:lnTo>
                    <a:lnTo>
                      <a:pt x="71188" y="72660"/>
                    </a:lnTo>
                    <a:lnTo>
                      <a:pt x="62295" y="70376"/>
                    </a:lnTo>
                    <a:lnTo>
                      <a:pt x="30037" y="48783"/>
                    </a:lnTo>
                    <a:lnTo>
                      <a:pt x="28317" y="46485"/>
                    </a:lnTo>
                    <a:lnTo>
                      <a:pt x="20127" y="40960"/>
                    </a:lnTo>
                    <a:lnTo>
                      <a:pt x="17318" y="39901"/>
                    </a:lnTo>
                    <a:lnTo>
                      <a:pt x="8209" y="41265"/>
                    </a:lnTo>
                    <a:lnTo>
                      <a:pt x="4288" y="43002"/>
                    </a:lnTo>
                    <a:lnTo>
                      <a:pt x="0" y="45819"/>
                    </a:lnTo>
                    <a:lnTo>
                      <a:pt x="5580" y="34947"/>
                    </a:lnTo>
                    <a:lnTo>
                      <a:pt x="14901" y="26443"/>
                    </a:lnTo>
                    <a:lnTo>
                      <a:pt x="35744" y="15903"/>
                    </a:lnTo>
                    <a:lnTo>
                      <a:pt x="35247" y="17192"/>
                    </a:lnTo>
                    <a:lnTo>
                      <a:pt x="34698" y="19787"/>
                    </a:lnTo>
                    <a:lnTo>
                      <a:pt x="34273" y="21167"/>
                    </a:lnTo>
                    <a:lnTo>
                      <a:pt x="40180" y="20284"/>
                    </a:lnTo>
                    <a:lnTo>
                      <a:pt x="45691" y="15462"/>
                    </a:lnTo>
                    <a:lnTo>
                      <a:pt x="53636" y="4971"/>
                    </a:lnTo>
                    <a:lnTo>
                      <a:pt x="59554" y="552"/>
                    </a:lnTo>
                    <a:lnTo>
                      <a:pt x="65040" y="0"/>
                    </a:lnTo>
                    <a:lnTo>
                      <a:pt x="102124" y="13894"/>
                    </a:lnTo>
                    <a:lnTo>
                      <a:pt x="108103" y="13545"/>
                    </a:lnTo>
                    <a:lnTo>
                      <a:pt x="110639" y="13975"/>
                    </a:lnTo>
                    <a:lnTo>
                      <a:pt x="113634" y="16131"/>
                    </a:lnTo>
                    <a:lnTo>
                      <a:pt x="113812" y="17089"/>
                    </a:lnTo>
                    <a:lnTo>
                      <a:pt x="113620" y="20314"/>
                    </a:lnTo>
                    <a:lnTo>
                      <a:pt x="113800" y="21334"/>
                    </a:lnTo>
                    <a:lnTo>
                      <a:pt x="114488" y="21576"/>
                    </a:lnTo>
                    <a:lnTo>
                      <a:pt x="116568" y="209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6" name="Freeform 200">
                <a:extLst>
                  <a:ext uri="{FF2B5EF4-FFF2-40B4-BE49-F238E27FC236}">
                    <a16:creationId xmlns:a16="http://schemas.microsoft.com/office/drawing/2014/main" id="{D1AE9E0F-723C-3B56-92D9-8900FAAB3D47}"/>
                  </a:ext>
                </a:extLst>
              </p:cNvPr>
              <p:cNvSpPr>
                <a:spLocks noChangeAspect="1"/>
              </p:cNvSpPr>
              <p:nvPr>
                <p:custDataLst>
                  <p:tags r:id="rId137"/>
                </p:custDataLst>
              </p:nvPr>
            </p:nvSpPr>
            <p:spPr>
              <a:xfrm>
                <a:off x="5080224" y="5346670"/>
                <a:ext cx="38810" cy="28785"/>
              </a:xfrm>
              <a:custGeom>
                <a:avLst/>
                <a:gdLst/>
                <a:ahLst/>
                <a:cxnLst/>
                <a:rect l="l" t="t" r="r" b="b"/>
                <a:pathLst>
                  <a:path w="39847" h="29554">
                    <a:moveTo>
                      <a:pt x="31068" y="10017"/>
                    </a:moveTo>
                    <a:lnTo>
                      <a:pt x="34138" y="10082"/>
                    </a:lnTo>
                    <a:lnTo>
                      <a:pt x="36518" y="12113"/>
                    </a:lnTo>
                    <a:lnTo>
                      <a:pt x="37195" y="14374"/>
                    </a:lnTo>
                    <a:lnTo>
                      <a:pt x="36400" y="16455"/>
                    </a:lnTo>
                    <a:lnTo>
                      <a:pt x="34411" y="18126"/>
                    </a:lnTo>
                    <a:lnTo>
                      <a:pt x="34491" y="20486"/>
                    </a:lnTo>
                    <a:lnTo>
                      <a:pt x="35811" y="21685"/>
                    </a:lnTo>
                    <a:lnTo>
                      <a:pt x="38064" y="24280"/>
                    </a:lnTo>
                    <a:lnTo>
                      <a:pt x="39750" y="25526"/>
                    </a:lnTo>
                    <a:lnTo>
                      <a:pt x="39847" y="28369"/>
                    </a:lnTo>
                    <a:lnTo>
                      <a:pt x="19963" y="26210"/>
                    </a:lnTo>
                    <a:lnTo>
                      <a:pt x="19878" y="23633"/>
                    </a:lnTo>
                    <a:lnTo>
                      <a:pt x="25130" y="21215"/>
                    </a:lnTo>
                    <a:close/>
                    <a:moveTo>
                      <a:pt x="10500" y="0"/>
                    </a:moveTo>
                    <a:lnTo>
                      <a:pt x="17317" y="304"/>
                    </a:lnTo>
                    <a:lnTo>
                      <a:pt x="24532" y="2210"/>
                    </a:lnTo>
                    <a:lnTo>
                      <a:pt x="25471" y="3602"/>
                    </a:lnTo>
                    <a:lnTo>
                      <a:pt x="25466" y="3602"/>
                    </a:lnTo>
                    <a:lnTo>
                      <a:pt x="23777" y="3644"/>
                    </a:lnTo>
                    <a:lnTo>
                      <a:pt x="19265" y="5120"/>
                    </a:lnTo>
                    <a:lnTo>
                      <a:pt x="16395" y="11996"/>
                    </a:lnTo>
                    <a:lnTo>
                      <a:pt x="14505" y="21233"/>
                    </a:lnTo>
                    <a:lnTo>
                      <a:pt x="11458" y="28549"/>
                    </a:lnTo>
                    <a:lnTo>
                      <a:pt x="5073" y="29554"/>
                    </a:lnTo>
                    <a:lnTo>
                      <a:pt x="0" y="24171"/>
                    </a:lnTo>
                    <a:lnTo>
                      <a:pt x="2057" y="17433"/>
                    </a:lnTo>
                    <a:lnTo>
                      <a:pt x="6267" y="10764"/>
                    </a:lnTo>
                    <a:lnTo>
                      <a:pt x="7582" y="5513"/>
                    </a:lnTo>
                    <a:lnTo>
                      <a:pt x="3127" y="3312"/>
                    </a:lnTo>
                    <a:lnTo>
                      <a:pt x="2939" y="3334"/>
                    </a:lnTo>
                    <a:lnTo>
                      <a:pt x="6075" y="14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7" name="Freeform 202">
                <a:extLst>
                  <a:ext uri="{FF2B5EF4-FFF2-40B4-BE49-F238E27FC236}">
                    <a16:creationId xmlns:a16="http://schemas.microsoft.com/office/drawing/2014/main" id="{A584DCB1-9779-E8AC-24C6-147FEC4C4C10}"/>
                  </a:ext>
                </a:extLst>
              </p:cNvPr>
              <p:cNvSpPr>
                <a:spLocks noChangeAspect="1"/>
              </p:cNvSpPr>
              <p:nvPr>
                <p:custDataLst>
                  <p:tags r:id="rId138"/>
                </p:custDataLst>
              </p:nvPr>
            </p:nvSpPr>
            <p:spPr>
              <a:xfrm>
                <a:off x="5196392" y="4667944"/>
                <a:ext cx="100225" cy="59764"/>
              </a:xfrm>
              <a:custGeom>
                <a:avLst/>
                <a:gdLst/>
                <a:ahLst/>
                <a:cxnLst/>
                <a:rect l="0" t="0" r="0" b="0"/>
                <a:pathLst>
                  <a:path w="102904" h="61362">
                    <a:moveTo>
                      <a:pt x="52810" y="6406"/>
                    </a:moveTo>
                    <a:lnTo>
                      <a:pt x="67135" y="2395"/>
                    </a:lnTo>
                    <a:lnTo>
                      <a:pt x="71183" y="7685"/>
                    </a:lnTo>
                    <a:lnTo>
                      <a:pt x="76418" y="6495"/>
                    </a:lnTo>
                    <a:lnTo>
                      <a:pt x="81793" y="8477"/>
                    </a:lnTo>
                    <a:lnTo>
                      <a:pt x="89924" y="2995"/>
                    </a:lnTo>
                    <a:lnTo>
                      <a:pt x="94267" y="3541"/>
                    </a:lnTo>
                    <a:lnTo>
                      <a:pt x="101387" y="0"/>
                    </a:lnTo>
                    <a:lnTo>
                      <a:pt x="101836" y="136"/>
                    </a:lnTo>
                    <a:lnTo>
                      <a:pt x="102545" y="15124"/>
                    </a:lnTo>
                    <a:lnTo>
                      <a:pt x="102903" y="22719"/>
                    </a:lnTo>
                    <a:lnTo>
                      <a:pt x="101932" y="26571"/>
                    </a:lnTo>
                    <a:lnTo>
                      <a:pt x="100069" y="27934"/>
                    </a:lnTo>
                    <a:lnTo>
                      <a:pt x="94327" y="28840"/>
                    </a:lnTo>
                    <a:lnTo>
                      <a:pt x="82128" y="31944"/>
                    </a:lnTo>
                    <a:lnTo>
                      <a:pt x="70154" y="40128"/>
                    </a:lnTo>
                    <a:lnTo>
                      <a:pt x="65238" y="42250"/>
                    </a:lnTo>
                    <a:lnTo>
                      <a:pt x="60172" y="50090"/>
                    </a:lnTo>
                    <a:lnTo>
                      <a:pt x="52752" y="56767"/>
                    </a:lnTo>
                    <a:lnTo>
                      <a:pt x="49471" y="61361"/>
                    </a:lnTo>
                    <a:lnTo>
                      <a:pt x="40175" y="60508"/>
                    </a:lnTo>
                    <a:lnTo>
                      <a:pt x="32901" y="53198"/>
                    </a:lnTo>
                    <a:lnTo>
                      <a:pt x="26825" y="46485"/>
                    </a:lnTo>
                    <a:lnTo>
                      <a:pt x="22760" y="41592"/>
                    </a:lnTo>
                    <a:lnTo>
                      <a:pt x="18927" y="41469"/>
                    </a:lnTo>
                    <a:lnTo>
                      <a:pt x="18951" y="39038"/>
                    </a:lnTo>
                    <a:lnTo>
                      <a:pt x="8096" y="41070"/>
                    </a:lnTo>
                    <a:lnTo>
                      <a:pt x="4970" y="38859"/>
                    </a:lnTo>
                    <a:lnTo>
                      <a:pt x="6120" y="23090"/>
                    </a:lnTo>
                    <a:lnTo>
                      <a:pt x="3881" y="17127"/>
                    </a:lnTo>
                    <a:lnTo>
                      <a:pt x="0" y="12882"/>
                    </a:lnTo>
                    <a:lnTo>
                      <a:pt x="5455" y="10066"/>
                    </a:lnTo>
                    <a:lnTo>
                      <a:pt x="12774" y="12287"/>
                    </a:lnTo>
                    <a:lnTo>
                      <a:pt x="20553" y="11855"/>
                    </a:lnTo>
                    <a:lnTo>
                      <a:pt x="40260" y="7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8" name="Freeform 203">
                <a:extLst>
                  <a:ext uri="{FF2B5EF4-FFF2-40B4-BE49-F238E27FC236}">
                    <a16:creationId xmlns:a16="http://schemas.microsoft.com/office/drawing/2014/main" id="{1B4722E0-02C5-4D0F-5222-D1C0C1A843BF}"/>
                  </a:ext>
                </a:extLst>
              </p:cNvPr>
              <p:cNvSpPr>
                <a:spLocks noChangeAspect="1"/>
              </p:cNvSpPr>
              <p:nvPr>
                <p:custDataLst>
                  <p:tags r:id="rId139"/>
                </p:custDataLst>
              </p:nvPr>
            </p:nvSpPr>
            <p:spPr>
              <a:xfrm>
                <a:off x="5040792" y="4678566"/>
                <a:ext cx="28011" cy="33712"/>
              </a:xfrm>
              <a:custGeom>
                <a:avLst/>
                <a:gdLst/>
                <a:ahLst/>
                <a:cxnLst/>
                <a:rect l="0" t="0" r="0" b="0"/>
                <a:pathLst>
                  <a:path w="28760" h="34613">
                    <a:moveTo>
                      <a:pt x="14307" y="34612"/>
                    </a:moveTo>
                    <a:lnTo>
                      <a:pt x="3663" y="31104"/>
                    </a:lnTo>
                    <a:lnTo>
                      <a:pt x="241" y="14857"/>
                    </a:lnTo>
                    <a:lnTo>
                      <a:pt x="0" y="7182"/>
                    </a:lnTo>
                    <a:lnTo>
                      <a:pt x="4446" y="302"/>
                    </a:lnTo>
                    <a:lnTo>
                      <a:pt x="13774" y="0"/>
                    </a:lnTo>
                    <a:lnTo>
                      <a:pt x="24944" y="2515"/>
                    </a:lnTo>
                    <a:lnTo>
                      <a:pt x="28759" y="12007"/>
                    </a:lnTo>
                    <a:lnTo>
                      <a:pt x="27359" y="2262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09" name="Freeform 204">
                <a:extLst>
                  <a:ext uri="{FF2B5EF4-FFF2-40B4-BE49-F238E27FC236}">
                    <a16:creationId xmlns:a16="http://schemas.microsoft.com/office/drawing/2014/main" id="{9A6DDD07-5D71-7503-F34C-84069B322D40}"/>
                  </a:ext>
                </a:extLst>
              </p:cNvPr>
              <p:cNvSpPr>
                <a:spLocks noChangeAspect="1"/>
              </p:cNvSpPr>
              <p:nvPr>
                <p:custDataLst>
                  <p:tags r:id="rId140"/>
                </p:custDataLst>
              </p:nvPr>
            </p:nvSpPr>
            <p:spPr>
              <a:xfrm>
                <a:off x="5124443" y="4640663"/>
                <a:ext cx="88180" cy="90259"/>
              </a:xfrm>
              <a:custGeom>
                <a:avLst/>
                <a:gdLst/>
                <a:ahLst/>
                <a:cxnLst/>
                <a:rect l="0" t="0" r="0" b="0"/>
                <a:pathLst>
                  <a:path w="90537" h="92672">
                    <a:moveTo>
                      <a:pt x="49814" y="2635"/>
                    </a:moveTo>
                    <a:lnTo>
                      <a:pt x="55378" y="1875"/>
                    </a:lnTo>
                    <a:lnTo>
                      <a:pt x="64227" y="7461"/>
                    </a:lnTo>
                    <a:lnTo>
                      <a:pt x="66974" y="13197"/>
                    </a:lnTo>
                    <a:lnTo>
                      <a:pt x="90536" y="21020"/>
                    </a:lnTo>
                    <a:lnTo>
                      <a:pt x="89560" y="25312"/>
                    </a:lnTo>
                    <a:lnTo>
                      <a:pt x="82968" y="30908"/>
                    </a:lnTo>
                    <a:lnTo>
                      <a:pt x="72586" y="35591"/>
                    </a:lnTo>
                    <a:lnTo>
                      <a:pt x="68434" y="34914"/>
                    </a:lnTo>
                    <a:lnTo>
                      <a:pt x="69564" y="38799"/>
                    </a:lnTo>
                    <a:lnTo>
                      <a:pt x="73872" y="40892"/>
                    </a:lnTo>
                    <a:lnTo>
                      <a:pt x="73778" y="40956"/>
                    </a:lnTo>
                    <a:lnTo>
                      <a:pt x="67015" y="46018"/>
                    </a:lnTo>
                    <a:lnTo>
                      <a:pt x="61286" y="59000"/>
                    </a:lnTo>
                    <a:lnTo>
                      <a:pt x="30981" y="78368"/>
                    </a:lnTo>
                    <a:lnTo>
                      <a:pt x="27731" y="86141"/>
                    </a:lnTo>
                    <a:lnTo>
                      <a:pt x="20311" y="92671"/>
                    </a:lnTo>
                    <a:lnTo>
                      <a:pt x="17363" y="90561"/>
                    </a:lnTo>
                    <a:lnTo>
                      <a:pt x="11811" y="83075"/>
                    </a:lnTo>
                    <a:lnTo>
                      <a:pt x="6092" y="70804"/>
                    </a:lnTo>
                    <a:lnTo>
                      <a:pt x="2748" y="59370"/>
                    </a:lnTo>
                    <a:lnTo>
                      <a:pt x="1808" y="49793"/>
                    </a:lnTo>
                    <a:lnTo>
                      <a:pt x="1314" y="36346"/>
                    </a:lnTo>
                    <a:lnTo>
                      <a:pt x="1654" y="29597"/>
                    </a:lnTo>
                    <a:lnTo>
                      <a:pt x="282" y="23878"/>
                    </a:lnTo>
                    <a:lnTo>
                      <a:pt x="0" y="16204"/>
                    </a:lnTo>
                    <a:lnTo>
                      <a:pt x="5095" y="12160"/>
                    </a:lnTo>
                    <a:lnTo>
                      <a:pt x="17934" y="12641"/>
                    </a:lnTo>
                    <a:lnTo>
                      <a:pt x="28142" y="5508"/>
                    </a:lnTo>
                    <a:lnTo>
                      <a:pt x="35066" y="0"/>
                    </a:lnTo>
                    <a:lnTo>
                      <a:pt x="35263" y="448"/>
                    </a:lnTo>
                    <a:lnTo>
                      <a:pt x="44969" y="3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0" name="Freeform 205">
                <a:extLst>
                  <a:ext uri="{FF2B5EF4-FFF2-40B4-BE49-F238E27FC236}">
                    <a16:creationId xmlns:a16="http://schemas.microsoft.com/office/drawing/2014/main" id="{C0510D54-2FF2-3538-7307-6B81856C3137}"/>
                  </a:ext>
                </a:extLst>
              </p:cNvPr>
              <p:cNvSpPr>
                <a:spLocks noChangeAspect="1"/>
              </p:cNvSpPr>
              <p:nvPr>
                <p:custDataLst>
                  <p:tags r:id="rId141"/>
                </p:custDataLst>
              </p:nvPr>
            </p:nvSpPr>
            <p:spPr>
              <a:xfrm>
                <a:off x="5026472" y="4552726"/>
                <a:ext cx="28053" cy="45723"/>
              </a:xfrm>
              <a:custGeom>
                <a:avLst/>
                <a:gdLst/>
                <a:ahLst/>
                <a:cxnLst/>
                <a:rect l="0" t="0" r="0" b="0"/>
                <a:pathLst>
                  <a:path w="28803" h="46945">
                    <a:moveTo>
                      <a:pt x="13953" y="46944"/>
                    </a:moveTo>
                    <a:lnTo>
                      <a:pt x="7078" y="44446"/>
                    </a:lnTo>
                    <a:lnTo>
                      <a:pt x="4122" y="39502"/>
                    </a:lnTo>
                    <a:lnTo>
                      <a:pt x="108" y="30708"/>
                    </a:lnTo>
                    <a:lnTo>
                      <a:pt x="0" y="19848"/>
                    </a:lnTo>
                    <a:lnTo>
                      <a:pt x="2044" y="10104"/>
                    </a:lnTo>
                    <a:lnTo>
                      <a:pt x="7607" y="1395"/>
                    </a:lnTo>
                    <a:lnTo>
                      <a:pt x="14800" y="0"/>
                    </a:lnTo>
                    <a:lnTo>
                      <a:pt x="20794" y="4843"/>
                    </a:lnTo>
                    <a:lnTo>
                      <a:pt x="25472" y="12454"/>
                    </a:lnTo>
                    <a:lnTo>
                      <a:pt x="28775" y="20484"/>
                    </a:lnTo>
                    <a:lnTo>
                      <a:pt x="28802" y="28622"/>
                    </a:lnTo>
                    <a:lnTo>
                      <a:pt x="20246" y="3898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1" name="Freeform 206">
                <a:extLst>
                  <a:ext uri="{FF2B5EF4-FFF2-40B4-BE49-F238E27FC236}">
                    <a16:creationId xmlns:a16="http://schemas.microsoft.com/office/drawing/2014/main" id="{6EA25959-9C8D-3642-FB8F-725C90FB741A}"/>
                  </a:ext>
                </a:extLst>
              </p:cNvPr>
              <p:cNvSpPr>
                <a:spLocks noChangeAspect="1"/>
              </p:cNvSpPr>
              <p:nvPr>
                <p:custDataLst>
                  <p:tags r:id="rId142"/>
                </p:custDataLst>
              </p:nvPr>
            </p:nvSpPr>
            <p:spPr>
              <a:xfrm>
                <a:off x="5002469" y="4367748"/>
                <a:ext cx="152271" cy="268023"/>
              </a:xfrm>
              <a:custGeom>
                <a:avLst/>
                <a:gdLst/>
                <a:ahLst/>
                <a:cxnLst/>
                <a:rect l="l" t="t" r="r" b="b"/>
                <a:pathLst>
                  <a:path w="156341" h="275188">
                    <a:moveTo>
                      <a:pt x="39446" y="189923"/>
                    </a:moveTo>
                    <a:lnTo>
                      <a:pt x="32253" y="191318"/>
                    </a:lnTo>
                    <a:lnTo>
                      <a:pt x="26690" y="200027"/>
                    </a:lnTo>
                    <a:lnTo>
                      <a:pt x="24646" y="209771"/>
                    </a:lnTo>
                    <a:lnTo>
                      <a:pt x="24754" y="220631"/>
                    </a:lnTo>
                    <a:lnTo>
                      <a:pt x="28768" y="229425"/>
                    </a:lnTo>
                    <a:lnTo>
                      <a:pt x="31724" y="234369"/>
                    </a:lnTo>
                    <a:lnTo>
                      <a:pt x="38599" y="236867"/>
                    </a:lnTo>
                    <a:lnTo>
                      <a:pt x="44892" y="228911"/>
                    </a:lnTo>
                    <a:lnTo>
                      <a:pt x="53448" y="218545"/>
                    </a:lnTo>
                    <a:lnTo>
                      <a:pt x="53421" y="210407"/>
                    </a:lnTo>
                    <a:lnTo>
                      <a:pt x="50118" y="202377"/>
                    </a:lnTo>
                    <a:lnTo>
                      <a:pt x="45440" y="194766"/>
                    </a:lnTo>
                    <a:close/>
                    <a:moveTo>
                      <a:pt x="88328" y="0"/>
                    </a:moveTo>
                    <a:lnTo>
                      <a:pt x="95023" y="5925"/>
                    </a:lnTo>
                    <a:lnTo>
                      <a:pt x="95018" y="7604"/>
                    </a:lnTo>
                    <a:lnTo>
                      <a:pt x="90817" y="10206"/>
                    </a:lnTo>
                    <a:lnTo>
                      <a:pt x="91989" y="11232"/>
                    </a:lnTo>
                    <a:lnTo>
                      <a:pt x="116593" y="12404"/>
                    </a:lnTo>
                    <a:lnTo>
                      <a:pt x="115776" y="17197"/>
                    </a:lnTo>
                    <a:lnTo>
                      <a:pt x="116580" y="21257"/>
                    </a:lnTo>
                    <a:lnTo>
                      <a:pt x="118952" y="24883"/>
                    </a:lnTo>
                    <a:lnTo>
                      <a:pt x="122244" y="31695"/>
                    </a:lnTo>
                    <a:lnTo>
                      <a:pt x="122560" y="33698"/>
                    </a:lnTo>
                    <a:lnTo>
                      <a:pt x="122328" y="35841"/>
                    </a:lnTo>
                    <a:lnTo>
                      <a:pt x="121463" y="39984"/>
                    </a:lnTo>
                    <a:lnTo>
                      <a:pt x="121730" y="42543"/>
                    </a:lnTo>
                    <a:lnTo>
                      <a:pt x="122980" y="43820"/>
                    </a:lnTo>
                    <a:lnTo>
                      <a:pt x="124507" y="44770"/>
                    </a:lnTo>
                    <a:lnTo>
                      <a:pt x="125635" y="46388"/>
                    </a:lnTo>
                    <a:lnTo>
                      <a:pt x="129722" y="58443"/>
                    </a:lnTo>
                    <a:lnTo>
                      <a:pt x="130330" y="61434"/>
                    </a:lnTo>
                    <a:lnTo>
                      <a:pt x="129705" y="65678"/>
                    </a:lnTo>
                    <a:lnTo>
                      <a:pt x="125626" y="78459"/>
                    </a:lnTo>
                    <a:lnTo>
                      <a:pt x="124389" y="95509"/>
                    </a:lnTo>
                    <a:lnTo>
                      <a:pt x="136482" y="96895"/>
                    </a:lnTo>
                    <a:lnTo>
                      <a:pt x="140694" y="92268"/>
                    </a:lnTo>
                    <a:lnTo>
                      <a:pt x="146525" y="91824"/>
                    </a:lnTo>
                    <a:lnTo>
                      <a:pt x="151761" y="95551"/>
                    </a:lnTo>
                    <a:lnTo>
                      <a:pt x="154365" y="90882"/>
                    </a:lnTo>
                    <a:lnTo>
                      <a:pt x="155724" y="91461"/>
                    </a:lnTo>
                    <a:lnTo>
                      <a:pt x="156341" y="94085"/>
                    </a:lnTo>
                    <a:lnTo>
                      <a:pt x="152092" y="100853"/>
                    </a:lnTo>
                    <a:lnTo>
                      <a:pt x="150459" y="106331"/>
                    </a:lnTo>
                    <a:lnTo>
                      <a:pt x="144098" y="106362"/>
                    </a:lnTo>
                    <a:lnTo>
                      <a:pt x="141010" y="110415"/>
                    </a:lnTo>
                    <a:lnTo>
                      <a:pt x="135451" y="111360"/>
                    </a:lnTo>
                    <a:lnTo>
                      <a:pt x="132507" y="119456"/>
                    </a:lnTo>
                    <a:lnTo>
                      <a:pt x="133066" y="122518"/>
                    </a:lnTo>
                    <a:lnTo>
                      <a:pt x="134169" y="122999"/>
                    </a:lnTo>
                    <a:lnTo>
                      <a:pt x="141555" y="123140"/>
                    </a:lnTo>
                    <a:lnTo>
                      <a:pt x="140770" y="130817"/>
                    </a:lnTo>
                    <a:lnTo>
                      <a:pt x="141927" y="139388"/>
                    </a:lnTo>
                    <a:lnTo>
                      <a:pt x="140471" y="143040"/>
                    </a:lnTo>
                    <a:lnTo>
                      <a:pt x="143183" y="147402"/>
                    </a:lnTo>
                    <a:lnTo>
                      <a:pt x="141349" y="152670"/>
                    </a:lnTo>
                    <a:lnTo>
                      <a:pt x="145228" y="157420"/>
                    </a:lnTo>
                    <a:lnTo>
                      <a:pt x="147190" y="165188"/>
                    </a:lnTo>
                    <a:lnTo>
                      <a:pt x="135840" y="170734"/>
                    </a:lnTo>
                    <a:lnTo>
                      <a:pt x="131947" y="177669"/>
                    </a:lnTo>
                    <a:lnTo>
                      <a:pt x="126504" y="182658"/>
                    </a:lnTo>
                    <a:lnTo>
                      <a:pt x="125639" y="190129"/>
                    </a:lnTo>
                    <a:lnTo>
                      <a:pt x="130528" y="199677"/>
                    </a:lnTo>
                    <a:lnTo>
                      <a:pt x="124833" y="201313"/>
                    </a:lnTo>
                    <a:lnTo>
                      <a:pt x="118668" y="207706"/>
                    </a:lnTo>
                    <a:lnTo>
                      <a:pt x="118458" y="212379"/>
                    </a:lnTo>
                    <a:lnTo>
                      <a:pt x="112359" y="226414"/>
                    </a:lnTo>
                    <a:lnTo>
                      <a:pt x="102023" y="236667"/>
                    </a:lnTo>
                    <a:lnTo>
                      <a:pt x="95436" y="238808"/>
                    </a:lnTo>
                    <a:lnTo>
                      <a:pt x="94767" y="239791"/>
                    </a:lnTo>
                    <a:lnTo>
                      <a:pt x="95733" y="243688"/>
                    </a:lnTo>
                    <a:lnTo>
                      <a:pt x="91205" y="249893"/>
                    </a:lnTo>
                    <a:lnTo>
                      <a:pt x="85790" y="253166"/>
                    </a:lnTo>
                    <a:lnTo>
                      <a:pt x="85063" y="258080"/>
                    </a:lnTo>
                    <a:lnTo>
                      <a:pt x="83590" y="260039"/>
                    </a:lnTo>
                    <a:lnTo>
                      <a:pt x="66847" y="262113"/>
                    </a:lnTo>
                    <a:lnTo>
                      <a:pt x="62566" y="259275"/>
                    </a:lnTo>
                    <a:lnTo>
                      <a:pt x="55757" y="260883"/>
                    </a:lnTo>
                    <a:lnTo>
                      <a:pt x="48199" y="267294"/>
                    </a:lnTo>
                    <a:lnTo>
                      <a:pt x="40696" y="269769"/>
                    </a:lnTo>
                    <a:lnTo>
                      <a:pt x="35829" y="275188"/>
                    </a:lnTo>
                    <a:lnTo>
                      <a:pt x="27116" y="273271"/>
                    </a:lnTo>
                    <a:lnTo>
                      <a:pt x="18978" y="265454"/>
                    </a:lnTo>
                    <a:lnTo>
                      <a:pt x="16826" y="257875"/>
                    </a:lnTo>
                    <a:lnTo>
                      <a:pt x="17551" y="241616"/>
                    </a:lnTo>
                    <a:lnTo>
                      <a:pt x="21615" y="240305"/>
                    </a:lnTo>
                    <a:lnTo>
                      <a:pt x="24287" y="234099"/>
                    </a:lnTo>
                    <a:lnTo>
                      <a:pt x="15209" y="227446"/>
                    </a:lnTo>
                    <a:lnTo>
                      <a:pt x="15350" y="219689"/>
                    </a:lnTo>
                    <a:lnTo>
                      <a:pt x="12035" y="209488"/>
                    </a:lnTo>
                    <a:lnTo>
                      <a:pt x="11258" y="194340"/>
                    </a:lnTo>
                    <a:lnTo>
                      <a:pt x="2330" y="184200"/>
                    </a:lnTo>
                    <a:lnTo>
                      <a:pt x="1970" y="176457"/>
                    </a:lnTo>
                    <a:lnTo>
                      <a:pt x="0" y="170047"/>
                    </a:lnTo>
                    <a:lnTo>
                      <a:pt x="1812" y="164680"/>
                    </a:lnTo>
                    <a:lnTo>
                      <a:pt x="6481" y="160608"/>
                    </a:lnTo>
                    <a:lnTo>
                      <a:pt x="8289" y="156939"/>
                    </a:lnTo>
                    <a:lnTo>
                      <a:pt x="2964" y="139064"/>
                    </a:lnTo>
                    <a:lnTo>
                      <a:pt x="3535" y="134563"/>
                    </a:lnTo>
                    <a:lnTo>
                      <a:pt x="11047" y="129988"/>
                    </a:lnTo>
                    <a:lnTo>
                      <a:pt x="18521" y="130708"/>
                    </a:lnTo>
                    <a:lnTo>
                      <a:pt x="21566" y="126483"/>
                    </a:lnTo>
                    <a:lnTo>
                      <a:pt x="30473" y="124189"/>
                    </a:lnTo>
                    <a:lnTo>
                      <a:pt x="30999" y="122473"/>
                    </a:lnTo>
                    <a:lnTo>
                      <a:pt x="29304" y="117331"/>
                    </a:lnTo>
                    <a:lnTo>
                      <a:pt x="30294" y="108153"/>
                    </a:lnTo>
                    <a:lnTo>
                      <a:pt x="28556" y="99496"/>
                    </a:lnTo>
                    <a:lnTo>
                      <a:pt x="30208" y="95630"/>
                    </a:lnTo>
                    <a:lnTo>
                      <a:pt x="34187" y="92846"/>
                    </a:lnTo>
                    <a:lnTo>
                      <a:pt x="36328" y="87887"/>
                    </a:lnTo>
                    <a:lnTo>
                      <a:pt x="35237" y="83676"/>
                    </a:lnTo>
                    <a:lnTo>
                      <a:pt x="36041" y="78868"/>
                    </a:lnTo>
                    <a:lnTo>
                      <a:pt x="32362" y="76261"/>
                    </a:lnTo>
                    <a:lnTo>
                      <a:pt x="34458" y="71067"/>
                    </a:lnTo>
                    <a:lnTo>
                      <a:pt x="41318" y="63406"/>
                    </a:lnTo>
                    <a:lnTo>
                      <a:pt x="38955" y="58920"/>
                    </a:lnTo>
                    <a:lnTo>
                      <a:pt x="44251" y="55773"/>
                    </a:lnTo>
                    <a:lnTo>
                      <a:pt x="45751" y="51684"/>
                    </a:lnTo>
                    <a:lnTo>
                      <a:pt x="44530" y="43130"/>
                    </a:lnTo>
                    <a:lnTo>
                      <a:pt x="51178" y="33664"/>
                    </a:lnTo>
                    <a:lnTo>
                      <a:pt x="55860" y="29577"/>
                    </a:lnTo>
                    <a:lnTo>
                      <a:pt x="64325" y="28974"/>
                    </a:lnTo>
                    <a:lnTo>
                      <a:pt x="68061" y="30980"/>
                    </a:lnTo>
                    <a:lnTo>
                      <a:pt x="69911" y="29424"/>
                    </a:lnTo>
                    <a:lnTo>
                      <a:pt x="75811" y="20735"/>
                    </a:lnTo>
                    <a:lnTo>
                      <a:pt x="77197" y="974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2" name="Freeform 208">
                <a:extLst>
                  <a:ext uri="{FF2B5EF4-FFF2-40B4-BE49-F238E27FC236}">
                    <a16:creationId xmlns:a16="http://schemas.microsoft.com/office/drawing/2014/main" id="{16129D5D-92CC-0E56-6287-B0076164BD9C}"/>
                  </a:ext>
                </a:extLst>
              </p:cNvPr>
              <p:cNvSpPr>
                <a:spLocks noChangeAspect="1"/>
              </p:cNvSpPr>
              <p:nvPr>
                <p:custDataLst>
                  <p:tags r:id="rId143"/>
                </p:custDataLst>
              </p:nvPr>
            </p:nvSpPr>
            <p:spPr>
              <a:xfrm>
                <a:off x="5304438" y="5071124"/>
                <a:ext cx="19557" cy="21628"/>
              </a:xfrm>
              <a:custGeom>
                <a:avLst/>
                <a:gdLst/>
                <a:ahLst/>
                <a:cxnLst/>
                <a:rect l="0" t="0" r="0" b="0"/>
                <a:pathLst>
                  <a:path w="20080" h="22206">
                    <a:moveTo>
                      <a:pt x="13543" y="5384"/>
                    </a:moveTo>
                    <a:lnTo>
                      <a:pt x="16642" y="4879"/>
                    </a:lnTo>
                    <a:lnTo>
                      <a:pt x="17423" y="5147"/>
                    </a:lnTo>
                    <a:lnTo>
                      <a:pt x="19961" y="7604"/>
                    </a:lnTo>
                    <a:lnTo>
                      <a:pt x="20079" y="9575"/>
                    </a:lnTo>
                    <a:lnTo>
                      <a:pt x="20077" y="10573"/>
                    </a:lnTo>
                    <a:lnTo>
                      <a:pt x="20030" y="11021"/>
                    </a:lnTo>
                    <a:lnTo>
                      <a:pt x="17415" y="12807"/>
                    </a:lnTo>
                    <a:lnTo>
                      <a:pt x="16031" y="14632"/>
                    </a:lnTo>
                    <a:lnTo>
                      <a:pt x="15136" y="15357"/>
                    </a:lnTo>
                    <a:lnTo>
                      <a:pt x="14031" y="15785"/>
                    </a:lnTo>
                    <a:lnTo>
                      <a:pt x="10042" y="15986"/>
                    </a:lnTo>
                    <a:lnTo>
                      <a:pt x="9142" y="16859"/>
                    </a:lnTo>
                    <a:lnTo>
                      <a:pt x="7429" y="17850"/>
                    </a:lnTo>
                    <a:lnTo>
                      <a:pt x="7117" y="18142"/>
                    </a:lnTo>
                    <a:lnTo>
                      <a:pt x="6949" y="18506"/>
                    </a:lnTo>
                    <a:lnTo>
                      <a:pt x="6752" y="20747"/>
                    </a:lnTo>
                    <a:lnTo>
                      <a:pt x="6032" y="22205"/>
                    </a:lnTo>
                    <a:lnTo>
                      <a:pt x="5106" y="20687"/>
                    </a:lnTo>
                    <a:lnTo>
                      <a:pt x="4798" y="19614"/>
                    </a:lnTo>
                    <a:lnTo>
                      <a:pt x="4691" y="19422"/>
                    </a:lnTo>
                    <a:lnTo>
                      <a:pt x="2464" y="18501"/>
                    </a:lnTo>
                    <a:lnTo>
                      <a:pt x="2186" y="18198"/>
                    </a:lnTo>
                    <a:lnTo>
                      <a:pt x="2122" y="18022"/>
                    </a:lnTo>
                    <a:lnTo>
                      <a:pt x="2081" y="17787"/>
                    </a:lnTo>
                    <a:lnTo>
                      <a:pt x="2099" y="17529"/>
                    </a:lnTo>
                    <a:lnTo>
                      <a:pt x="2284" y="16986"/>
                    </a:lnTo>
                    <a:lnTo>
                      <a:pt x="5923" y="11380"/>
                    </a:lnTo>
                    <a:lnTo>
                      <a:pt x="5968" y="11160"/>
                    </a:lnTo>
                    <a:lnTo>
                      <a:pt x="5964" y="10933"/>
                    </a:lnTo>
                    <a:lnTo>
                      <a:pt x="5917" y="10728"/>
                    </a:lnTo>
                    <a:lnTo>
                      <a:pt x="5697" y="10364"/>
                    </a:lnTo>
                    <a:lnTo>
                      <a:pt x="5580" y="10231"/>
                    </a:lnTo>
                    <a:lnTo>
                      <a:pt x="3460" y="9718"/>
                    </a:lnTo>
                    <a:lnTo>
                      <a:pt x="3294" y="9588"/>
                    </a:lnTo>
                    <a:lnTo>
                      <a:pt x="3169" y="9406"/>
                    </a:lnTo>
                    <a:lnTo>
                      <a:pt x="3125" y="9260"/>
                    </a:lnTo>
                    <a:lnTo>
                      <a:pt x="3099" y="9102"/>
                    </a:lnTo>
                    <a:lnTo>
                      <a:pt x="3103" y="8253"/>
                    </a:lnTo>
                    <a:lnTo>
                      <a:pt x="3044" y="8039"/>
                    </a:lnTo>
                    <a:lnTo>
                      <a:pt x="2774" y="7656"/>
                    </a:lnTo>
                    <a:lnTo>
                      <a:pt x="299" y="5698"/>
                    </a:lnTo>
                    <a:lnTo>
                      <a:pt x="117" y="5627"/>
                    </a:lnTo>
                    <a:lnTo>
                      <a:pt x="0" y="5633"/>
                    </a:lnTo>
                    <a:lnTo>
                      <a:pt x="195" y="2522"/>
                    </a:lnTo>
                    <a:lnTo>
                      <a:pt x="317" y="2100"/>
                    </a:lnTo>
                    <a:lnTo>
                      <a:pt x="496" y="1726"/>
                    </a:lnTo>
                    <a:lnTo>
                      <a:pt x="722" y="1419"/>
                    </a:lnTo>
                    <a:lnTo>
                      <a:pt x="1795" y="834"/>
                    </a:lnTo>
                    <a:lnTo>
                      <a:pt x="9591" y="0"/>
                    </a:lnTo>
                    <a:lnTo>
                      <a:pt x="10780" y="3085"/>
                    </a:lnTo>
                    <a:lnTo>
                      <a:pt x="12785" y="508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3" name="Freeform 209">
                <a:extLst>
                  <a:ext uri="{FF2B5EF4-FFF2-40B4-BE49-F238E27FC236}">
                    <a16:creationId xmlns:a16="http://schemas.microsoft.com/office/drawing/2014/main" id="{3884EAA0-6474-84E3-0553-E4E7C4FDDCF4}"/>
                  </a:ext>
                </a:extLst>
              </p:cNvPr>
              <p:cNvSpPr>
                <a:spLocks noChangeAspect="1"/>
              </p:cNvSpPr>
              <p:nvPr>
                <p:custDataLst>
                  <p:tags r:id="rId144"/>
                </p:custDataLst>
              </p:nvPr>
            </p:nvSpPr>
            <p:spPr>
              <a:xfrm>
                <a:off x="5288484" y="5059268"/>
                <a:ext cx="30076" cy="17343"/>
              </a:xfrm>
              <a:custGeom>
                <a:avLst/>
                <a:gdLst/>
                <a:ahLst/>
                <a:cxnLst/>
                <a:rect l="0" t="0" r="0" b="0"/>
                <a:pathLst>
                  <a:path w="30880" h="17807">
                    <a:moveTo>
                      <a:pt x="30879" y="1434"/>
                    </a:moveTo>
                    <a:lnTo>
                      <a:pt x="30191" y="2603"/>
                    </a:lnTo>
                    <a:lnTo>
                      <a:pt x="29968" y="3069"/>
                    </a:lnTo>
                    <a:lnTo>
                      <a:pt x="29387" y="3927"/>
                    </a:lnTo>
                    <a:lnTo>
                      <a:pt x="29011" y="4676"/>
                    </a:lnTo>
                    <a:lnTo>
                      <a:pt x="28885" y="4999"/>
                    </a:lnTo>
                    <a:lnTo>
                      <a:pt x="28301" y="6172"/>
                    </a:lnTo>
                    <a:lnTo>
                      <a:pt x="28169" y="6495"/>
                    </a:lnTo>
                    <a:lnTo>
                      <a:pt x="27943" y="6930"/>
                    </a:lnTo>
                    <a:lnTo>
                      <a:pt x="27811" y="7243"/>
                    </a:lnTo>
                    <a:lnTo>
                      <a:pt x="27586" y="7688"/>
                    </a:lnTo>
                    <a:lnTo>
                      <a:pt x="27253" y="8456"/>
                    </a:lnTo>
                    <a:lnTo>
                      <a:pt x="27093" y="9115"/>
                    </a:lnTo>
                    <a:lnTo>
                      <a:pt x="26900" y="9580"/>
                    </a:lnTo>
                    <a:lnTo>
                      <a:pt x="26723" y="10259"/>
                    </a:lnTo>
                    <a:lnTo>
                      <a:pt x="26512" y="10744"/>
                    </a:lnTo>
                    <a:lnTo>
                      <a:pt x="25971" y="12173"/>
                    </a:lnTo>
                    <a:lnTo>
                      <a:pt x="18175" y="13007"/>
                    </a:lnTo>
                    <a:lnTo>
                      <a:pt x="17102" y="13592"/>
                    </a:lnTo>
                    <a:lnTo>
                      <a:pt x="16876" y="13899"/>
                    </a:lnTo>
                    <a:lnTo>
                      <a:pt x="16697" y="14273"/>
                    </a:lnTo>
                    <a:lnTo>
                      <a:pt x="16575" y="14695"/>
                    </a:lnTo>
                    <a:lnTo>
                      <a:pt x="16380" y="17806"/>
                    </a:lnTo>
                    <a:lnTo>
                      <a:pt x="14454" y="16277"/>
                    </a:lnTo>
                    <a:lnTo>
                      <a:pt x="13138" y="14391"/>
                    </a:lnTo>
                    <a:lnTo>
                      <a:pt x="12773" y="14063"/>
                    </a:lnTo>
                    <a:lnTo>
                      <a:pt x="12229" y="13871"/>
                    </a:lnTo>
                    <a:lnTo>
                      <a:pt x="11426" y="13908"/>
                    </a:lnTo>
                    <a:lnTo>
                      <a:pt x="8120" y="15920"/>
                    </a:lnTo>
                    <a:lnTo>
                      <a:pt x="7569" y="16658"/>
                    </a:lnTo>
                    <a:lnTo>
                      <a:pt x="3264" y="15772"/>
                    </a:lnTo>
                    <a:lnTo>
                      <a:pt x="0" y="16160"/>
                    </a:lnTo>
                    <a:lnTo>
                      <a:pt x="557" y="11639"/>
                    </a:lnTo>
                    <a:lnTo>
                      <a:pt x="621" y="11428"/>
                    </a:lnTo>
                    <a:lnTo>
                      <a:pt x="911" y="11039"/>
                    </a:lnTo>
                    <a:lnTo>
                      <a:pt x="2525" y="10312"/>
                    </a:lnTo>
                    <a:lnTo>
                      <a:pt x="3256" y="9636"/>
                    </a:lnTo>
                    <a:lnTo>
                      <a:pt x="3375" y="9423"/>
                    </a:lnTo>
                    <a:lnTo>
                      <a:pt x="3591" y="8503"/>
                    </a:lnTo>
                    <a:lnTo>
                      <a:pt x="3606" y="8029"/>
                    </a:lnTo>
                    <a:lnTo>
                      <a:pt x="2734" y="4235"/>
                    </a:lnTo>
                    <a:lnTo>
                      <a:pt x="2720" y="4058"/>
                    </a:lnTo>
                    <a:lnTo>
                      <a:pt x="2731" y="3900"/>
                    </a:lnTo>
                    <a:lnTo>
                      <a:pt x="2816" y="3482"/>
                    </a:lnTo>
                    <a:lnTo>
                      <a:pt x="3094" y="2835"/>
                    </a:lnTo>
                    <a:lnTo>
                      <a:pt x="3236" y="2711"/>
                    </a:lnTo>
                    <a:lnTo>
                      <a:pt x="3364" y="2685"/>
                    </a:lnTo>
                    <a:lnTo>
                      <a:pt x="3487" y="2699"/>
                    </a:lnTo>
                    <a:lnTo>
                      <a:pt x="3633" y="2811"/>
                    </a:lnTo>
                    <a:lnTo>
                      <a:pt x="4015" y="3505"/>
                    </a:lnTo>
                    <a:lnTo>
                      <a:pt x="4242" y="4165"/>
                    </a:lnTo>
                    <a:lnTo>
                      <a:pt x="4621" y="4681"/>
                    </a:lnTo>
                    <a:lnTo>
                      <a:pt x="4891" y="4807"/>
                    </a:lnTo>
                    <a:lnTo>
                      <a:pt x="5236" y="4831"/>
                    </a:lnTo>
                    <a:lnTo>
                      <a:pt x="5590" y="4637"/>
                    </a:lnTo>
                    <a:lnTo>
                      <a:pt x="5841" y="4368"/>
                    </a:lnTo>
                    <a:lnTo>
                      <a:pt x="6258" y="3400"/>
                    </a:lnTo>
                    <a:lnTo>
                      <a:pt x="6365" y="1834"/>
                    </a:lnTo>
                    <a:lnTo>
                      <a:pt x="6426" y="1555"/>
                    </a:lnTo>
                    <a:lnTo>
                      <a:pt x="6801" y="628"/>
                    </a:lnTo>
                    <a:lnTo>
                      <a:pt x="6914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4" name="Freeform 210">
                <a:extLst>
                  <a:ext uri="{FF2B5EF4-FFF2-40B4-BE49-F238E27FC236}">
                    <a16:creationId xmlns:a16="http://schemas.microsoft.com/office/drawing/2014/main" id="{226AE6A5-E4A1-4F95-B8B9-2FBC61809580}"/>
                  </a:ext>
                </a:extLst>
              </p:cNvPr>
              <p:cNvSpPr>
                <a:spLocks noChangeAspect="1"/>
              </p:cNvSpPr>
              <p:nvPr>
                <p:custDataLst>
                  <p:tags r:id="rId145"/>
                </p:custDataLst>
              </p:nvPr>
            </p:nvSpPr>
            <p:spPr>
              <a:xfrm>
                <a:off x="5232916" y="5049620"/>
                <a:ext cx="30940" cy="34195"/>
              </a:xfrm>
              <a:custGeom>
                <a:avLst/>
                <a:gdLst/>
                <a:ahLst/>
                <a:cxnLst/>
                <a:rect l="0" t="0" r="0" b="0"/>
                <a:pathLst>
                  <a:path w="31767" h="35109">
                    <a:moveTo>
                      <a:pt x="31766" y="13975"/>
                    </a:moveTo>
                    <a:lnTo>
                      <a:pt x="28464" y="18529"/>
                    </a:lnTo>
                    <a:lnTo>
                      <a:pt x="28375" y="18750"/>
                    </a:lnTo>
                    <a:lnTo>
                      <a:pt x="28336" y="18970"/>
                    </a:lnTo>
                    <a:lnTo>
                      <a:pt x="28352" y="19207"/>
                    </a:lnTo>
                    <a:lnTo>
                      <a:pt x="28410" y="19421"/>
                    </a:lnTo>
                    <a:lnTo>
                      <a:pt x="28919" y="20229"/>
                    </a:lnTo>
                    <a:lnTo>
                      <a:pt x="28950" y="20385"/>
                    </a:lnTo>
                    <a:lnTo>
                      <a:pt x="28932" y="20544"/>
                    </a:lnTo>
                    <a:lnTo>
                      <a:pt x="28686" y="20951"/>
                    </a:lnTo>
                    <a:lnTo>
                      <a:pt x="28327" y="21302"/>
                    </a:lnTo>
                    <a:lnTo>
                      <a:pt x="21348" y="24151"/>
                    </a:lnTo>
                    <a:lnTo>
                      <a:pt x="21034" y="24688"/>
                    </a:lnTo>
                    <a:lnTo>
                      <a:pt x="20994" y="24907"/>
                    </a:lnTo>
                    <a:lnTo>
                      <a:pt x="20979" y="25856"/>
                    </a:lnTo>
                    <a:lnTo>
                      <a:pt x="21096" y="26720"/>
                    </a:lnTo>
                    <a:lnTo>
                      <a:pt x="21085" y="26878"/>
                    </a:lnTo>
                    <a:lnTo>
                      <a:pt x="20966" y="27250"/>
                    </a:lnTo>
                    <a:lnTo>
                      <a:pt x="20886" y="27392"/>
                    </a:lnTo>
                    <a:lnTo>
                      <a:pt x="20745" y="27545"/>
                    </a:lnTo>
                    <a:lnTo>
                      <a:pt x="19775" y="28142"/>
                    </a:lnTo>
                    <a:lnTo>
                      <a:pt x="19629" y="28306"/>
                    </a:lnTo>
                    <a:lnTo>
                      <a:pt x="19239" y="29389"/>
                    </a:lnTo>
                    <a:lnTo>
                      <a:pt x="19138" y="31331"/>
                    </a:lnTo>
                    <a:lnTo>
                      <a:pt x="18909" y="32013"/>
                    </a:lnTo>
                    <a:lnTo>
                      <a:pt x="18682" y="34315"/>
                    </a:lnTo>
                    <a:lnTo>
                      <a:pt x="8659" y="35108"/>
                    </a:lnTo>
                    <a:lnTo>
                      <a:pt x="8426" y="33241"/>
                    </a:lnTo>
                    <a:lnTo>
                      <a:pt x="3986" y="24125"/>
                    </a:lnTo>
                    <a:lnTo>
                      <a:pt x="3810" y="23452"/>
                    </a:lnTo>
                    <a:lnTo>
                      <a:pt x="3613" y="23015"/>
                    </a:lnTo>
                    <a:lnTo>
                      <a:pt x="3425" y="22353"/>
                    </a:lnTo>
                    <a:lnTo>
                      <a:pt x="3222" y="21906"/>
                    </a:lnTo>
                    <a:lnTo>
                      <a:pt x="3035" y="21243"/>
                    </a:lnTo>
                    <a:lnTo>
                      <a:pt x="2844" y="20796"/>
                    </a:lnTo>
                    <a:lnTo>
                      <a:pt x="0" y="10090"/>
                    </a:lnTo>
                    <a:lnTo>
                      <a:pt x="6140" y="9985"/>
                    </a:lnTo>
                    <a:lnTo>
                      <a:pt x="18396" y="1804"/>
                    </a:lnTo>
                    <a:lnTo>
                      <a:pt x="24785" y="0"/>
                    </a:lnTo>
                    <a:lnTo>
                      <a:pt x="25220" y="351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5" name="Freeform 211">
                <a:extLst>
                  <a:ext uri="{FF2B5EF4-FFF2-40B4-BE49-F238E27FC236}">
                    <a16:creationId xmlns:a16="http://schemas.microsoft.com/office/drawing/2014/main" id="{E7F18E13-50FE-583E-7A3A-5215C423398A}"/>
                  </a:ext>
                </a:extLst>
              </p:cNvPr>
              <p:cNvSpPr>
                <a:spLocks noChangeAspect="1"/>
              </p:cNvSpPr>
              <p:nvPr>
                <p:custDataLst>
                  <p:tags r:id="rId146"/>
                </p:custDataLst>
              </p:nvPr>
            </p:nvSpPr>
            <p:spPr>
              <a:xfrm>
                <a:off x="5294925" y="5097118"/>
                <a:ext cx="16471" cy="36352"/>
              </a:xfrm>
              <a:custGeom>
                <a:avLst/>
                <a:gdLst/>
                <a:ahLst/>
                <a:cxnLst/>
                <a:rect l="0" t="0" r="0" b="0"/>
                <a:pathLst>
                  <a:path w="16911" h="37324">
                    <a:moveTo>
                      <a:pt x="16910" y="32477"/>
                    </a:moveTo>
                    <a:lnTo>
                      <a:pt x="16805" y="32601"/>
                    </a:lnTo>
                    <a:lnTo>
                      <a:pt x="16771" y="32660"/>
                    </a:lnTo>
                    <a:lnTo>
                      <a:pt x="16749" y="32721"/>
                    </a:lnTo>
                    <a:lnTo>
                      <a:pt x="16732" y="32890"/>
                    </a:lnTo>
                    <a:lnTo>
                      <a:pt x="16728" y="33196"/>
                    </a:lnTo>
                    <a:lnTo>
                      <a:pt x="16722" y="33335"/>
                    </a:lnTo>
                    <a:lnTo>
                      <a:pt x="16706" y="33405"/>
                    </a:lnTo>
                    <a:lnTo>
                      <a:pt x="16587" y="33619"/>
                    </a:lnTo>
                    <a:lnTo>
                      <a:pt x="16572" y="33698"/>
                    </a:lnTo>
                    <a:lnTo>
                      <a:pt x="16557" y="33768"/>
                    </a:lnTo>
                    <a:lnTo>
                      <a:pt x="16558" y="33917"/>
                    </a:lnTo>
                    <a:lnTo>
                      <a:pt x="16559" y="34351"/>
                    </a:lnTo>
                    <a:lnTo>
                      <a:pt x="10168" y="33626"/>
                    </a:lnTo>
                    <a:lnTo>
                      <a:pt x="8778" y="34105"/>
                    </a:lnTo>
                    <a:lnTo>
                      <a:pt x="4633" y="37323"/>
                    </a:lnTo>
                    <a:lnTo>
                      <a:pt x="2315" y="36660"/>
                    </a:lnTo>
                    <a:lnTo>
                      <a:pt x="2199" y="36547"/>
                    </a:lnTo>
                    <a:lnTo>
                      <a:pt x="2143" y="36411"/>
                    </a:lnTo>
                    <a:lnTo>
                      <a:pt x="2136" y="36254"/>
                    </a:lnTo>
                    <a:lnTo>
                      <a:pt x="2166" y="36104"/>
                    </a:lnTo>
                    <a:lnTo>
                      <a:pt x="3327" y="33688"/>
                    </a:lnTo>
                    <a:lnTo>
                      <a:pt x="3240" y="33278"/>
                    </a:lnTo>
                    <a:lnTo>
                      <a:pt x="2585" y="23635"/>
                    </a:lnTo>
                    <a:lnTo>
                      <a:pt x="2473" y="23334"/>
                    </a:lnTo>
                    <a:lnTo>
                      <a:pt x="2342" y="23173"/>
                    </a:lnTo>
                    <a:lnTo>
                      <a:pt x="1477" y="22570"/>
                    </a:lnTo>
                    <a:lnTo>
                      <a:pt x="1090" y="22055"/>
                    </a:lnTo>
                    <a:lnTo>
                      <a:pt x="573" y="20181"/>
                    </a:lnTo>
                    <a:lnTo>
                      <a:pt x="57" y="18980"/>
                    </a:lnTo>
                    <a:lnTo>
                      <a:pt x="4" y="18627"/>
                    </a:lnTo>
                    <a:lnTo>
                      <a:pt x="0" y="18272"/>
                    </a:lnTo>
                    <a:lnTo>
                      <a:pt x="40" y="17934"/>
                    </a:lnTo>
                    <a:lnTo>
                      <a:pt x="224" y="17382"/>
                    </a:lnTo>
                    <a:lnTo>
                      <a:pt x="3664" y="13517"/>
                    </a:lnTo>
                    <a:lnTo>
                      <a:pt x="4105" y="12666"/>
                    </a:lnTo>
                    <a:lnTo>
                      <a:pt x="4543" y="11321"/>
                    </a:lnTo>
                    <a:lnTo>
                      <a:pt x="2935" y="5251"/>
                    </a:lnTo>
                    <a:lnTo>
                      <a:pt x="2976" y="5199"/>
                    </a:lnTo>
                    <a:lnTo>
                      <a:pt x="6489" y="1133"/>
                    </a:lnTo>
                    <a:lnTo>
                      <a:pt x="7465" y="0"/>
                    </a:lnTo>
                    <a:lnTo>
                      <a:pt x="8624" y="1111"/>
                    </a:lnTo>
                    <a:lnTo>
                      <a:pt x="9024" y="1370"/>
                    </a:lnTo>
                    <a:lnTo>
                      <a:pt x="9412" y="1786"/>
                    </a:lnTo>
                    <a:lnTo>
                      <a:pt x="9620" y="2172"/>
                    </a:lnTo>
                    <a:lnTo>
                      <a:pt x="9734" y="2758"/>
                    </a:lnTo>
                    <a:lnTo>
                      <a:pt x="9663" y="4699"/>
                    </a:lnTo>
                    <a:lnTo>
                      <a:pt x="9708" y="5140"/>
                    </a:lnTo>
                    <a:lnTo>
                      <a:pt x="9837" y="5540"/>
                    </a:lnTo>
                    <a:lnTo>
                      <a:pt x="10237" y="6332"/>
                    </a:lnTo>
                    <a:lnTo>
                      <a:pt x="10318" y="6624"/>
                    </a:lnTo>
                    <a:lnTo>
                      <a:pt x="10437" y="8535"/>
                    </a:lnTo>
                    <a:lnTo>
                      <a:pt x="10555" y="9083"/>
                    </a:lnTo>
                    <a:lnTo>
                      <a:pt x="13375" y="14148"/>
                    </a:lnTo>
                    <a:lnTo>
                      <a:pt x="14322" y="15308"/>
                    </a:lnTo>
                    <a:lnTo>
                      <a:pt x="14755" y="16413"/>
                    </a:lnTo>
                    <a:lnTo>
                      <a:pt x="14785" y="16669"/>
                    </a:lnTo>
                    <a:lnTo>
                      <a:pt x="14791" y="17192"/>
                    </a:lnTo>
                    <a:lnTo>
                      <a:pt x="14741" y="17461"/>
                    </a:lnTo>
                    <a:lnTo>
                      <a:pt x="14571" y="18024"/>
                    </a:lnTo>
                    <a:lnTo>
                      <a:pt x="12500" y="21481"/>
                    </a:lnTo>
                    <a:lnTo>
                      <a:pt x="12305" y="22329"/>
                    </a:lnTo>
                    <a:lnTo>
                      <a:pt x="12301" y="22913"/>
                    </a:lnTo>
                    <a:lnTo>
                      <a:pt x="12406" y="23461"/>
                    </a:lnTo>
                    <a:lnTo>
                      <a:pt x="13316" y="25020"/>
                    </a:lnTo>
                    <a:lnTo>
                      <a:pt x="14294" y="278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6" name="Freeform 212">
                <a:extLst>
                  <a:ext uri="{FF2B5EF4-FFF2-40B4-BE49-F238E27FC236}">
                    <a16:creationId xmlns:a16="http://schemas.microsoft.com/office/drawing/2014/main" id="{6A617866-E8D6-B873-7E08-A6A14B6BB014}"/>
                  </a:ext>
                </a:extLst>
              </p:cNvPr>
              <p:cNvSpPr>
                <a:spLocks noChangeAspect="1"/>
              </p:cNvSpPr>
              <p:nvPr>
                <p:custDataLst>
                  <p:tags r:id="rId147"/>
                </p:custDataLst>
              </p:nvPr>
            </p:nvSpPr>
            <p:spPr>
              <a:xfrm>
                <a:off x="5313181" y="5102069"/>
                <a:ext cx="25681" cy="28827"/>
              </a:xfrm>
              <a:custGeom>
                <a:avLst/>
                <a:gdLst/>
                <a:ahLst/>
                <a:cxnLst/>
                <a:rect l="0" t="0" r="0" b="0"/>
                <a:pathLst>
                  <a:path w="26368" h="29598">
                    <a:moveTo>
                      <a:pt x="9161" y="288"/>
                    </a:moveTo>
                    <a:lnTo>
                      <a:pt x="8441" y="2388"/>
                    </a:lnTo>
                    <a:lnTo>
                      <a:pt x="8415" y="2617"/>
                    </a:lnTo>
                    <a:lnTo>
                      <a:pt x="8430" y="2813"/>
                    </a:lnTo>
                    <a:lnTo>
                      <a:pt x="8481" y="2989"/>
                    </a:lnTo>
                    <a:lnTo>
                      <a:pt x="8742" y="3293"/>
                    </a:lnTo>
                    <a:lnTo>
                      <a:pt x="11472" y="4782"/>
                    </a:lnTo>
                    <a:lnTo>
                      <a:pt x="11642" y="5109"/>
                    </a:lnTo>
                    <a:lnTo>
                      <a:pt x="11703" y="5363"/>
                    </a:lnTo>
                    <a:lnTo>
                      <a:pt x="11686" y="6560"/>
                    </a:lnTo>
                    <a:lnTo>
                      <a:pt x="11700" y="6727"/>
                    </a:lnTo>
                    <a:lnTo>
                      <a:pt x="11810" y="7117"/>
                    </a:lnTo>
                    <a:lnTo>
                      <a:pt x="13060" y="9191"/>
                    </a:lnTo>
                    <a:lnTo>
                      <a:pt x="13294" y="9318"/>
                    </a:lnTo>
                    <a:lnTo>
                      <a:pt x="13591" y="9344"/>
                    </a:lnTo>
                    <a:lnTo>
                      <a:pt x="13693" y="9279"/>
                    </a:lnTo>
                    <a:lnTo>
                      <a:pt x="13850" y="9074"/>
                    </a:lnTo>
                    <a:lnTo>
                      <a:pt x="14177" y="8326"/>
                    </a:lnTo>
                    <a:lnTo>
                      <a:pt x="14609" y="8069"/>
                    </a:lnTo>
                    <a:lnTo>
                      <a:pt x="18479" y="8750"/>
                    </a:lnTo>
                    <a:lnTo>
                      <a:pt x="18605" y="8823"/>
                    </a:lnTo>
                    <a:lnTo>
                      <a:pt x="18696" y="8918"/>
                    </a:lnTo>
                    <a:lnTo>
                      <a:pt x="18791" y="9091"/>
                    </a:lnTo>
                    <a:lnTo>
                      <a:pt x="18796" y="9476"/>
                    </a:lnTo>
                    <a:lnTo>
                      <a:pt x="18755" y="9635"/>
                    </a:lnTo>
                    <a:lnTo>
                      <a:pt x="18467" y="10312"/>
                    </a:lnTo>
                    <a:lnTo>
                      <a:pt x="18388" y="10593"/>
                    </a:lnTo>
                    <a:lnTo>
                      <a:pt x="18349" y="11197"/>
                    </a:lnTo>
                    <a:lnTo>
                      <a:pt x="18416" y="12093"/>
                    </a:lnTo>
                    <a:lnTo>
                      <a:pt x="18615" y="13031"/>
                    </a:lnTo>
                    <a:lnTo>
                      <a:pt x="18843" y="13554"/>
                    </a:lnTo>
                    <a:lnTo>
                      <a:pt x="19325" y="14104"/>
                    </a:lnTo>
                    <a:lnTo>
                      <a:pt x="20764" y="15071"/>
                    </a:lnTo>
                    <a:lnTo>
                      <a:pt x="20896" y="15263"/>
                    </a:lnTo>
                    <a:lnTo>
                      <a:pt x="21061" y="15739"/>
                    </a:lnTo>
                    <a:lnTo>
                      <a:pt x="21135" y="16131"/>
                    </a:lnTo>
                    <a:lnTo>
                      <a:pt x="21084" y="17140"/>
                    </a:lnTo>
                    <a:lnTo>
                      <a:pt x="21137" y="17731"/>
                    </a:lnTo>
                    <a:lnTo>
                      <a:pt x="21213" y="18024"/>
                    </a:lnTo>
                    <a:lnTo>
                      <a:pt x="21531" y="18621"/>
                    </a:lnTo>
                    <a:lnTo>
                      <a:pt x="21614" y="18814"/>
                    </a:lnTo>
                    <a:lnTo>
                      <a:pt x="21634" y="18972"/>
                    </a:lnTo>
                    <a:lnTo>
                      <a:pt x="21638" y="19061"/>
                    </a:lnTo>
                    <a:lnTo>
                      <a:pt x="25912" y="23476"/>
                    </a:lnTo>
                    <a:lnTo>
                      <a:pt x="26281" y="24218"/>
                    </a:lnTo>
                    <a:lnTo>
                      <a:pt x="26336" y="24472"/>
                    </a:lnTo>
                    <a:lnTo>
                      <a:pt x="26367" y="24738"/>
                    </a:lnTo>
                    <a:lnTo>
                      <a:pt x="26293" y="25246"/>
                    </a:lnTo>
                    <a:lnTo>
                      <a:pt x="26187" y="25469"/>
                    </a:lnTo>
                    <a:lnTo>
                      <a:pt x="25973" y="25775"/>
                    </a:lnTo>
                    <a:lnTo>
                      <a:pt x="25271" y="26166"/>
                    </a:lnTo>
                    <a:lnTo>
                      <a:pt x="24712" y="26212"/>
                    </a:lnTo>
                    <a:lnTo>
                      <a:pt x="20943" y="25291"/>
                    </a:lnTo>
                    <a:lnTo>
                      <a:pt x="19650" y="25966"/>
                    </a:lnTo>
                    <a:lnTo>
                      <a:pt x="18034" y="28683"/>
                    </a:lnTo>
                    <a:lnTo>
                      <a:pt x="17512" y="29252"/>
                    </a:lnTo>
                    <a:lnTo>
                      <a:pt x="17106" y="29529"/>
                    </a:lnTo>
                    <a:lnTo>
                      <a:pt x="16091" y="29597"/>
                    </a:lnTo>
                    <a:lnTo>
                      <a:pt x="11487" y="27033"/>
                    </a:lnTo>
                    <a:lnTo>
                      <a:pt x="4" y="26605"/>
                    </a:lnTo>
                    <a:lnTo>
                      <a:pt x="0" y="25983"/>
                    </a:lnTo>
                    <a:lnTo>
                      <a:pt x="88" y="25484"/>
                    </a:lnTo>
                    <a:lnTo>
                      <a:pt x="187" y="25233"/>
                    </a:lnTo>
                    <a:lnTo>
                      <a:pt x="1965" y="22629"/>
                    </a:lnTo>
                    <a:lnTo>
                      <a:pt x="2396" y="20236"/>
                    </a:lnTo>
                    <a:lnTo>
                      <a:pt x="2770" y="19152"/>
                    </a:lnTo>
                    <a:lnTo>
                      <a:pt x="3159" y="18639"/>
                    </a:lnTo>
                    <a:lnTo>
                      <a:pt x="5624" y="17849"/>
                    </a:lnTo>
                    <a:lnTo>
                      <a:pt x="6117" y="17450"/>
                    </a:lnTo>
                    <a:lnTo>
                      <a:pt x="6481" y="16919"/>
                    </a:lnTo>
                    <a:lnTo>
                      <a:pt x="7158" y="14674"/>
                    </a:lnTo>
                    <a:lnTo>
                      <a:pt x="7136" y="14337"/>
                    </a:lnTo>
                    <a:lnTo>
                      <a:pt x="7076" y="14123"/>
                    </a:lnTo>
                    <a:lnTo>
                      <a:pt x="6946" y="13833"/>
                    </a:lnTo>
                    <a:lnTo>
                      <a:pt x="5441" y="12107"/>
                    </a:lnTo>
                    <a:lnTo>
                      <a:pt x="4996" y="11140"/>
                    </a:lnTo>
                    <a:lnTo>
                      <a:pt x="4604" y="9598"/>
                    </a:lnTo>
                    <a:lnTo>
                      <a:pt x="4450" y="7372"/>
                    </a:lnTo>
                    <a:lnTo>
                      <a:pt x="3381" y="4399"/>
                    </a:lnTo>
                    <a:lnTo>
                      <a:pt x="3377" y="3787"/>
                    </a:lnTo>
                    <a:lnTo>
                      <a:pt x="3425" y="3488"/>
                    </a:lnTo>
                    <a:lnTo>
                      <a:pt x="3518" y="3247"/>
                    </a:lnTo>
                    <a:lnTo>
                      <a:pt x="3649" y="3023"/>
                    </a:lnTo>
                    <a:lnTo>
                      <a:pt x="5501" y="1542"/>
                    </a:lnTo>
                    <a:lnTo>
                      <a:pt x="6960" y="1145"/>
                    </a:lnTo>
                    <a:lnTo>
                      <a:pt x="7151" y="1018"/>
                    </a:lnTo>
                    <a:lnTo>
                      <a:pt x="7709" y="180"/>
                    </a:lnTo>
                    <a:lnTo>
                      <a:pt x="7916" y="12"/>
                    </a:lnTo>
                    <a:lnTo>
                      <a:pt x="8174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7" name="Freeform 213">
                <a:extLst>
                  <a:ext uri="{FF2B5EF4-FFF2-40B4-BE49-F238E27FC236}">
                    <a16:creationId xmlns:a16="http://schemas.microsoft.com/office/drawing/2014/main" id="{0C6AE485-5974-3CE1-9BAE-6D15E7786631}"/>
                  </a:ext>
                </a:extLst>
              </p:cNvPr>
              <p:cNvSpPr>
                <a:spLocks noChangeAspect="1"/>
              </p:cNvSpPr>
              <p:nvPr>
                <p:custDataLst>
                  <p:tags r:id="rId148"/>
                </p:custDataLst>
              </p:nvPr>
            </p:nvSpPr>
            <p:spPr>
              <a:xfrm>
                <a:off x="5323879" y="5073735"/>
                <a:ext cx="26130" cy="26910"/>
              </a:xfrm>
              <a:custGeom>
                <a:avLst/>
                <a:gdLst/>
                <a:ahLst/>
                <a:cxnLst/>
                <a:rect l="0" t="0" r="0" b="0"/>
                <a:pathLst>
                  <a:path w="26828" h="27629">
                    <a:moveTo>
                      <a:pt x="20420" y="7878"/>
                    </a:moveTo>
                    <a:lnTo>
                      <a:pt x="20624" y="10299"/>
                    </a:lnTo>
                    <a:lnTo>
                      <a:pt x="20847" y="11217"/>
                    </a:lnTo>
                    <a:lnTo>
                      <a:pt x="22115" y="13268"/>
                    </a:lnTo>
                    <a:lnTo>
                      <a:pt x="22687" y="13774"/>
                    </a:lnTo>
                    <a:lnTo>
                      <a:pt x="25797" y="15101"/>
                    </a:lnTo>
                    <a:lnTo>
                      <a:pt x="26094" y="15393"/>
                    </a:lnTo>
                    <a:lnTo>
                      <a:pt x="26712" y="16695"/>
                    </a:lnTo>
                    <a:lnTo>
                      <a:pt x="26778" y="16930"/>
                    </a:lnTo>
                    <a:lnTo>
                      <a:pt x="26827" y="17421"/>
                    </a:lnTo>
                    <a:lnTo>
                      <a:pt x="26783" y="18787"/>
                    </a:lnTo>
                    <a:lnTo>
                      <a:pt x="26540" y="24532"/>
                    </a:lnTo>
                    <a:lnTo>
                      <a:pt x="20712" y="26856"/>
                    </a:lnTo>
                    <a:lnTo>
                      <a:pt x="15110" y="27628"/>
                    </a:lnTo>
                    <a:lnTo>
                      <a:pt x="8047" y="23585"/>
                    </a:lnTo>
                    <a:lnTo>
                      <a:pt x="6779" y="21394"/>
                    </a:lnTo>
                    <a:lnTo>
                      <a:pt x="6449" y="21054"/>
                    </a:lnTo>
                    <a:lnTo>
                      <a:pt x="5230" y="20522"/>
                    </a:lnTo>
                    <a:lnTo>
                      <a:pt x="4450" y="19907"/>
                    </a:lnTo>
                    <a:lnTo>
                      <a:pt x="4149" y="19527"/>
                    </a:lnTo>
                    <a:lnTo>
                      <a:pt x="644" y="12028"/>
                    </a:lnTo>
                    <a:lnTo>
                      <a:pt x="69" y="8341"/>
                    </a:lnTo>
                    <a:lnTo>
                      <a:pt x="116" y="7893"/>
                    </a:lnTo>
                    <a:lnTo>
                      <a:pt x="118" y="6895"/>
                    </a:lnTo>
                    <a:lnTo>
                      <a:pt x="0" y="4924"/>
                    </a:lnTo>
                    <a:lnTo>
                      <a:pt x="8161" y="3817"/>
                    </a:lnTo>
                    <a:lnTo>
                      <a:pt x="11333" y="3049"/>
                    </a:lnTo>
                    <a:lnTo>
                      <a:pt x="11689" y="2775"/>
                    </a:lnTo>
                    <a:lnTo>
                      <a:pt x="12813" y="703"/>
                    </a:lnTo>
                    <a:lnTo>
                      <a:pt x="13386" y="220"/>
                    </a:lnTo>
                    <a:lnTo>
                      <a:pt x="13917" y="16"/>
                    </a:lnTo>
                    <a:lnTo>
                      <a:pt x="14248" y="0"/>
                    </a:lnTo>
                    <a:lnTo>
                      <a:pt x="14984" y="220"/>
                    </a:lnTo>
                    <a:lnTo>
                      <a:pt x="15137" y="332"/>
                    </a:lnTo>
                    <a:lnTo>
                      <a:pt x="16754" y="2248"/>
                    </a:lnTo>
                    <a:lnTo>
                      <a:pt x="17137" y="2536"/>
                    </a:lnTo>
                    <a:lnTo>
                      <a:pt x="19044" y="3065"/>
                    </a:lnTo>
                    <a:lnTo>
                      <a:pt x="19442" y="3538"/>
                    </a:lnTo>
                    <a:lnTo>
                      <a:pt x="19857" y="46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8" name="Freeform 214">
                <a:extLst>
                  <a:ext uri="{FF2B5EF4-FFF2-40B4-BE49-F238E27FC236}">
                    <a16:creationId xmlns:a16="http://schemas.microsoft.com/office/drawing/2014/main" id="{5E6FE55A-EDAA-8AB0-EC33-24F80229E1B7}"/>
                  </a:ext>
                </a:extLst>
              </p:cNvPr>
              <p:cNvSpPr>
                <a:spLocks noChangeAspect="1"/>
              </p:cNvSpPr>
              <p:nvPr>
                <p:custDataLst>
                  <p:tags r:id="rId149"/>
                </p:custDataLst>
              </p:nvPr>
            </p:nvSpPr>
            <p:spPr>
              <a:xfrm>
                <a:off x="5302196" y="5094523"/>
                <a:ext cx="19909" cy="34228"/>
              </a:xfrm>
              <a:custGeom>
                <a:avLst/>
                <a:gdLst/>
                <a:ahLst/>
                <a:cxnLst/>
                <a:rect l="0" t="0" r="0" b="0"/>
                <a:pathLst>
                  <a:path w="20441" h="35143">
                    <a:moveTo>
                      <a:pt x="9706" y="1217"/>
                    </a:moveTo>
                    <a:lnTo>
                      <a:pt x="14135" y="3674"/>
                    </a:lnTo>
                    <a:lnTo>
                      <a:pt x="16836" y="4849"/>
                    </a:lnTo>
                    <a:lnTo>
                      <a:pt x="20211" y="5281"/>
                    </a:lnTo>
                    <a:lnTo>
                      <a:pt x="20440" y="8036"/>
                    </a:lnTo>
                    <a:lnTo>
                      <a:pt x="19453" y="7748"/>
                    </a:lnTo>
                    <a:lnTo>
                      <a:pt x="19195" y="7760"/>
                    </a:lnTo>
                    <a:lnTo>
                      <a:pt x="18988" y="7928"/>
                    </a:lnTo>
                    <a:lnTo>
                      <a:pt x="18430" y="8766"/>
                    </a:lnTo>
                    <a:lnTo>
                      <a:pt x="18239" y="8893"/>
                    </a:lnTo>
                    <a:lnTo>
                      <a:pt x="16780" y="9290"/>
                    </a:lnTo>
                    <a:lnTo>
                      <a:pt x="14928" y="10771"/>
                    </a:lnTo>
                    <a:lnTo>
                      <a:pt x="14797" y="10995"/>
                    </a:lnTo>
                    <a:lnTo>
                      <a:pt x="14704" y="11236"/>
                    </a:lnTo>
                    <a:lnTo>
                      <a:pt x="14656" y="11535"/>
                    </a:lnTo>
                    <a:lnTo>
                      <a:pt x="14660" y="12147"/>
                    </a:lnTo>
                    <a:lnTo>
                      <a:pt x="15729" y="15120"/>
                    </a:lnTo>
                    <a:lnTo>
                      <a:pt x="15883" y="17346"/>
                    </a:lnTo>
                    <a:lnTo>
                      <a:pt x="16275" y="18888"/>
                    </a:lnTo>
                    <a:lnTo>
                      <a:pt x="16720" y="19855"/>
                    </a:lnTo>
                    <a:lnTo>
                      <a:pt x="18225" y="21581"/>
                    </a:lnTo>
                    <a:lnTo>
                      <a:pt x="18355" y="21871"/>
                    </a:lnTo>
                    <a:lnTo>
                      <a:pt x="18415" y="22085"/>
                    </a:lnTo>
                    <a:lnTo>
                      <a:pt x="18437" y="22422"/>
                    </a:lnTo>
                    <a:lnTo>
                      <a:pt x="17760" y="24667"/>
                    </a:lnTo>
                    <a:lnTo>
                      <a:pt x="17396" y="25198"/>
                    </a:lnTo>
                    <a:lnTo>
                      <a:pt x="16903" y="25597"/>
                    </a:lnTo>
                    <a:lnTo>
                      <a:pt x="14438" y="26387"/>
                    </a:lnTo>
                    <a:lnTo>
                      <a:pt x="14049" y="26900"/>
                    </a:lnTo>
                    <a:lnTo>
                      <a:pt x="13675" y="27984"/>
                    </a:lnTo>
                    <a:lnTo>
                      <a:pt x="13244" y="30377"/>
                    </a:lnTo>
                    <a:lnTo>
                      <a:pt x="11466" y="32981"/>
                    </a:lnTo>
                    <a:lnTo>
                      <a:pt x="11367" y="33232"/>
                    </a:lnTo>
                    <a:lnTo>
                      <a:pt x="11279" y="33731"/>
                    </a:lnTo>
                    <a:lnTo>
                      <a:pt x="11283" y="34353"/>
                    </a:lnTo>
                    <a:lnTo>
                      <a:pt x="11110" y="34351"/>
                    </a:lnTo>
                    <a:lnTo>
                      <a:pt x="10951" y="34378"/>
                    </a:lnTo>
                    <a:lnTo>
                      <a:pt x="10866" y="34403"/>
                    </a:lnTo>
                    <a:lnTo>
                      <a:pt x="10625" y="34513"/>
                    </a:lnTo>
                    <a:lnTo>
                      <a:pt x="10539" y="34536"/>
                    </a:lnTo>
                    <a:lnTo>
                      <a:pt x="10258" y="34589"/>
                    </a:lnTo>
                    <a:lnTo>
                      <a:pt x="10191" y="34612"/>
                    </a:lnTo>
                    <a:lnTo>
                      <a:pt x="10131" y="34634"/>
                    </a:lnTo>
                    <a:lnTo>
                      <a:pt x="10071" y="34678"/>
                    </a:lnTo>
                    <a:lnTo>
                      <a:pt x="9782" y="34948"/>
                    </a:lnTo>
                    <a:lnTo>
                      <a:pt x="9620" y="35054"/>
                    </a:lnTo>
                    <a:lnTo>
                      <a:pt x="9445" y="35142"/>
                    </a:lnTo>
                    <a:lnTo>
                      <a:pt x="6829" y="30562"/>
                    </a:lnTo>
                    <a:lnTo>
                      <a:pt x="5851" y="27685"/>
                    </a:lnTo>
                    <a:lnTo>
                      <a:pt x="4941" y="26126"/>
                    </a:lnTo>
                    <a:lnTo>
                      <a:pt x="4836" y="25578"/>
                    </a:lnTo>
                    <a:lnTo>
                      <a:pt x="4840" y="24994"/>
                    </a:lnTo>
                    <a:lnTo>
                      <a:pt x="5035" y="24146"/>
                    </a:lnTo>
                    <a:lnTo>
                      <a:pt x="7106" y="20689"/>
                    </a:lnTo>
                    <a:lnTo>
                      <a:pt x="7276" y="20126"/>
                    </a:lnTo>
                    <a:lnTo>
                      <a:pt x="7326" y="19857"/>
                    </a:lnTo>
                    <a:lnTo>
                      <a:pt x="7320" y="19334"/>
                    </a:lnTo>
                    <a:lnTo>
                      <a:pt x="7290" y="19078"/>
                    </a:lnTo>
                    <a:lnTo>
                      <a:pt x="6857" y="17973"/>
                    </a:lnTo>
                    <a:lnTo>
                      <a:pt x="5910" y="16813"/>
                    </a:lnTo>
                    <a:lnTo>
                      <a:pt x="3090" y="11748"/>
                    </a:lnTo>
                    <a:lnTo>
                      <a:pt x="2972" y="11200"/>
                    </a:lnTo>
                    <a:lnTo>
                      <a:pt x="2853" y="9289"/>
                    </a:lnTo>
                    <a:lnTo>
                      <a:pt x="2772" y="8997"/>
                    </a:lnTo>
                    <a:lnTo>
                      <a:pt x="2372" y="8205"/>
                    </a:lnTo>
                    <a:lnTo>
                      <a:pt x="2243" y="7805"/>
                    </a:lnTo>
                    <a:lnTo>
                      <a:pt x="2198" y="7364"/>
                    </a:lnTo>
                    <a:lnTo>
                      <a:pt x="2269" y="5423"/>
                    </a:lnTo>
                    <a:lnTo>
                      <a:pt x="2155" y="4837"/>
                    </a:lnTo>
                    <a:lnTo>
                      <a:pt x="1947" y="4451"/>
                    </a:lnTo>
                    <a:lnTo>
                      <a:pt x="1559" y="4035"/>
                    </a:lnTo>
                    <a:lnTo>
                      <a:pt x="1159" y="3776"/>
                    </a:lnTo>
                    <a:lnTo>
                      <a:pt x="0" y="2665"/>
                    </a:lnTo>
                    <a:lnTo>
                      <a:pt x="1280" y="1181"/>
                    </a:lnTo>
                    <a:lnTo>
                      <a:pt x="2440" y="851"/>
                    </a:lnTo>
                    <a:lnTo>
                      <a:pt x="5372" y="0"/>
                    </a:lnTo>
                    <a:lnTo>
                      <a:pt x="9623" y="116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19" name="Freeform 215">
                <a:extLst>
                  <a:ext uri="{FF2B5EF4-FFF2-40B4-BE49-F238E27FC236}">
                    <a16:creationId xmlns:a16="http://schemas.microsoft.com/office/drawing/2014/main" id="{197F7505-7C22-C969-9924-861101EF9512}"/>
                  </a:ext>
                </a:extLst>
              </p:cNvPr>
              <p:cNvSpPr>
                <a:spLocks noChangeAspect="1"/>
              </p:cNvSpPr>
              <p:nvPr>
                <p:custDataLst>
                  <p:tags r:id="rId150"/>
                </p:custDataLst>
              </p:nvPr>
            </p:nvSpPr>
            <p:spPr>
              <a:xfrm>
                <a:off x="3504983" y="2496503"/>
                <a:ext cx="495013" cy="571583"/>
              </a:xfrm>
              <a:custGeom>
                <a:avLst/>
                <a:gdLst/>
                <a:ahLst/>
                <a:cxnLst/>
                <a:rect l="l" t="t" r="r" b="b"/>
                <a:pathLst>
                  <a:path w="508245" h="586862">
                    <a:moveTo>
                      <a:pt x="220456" y="542674"/>
                    </a:moveTo>
                    <a:lnTo>
                      <a:pt x="221392" y="542743"/>
                    </a:lnTo>
                    <a:lnTo>
                      <a:pt x="222046" y="543295"/>
                    </a:lnTo>
                    <a:lnTo>
                      <a:pt x="223258" y="545453"/>
                    </a:lnTo>
                    <a:lnTo>
                      <a:pt x="224667" y="545689"/>
                    </a:lnTo>
                    <a:lnTo>
                      <a:pt x="225712" y="546216"/>
                    </a:lnTo>
                    <a:lnTo>
                      <a:pt x="226553" y="547059"/>
                    </a:lnTo>
                    <a:lnTo>
                      <a:pt x="227370" y="548306"/>
                    </a:lnTo>
                    <a:lnTo>
                      <a:pt x="224007" y="554685"/>
                    </a:lnTo>
                    <a:lnTo>
                      <a:pt x="222636" y="556101"/>
                    </a:lnTo>
                    <a:lnTo>
                      <a:pt x="229106" y="559994"/>
                    </a:lnTo>
                    <a:lnTo>
                      <a:pt x="230851" y="561790"/>
                    </a:lnTo>
                    <a:lnTo>
                      <a:pt x="231720" y="564363"/>
                    </a:lnTo>
                    <a:lnTo>
                      <a:pt x="232154" y="567565"/>
                    </a:lnTo>
                    <a:lnTo>
                      <a:pt x="232837" y="570580"/>
                    </a:lnTo>
                    <a:lnTo>
                      <a:pt x="234493" y="572464"/>
                    </a:lnTo>
                    <a:lnTo>
                      <a:pt x="228500" y="571920"/>
                    </a:lnTo>
                    <a:lnTo>
                      <a:pt x="226626" y="573215"/>
                    </a:lnTo>
                    <a:lnTo>
                      <a:pt x="224792" y="575554"/>
                    </a:lnTo>
                    <a:lnTo>
                      <a:pt x="223011" y="577273"/>
                    </a:lnTo>
                    <a:lnTo>
                      <a:pt x="221313" y="578437"/>
                    </a:lnTo>
                    <a:lnTo>
                      <a:pt x="219739" y="579234"/>
                    </a:lnTo>
                    <a:lnTo>
                      <a:pt x="220682" y="582839"/>
                    </a:lnTo>
                    <a:lnTo>
                      <a:pt x="218775" y="585252"/>
                    </a:lnTo>
                    <a:lnTo>
                      <a:pt x="215462" y="586555"/>
                    </a:lnTo>
                    <a:lnTo>
                      <a:pt x="212156" y="586862"/>
                    </a:lnTo>
                    <a:lnTo>
                      <a:pt x="198817" y="583461"/>
                    </a:lnTo>
                    <a:lnTo>
                      <a:pt x="195726" y="581609"/>
                    </a:lnTo>
                    <a:lnTo>
                      <a:pt x="196055" y="577969"/>
                    </a:lnTo>
                    <a:lnTo>
                      <a:pt x="198629" y="574414"/>
                    </a:lnTo>
                    <a:lnTo>
                      <a:pt x="202230" y="572976"/>
                    </a:lnTo>
                    <a:lnTo>
                      <a:pt x="204736" y="571380"/>
                    </a:lnTo>
                    <a:lnTo>
                      <a:pt x="205997" y="567450"/>
                    </a:lnTo>
                    <a:lnTo>
                      <a:pt x="205746" y="563122"/>
                    </a:lnTo>
                    <a:lnTo>
                      <a:pt x="203773" y="560216"/>
                    </a:lnTo>
                    <a:lnTo>
                      <a:pt x="209068" y="556743"/>
                    </a:lnTo>
                    <a:lnTo>
                      <a:pt x="214161" y="555920"/>
                    </a:lnTo>
                    <a:lnTo>
                      <a:pt x="218213" y="552885"/>
                    </a:lnTo>
                    <a:close/>
                    <a:moveTo>
                      <a:pt x="246031" y="410451"/>
                    </a:moveTo>
                    <a:lnTo>
                      <a:pt x="248059" y="410503"/>
                    </a:lnTo>
                    <a:lnTo>
                      <a:pt x="265708" y="424542"/>
                    </a:lnTo>
                    <a:lnTo>
                      <a:pt x="263880" y="425842"/>
                    </a:lnTo>
                    <a:lnTo>
                      <a:pt x="262425" y="425886"/>
                    </a:lnTo>
                    <a:lnTo>
                      <a:pt x="258544" y="424144"/>
                    </a:lnTo>
                    <a:lnTo>
                      <a:pt x="258396" y="426752"/>
                    </a:lnTo>
                    <a:lnTo>
                      <a:pt x="262882" y="427905"/>
                    </a:lnTo>
                    <a:lnTo>
                      <a:pt x="269016" y="434472"/>
                    </a:lnTo>
                    <a:lnTo>
                      <a:pt x="273550" y="435438"/>
                    </a:lnTo>
                    <a:lnTo>
                      <a:pt x="273406" y="438030"/>
                    </a:lnTo>
                    <a:lnTo>
                      <a:pt x="267531" y="440744"/>
                    </a:lnTo>
                    <a:lnTo>
                      <a:pt x="263235" y="438357"/>
                    </a:lnTo>
                    <a:lnTo>
                      <a:pt x="259671" y="434360"/>
                    </a:lnTo>
                    <a:lnTo>
                      <a:pt x="251430" y="428728"/>
                    </a:lnTo>
                    <a:lnTo>
                      <a:pt x="247707" y="422476"/>
                    </a:lnTo>
                    <a:lnTo>
                      <a:pt x="243896" y="418085"/>
                    </a:lnTo>
                    <a:lnTo>
                      <a:pt x="239043" y="420425"/>
                    </a:lnTo>
                    <a:lnTo>
                      <a:pt x="240243" y="421739"/>
                    </a:lnTo>
                    <a:lnTo>
                      <a:pt x="241516" y="423526"/>
                    </a:lnTo>
                    <a:lnTo>
                      <a:pt x="242513" y="425466"/>
                    </a:lnTo>
                    <a:lnTo>
                      <a:pt x="242865" y="427214"/>
                    </a:lnTo>
                    <a:lnTo>
                      <a:pt x="243307" y="430479"/>
                    </a:lnTo>
                    <a:lnTo>
                      <a:pt x="244764" y="431294"/>
                    </a:lnTo>
                    <a:lnTo>
                      <a:pt x="246635" y="431198"/>
                    </a:lnTo>
                    <a:lnTo>
                      <a:pt x="248254" y="431664"/>
                    </a:lnTo>
                    <a:lnTo>
                      <a:pt x="253094" y="434303"/>
                    </a:lnTo>
                    <a:lnTo>
                      <a:pt x="253886" y="435158"/>
                    </a:lnTo>
                    <a:lnTo>
                      <a:pt x="256229" y="439929"/>
                    </a:lnTo>
                    <a:lnTo>
                      <a:pt x="259234" y="441639"/>
                    </a:lnTo>
                    <a:lnTo>
                      <a:pt x="265589" y="442101"/>
                    </a:lnTo>
                    <a:lnTo>
                      <a:pt x="268753" y="443240"/>
                    </a:lnTo>
                    <a:lnTo>
                      <a:pt x="271033" y="445935"/>
                    </a:lnTo>
                    <a:lnTo>
                      <a:pt x="272788" y="449161"/>
                    </a:lnTo>
                    <a:lnTo>
                      <a:pt x="274897" y="451472"/>
                    </a:lnTo>
                    <a:lnTo>
                      <a:pt x="278292" y="451377"/>
                    </a:lnTo>
                    <a:lnTo>
                      <a:pt x="276970" y="456910"/>
                    </a:lnTo>
                    <a:lnTo>
                      <a:pt x="274924" y="458901"/>
                    </a:lnTo>
                    <a:lnTo>
                      <a:pt x="272436" y="460042"/>
                    </a:lnTo>
                    <a:lnTo>
                      <a:pt x="269837" y="462890"/>
                    </a:lnTo>
                    <a:lnTo>
                      <a:pt x="268420" y="466269"/>
                    </a:lnTo>
                    <a:lnTo>
                      <a:pt x="265832" y="474005"/>
                    </a:lnTo>
                    <a:lnTo>
                      <a:pt x="264183" y="476967"/>
                    </a:lnTo>
                    <a:lnTo>
                      <a:pt x="260078" y="478639"/>
                    </a:lnTo>
                    <a:lnTo>
                      <a:pt x="244442" y="473496"/>
                    </a:lnTo>
                    <a:lnTo>
                      <a:pt x="244306" y="475855"/>
                    </a:lnTo>
                    <a:lnTo>
                      <a:pt x="257330" y="480729"/>
                    </a:lnTo>
                    <a:lnTo>
                      <a:pt x="260788" y="484612"/>
                    </a:lnTo>
                    <a:lnTo>
                      <a:pt x="262291" y="490581"/>
                    </a:lnTo>
                    <a:lnTo>
                      <a:pt x="262765" y="498689"/>
                    </a:lnTo>
                    <a:lnTo>
                      <a:pt x="261885" y="506272"/>
                    </a:lnTo>
                    <a:lnTo>
                      <a:pt x="259324" y="510678"/>
                    </a:lnTo>
                    <a:lnTo>
                      <a:pt x="255858" y="508164"/>
                    </a:lnTo>
                    <a:lnTo>
                      <a:pt x="251932" y="507244"/>
                    </a:lnTo>
                    <a:lnTo>
                      <a:pt x="243928" y="507199"/>
                    </a:lnTo>
                    <a:lnTo>
                      <a:pt x="243779" y="509807"/>
                    </a:lnTo>
                    <a:lnTo>
                      <a:pt x="247412" y="510681"/>
                    </a:lnTo>
                    <a:lnTo>
                      <a:pt x="254915" y="510073"/>
                    </a:lnTo>
                    <a:lnTo>
                      <a:pt x="258044" y="510606"/>
                    </a:lnTo>
                    <a:lnTo>
                      <a:pt x="261446" y="513816"/>
                    </a:lnTo>
                    <a:lnTo>
                      <a:pt x="263622" y="517984"/>
                    </a:lnTo>
                    <a:lnTo>
                      <a:pt x="266024" y="521293"/>
                    </a:lnTo>
                    <a:lnTo>
                      <a:pt x="270156" y="521940"/>
                    </a:lnTo>
                    <a:lnTo>
                      <a:pt x="270024" y="524315"/>
                    </a:lnTo>
                    <a:lnTo>
                      <a:pt x="264928" y="529128"/>
                    </a:lnTo>
                    <a:lnTo>
                      <a:pt x="248024" y="524591"/>
                    </a:lnTo>
                    <a:lnTo>
                      <a:pt x="241306" y="528184"/>
                    </a:lnTo>
                    <a:lnTo>
                      <a:pt x="235717" y="520671"/>
                    </a:lnTo>
                    <a:lnTo>
                      <a:pt x="234149" y="516486"/>
                    </a:lnTo>
                    <a:lnTo>
                      <a:pt x="229942" y="496138"/>
                    </a:lnTo>
                    <a:lnTo>
                      <a:pt x="229527" y="489932"/>
                    </a:lnTo>
                    <a:lnTo>
                      <a:pt x="231023" y="485547"/>
                    </a:lnTo>
                    <a:lnTo>
                      <a:pt x="231175" y="482939"/>
                    </a:lnTo>
                    <a:lnTo>
                      <a:pt x="227948" y="477707"/>
                    </a:lnTo>
                    <a:lnTo>
                      <a:pt x="225828" y="475607"/>
                    </a:lnTo>
                    <a:lnTo>
                      <a:pt x="223162" y="474642"/>
                    </a:lnTo>
                    <a:lnTo>
                      <a:pt x="225964" y="471721"/>
                    </a:lnTo>
                    <a:lnTo>
                      <a:pt x="227727" y="469097"/>
                    </a:lnTo>
                    <a:lnTo>
                      <a:pt x="230837" y="462004"/>
                    </a:lnTo>
                    <a:lnTo>
                      <a:pt x="232028" y="458038"/>
                    </a:lnTo>
                    <a:lnTo>
                      <a:pt x="232708" y="454760"/>
                    </a:lnTo>
                    <a:lnTo>
                      <a:pt x="233861" y="452583"/>
                    </a:lnTo>
                    <a:lnTo>
                      <a:pt x="236569" y="451898"/>
                    </a:lnTo>
                    <a:lnTo>
                      <a:pt x="238392" y="446722"/>
                    </a:lnTo>
                    <a:lnTo>
                      <a:pt x="236634" y="434988"/>
                    </a:lnTo>
                    <a:lnTo>
                      <a:pt x="232166" y="417413"/>
                    </a:lnTo>
                    <a:lnTo>
                      <a:pt x="236393" y="414603"/>
                    </a:lnTo>
                    <a:close/>
                    <a:moveTo>
                      <a:pt x="246437" y="379296"/>
                    </a:moveTo>
                    <a:lnTo>
                      <a:pt x="251256" y="379336"/>
                    </a:lnTo>
                    <a:lnTo>
                      <a:pt x="253553" y="381320"/>
                    </a:lnTo>
                    <a:lnTo>
                      <a:pt x="256034" y="382301"/>
                    </a:lnTo>
                    <a:lnTo>
                      <a:pt x="258589" y="381977"/>
                    </a:lnTo>
                    <a:lnTo>
                      <a:pt x="261052" y="379887"/>
                    </a:lnTo>
                    <a:lnTo>
                      <a:pt x="262170" y="381724"/>
                    </a:lnTo>
                    <a:lnTo>
                      <a:pt x="263753" y="382747"/>
                    </a:lnTo>
                    <a:lnTo>
                      <a:pt x="265742" y="383091"/>
                    </a:lnTo>
                    <a:lnTo>
                      <a:pt x="268047" y="382892"/>
                    </a:lnTo>
                    <a:lnTo>
                      <a:pt x="267603" y="384534"/>
                    </a:lnTo>
                    <a:lnTo>
                      <a:pt x="267496" y="384809"/>
                    </a:lnTo>
                    <a:lnTo>
                      <a:pt x="267241" y="384732"/>
                    </a:lnTo>
                    <a:lnTo>
                      <a:pt x="266365" y="385415"/>
                    </a:lnTo>
                    <a:lnTo>
                      <a:pt x="268029" y="387095"/>
                    </a:lnTo>
                    <a:lnTo>
                      <a:pt x="269739" y="386910"/>
                    </a:lnTo>
                    <a:lnTo>
                      <a:pt x="271533" y="386121"/>
                    </a:lnTo>
                    <a:lnTo>
                      <a:pt x="273493" y="385808"/>
                    </a:lnTo>
                    <a:lnTo>
                      <a:pt x="274860" y="386537"/>
                    </a:lnTo>
                    <a:lnTo>
                      <a:pt x="280218" y="391394"/>
                    </a:lnTo>
                    <a:lnTo>
                      <a:pt x="278801" y="393683"/>
                    </a:lnTo>
                    <a:lnTo>
                      <a:pt x="276098" y="391823"/>
                    </a:lnTo>
                    <a:lnTo>
                      <a:pt x="271206" y="395866"/>
                    </a:lnTo>
                    <a:lnTo>
                      <a:pt x="267315" y="395917"/>
                    </a:lnTo>
                    <a:lnTo>
                      <a:pt x="268208" y="399734"/>
                    </a:lnTo>
                    <a:lnTo>
                      <a:pt x="269880" y="401306"/>
                    </a:lnTo>
                    <a:lnTo>
                      <a:pt x="274652" y="401553"/>
                    </a:lnTo>
                    <a:lnTo>
                      <a:pt x="277545" y="402894"/>
                    </a:lnTo>
                    <a:lnTo>
                      <a:pt x="279032" y="405561"/>
                    </a:lnTo>
                    <a:lnTo>
                      <a:pt x="278612" y="408154"/>
                    </a:lnTo>
                    <a:lnTo>
                      <a:pt x="260514" y="412465"/>
                    </a:lnTo>
                    <a:lnTo>
                      <a:pt x="255200" y="410906"/>
                    </a:lnTo>
                    <a:lnTo>
                      <a:pt x="239770" y="400096"/>
                    </a:lnTo>
                    <a:lnTo>
                      <a:pt x="237673" y="395521"/>
                    </a:lnTo>
                    <a:lnTo>
                      <a:pt x="239099" y="388440"/>
                    </a:lnTo>
                    <a:lnTo>
                      <a:pt x="242198" y="382668"/>
                    </a:lnTo>
                    <a:close/>
                    <a:moveTo>
                      <a:pt x="262563" y="303965"/>
                    </a:moveTo>
                    <a:lnTo>
                      <a:pt x="262429" y="306325"/>
                    </a:lnTo>
                    <a:lnTo>
                      <a:pt x="261107" y="307589"/>
                    </a:lnTo>
                    <a:lnTo>
                      <a:pt x="260063" y="309103"/>
                    </a:lnTo>
                    <a:lnTo>
                      <a:pt x="257816" y="313882"/>
                    </a:lnTo>
                    <a:lnTo>
                      <a:pt x="268694" y="319225"/>
                    </a:lnTo>
                    <a:lnTo>
                      <a:pt x="272986" y="319961"/>
                    </a:lnTo>
                    <a:lnTo>
                      <a:pt x="273133" y="317353"/>
                    </a:lnTo>
                    <a:lnTo>
                      <a:pt x="271789" y="316937"/>
                    </a:lnTo>
                    <a:lnTo>
                      <a:pt x="269093" y="314513"/>
                    </a:lnTo>
                    <a:lnTo>
                      <a:pt x="273544" y="312845"/>
                    </a:lnTo>
                    <a:lnTo>
                      <a:pt x="283523" y="306091"/>
                    </a:lnTo>
                    <a:lnTo>
                      <a:pt x="289153" y="305432"/>
                    </a:lnTo>
                    <a:lnTo>
                      <a:pt x="291513" y="309141"/>
                    </a:lnTo>
                    <a:lnTo>
                      <a:pt x="292090" y="312737"/>
                    </a:lnTo>
                    <a:lnTo>
                      <a:pt x="290662" y="315852"/>
                    </a:lnTo>
                    <a:lnTo>
                      <a:pt x="286938" y="318110"/>
                    </a:lnTo>
                    <a:lnTo>
                      <a:pt x="290145" y="320402"/>
                    </a:lnTo>
                    <a:lnTo>
                      <a:pt x="296504" y="317475"/>
                    </a:lnTo>
                    <a:lnTo>
                      <a:pt x="299088" y="319606"/>
                    </a:lnTo>
                    <a:lnTo>
                      <a:pt x="302100" y="319985"/>
                    </a:lnTo>
                    <a:lnTo>
                      <a:pt x="306582" y="320317"/>
                    </a:lnTo>
                    <a:lnTo>
                      <a:pt x="310246" y="322689"/>
                    </a:lnTo>
                    <a:lnTo>
                      <a:pt x="311838" y="327521"/>
                    </a:lnTo>
                    <a:lnTo>
                      <a:pt x="309604" y="329552"/>
                    </a:lnTo>
                    <a:lnTo>
                      <a:pt x="305800" y="335796"/>
                    </a:lnTo>
                    <a:lnTo>
                      <a:pt x="304316" y="337322"/>
                    </a:lnTo>
                    <a:lnTo>
                      <a:pt x="301500" y="336642"/>
                    </a:lnTo>
                    <a:lnTo>
                      <a:pt x="299598" y="333864"/>
                    </a:lnTo>
                    <a:lnTo>
                      <a:pt x="298196" y="330815"/>
                    </a:lnTo>
                    <a:lnTo>
                      <a:pt x="296933" y="329346"/>
                    </a:lnTo>
                    <a:lnTo>
                      <a:pt x="294709" y="328386"/>
                    </a:lnTo>
                    <a:lnTo>
                      <a:pt x="290324" y="323525"/>
                    </a:lnTo>
                    <a:lnTo>
                      <a:pt x="281182" y="323028"/>
                    </a:lnTo>
                    <a:lnTo>
                      <a:pt x="281025" y="325869"/>
                    </a:lnTo>
                    <a:lnTo>
                      <a:pt x="283389" y="326231"/>
                    </a:lnTo>
                    <a:lnTo>
                      <a:pt x="284774" y="327117"/>
                    </a:lnTo>
                    <a:lnTo>
                      <a:pt x="284912" y="328682"/>
                    </a:lnTo>
                    <a:lnTo>
                      <a:pt x="283558" y="331005"/>
                    </a:lnTo>
                    <a:lnTo>
                      <a:pt x="283401" y="333846"/>
                    </a:lnTo>
                    <a:lnTo>
                      <a:pt x="289330" y="333717"/>
                    </a:lnTo>
                    <a:lnTo>
                      <a:pt x="291036" y="335615"/>
                    </a:lnTo>
                    <a:lnTo>
                      <a:pt x="291411" y="340820"/>
                    </a:lnTo>
                    <a:lnTo>
                      <a:pt x="292637" y="344342"/>
                    </a:lnTo>
                    <a:lnTo>
                      <a:pt x="295950" y="344660"/>
                    </a:lnTo>
                    <a:lnTo>
                      <a:pt x="302623" y="342727"/>
                    </a:lnTo>
                    <a:lnTo>
                      <a:pt x="298168" y="350851"/>
                    </a:lnTo>
                    <a:lnTo>
                      <a:pt x="292985" y="354170"/>
                    </a:lnTo>
                    <a:lnTo>
                      <a:pt x="280965" y="354625"/>
                    </a:lnTo>
                    <a:lnTo>
                      <a:pt x="279434" y="355102"/>
                    </a:lnTo>
                    <a:lnTo>
                      <a:pt x="276364" y="356833"/>
                    </a:lnTo>
                    <a:lnTo>
                      <a:pt x="275107" y="356888"/>
                    </a:lnTo>
                    <a:lnTo>
                      <a:pt x="273769" y="355273"/>
                    </a:lnTo>
                    <a:lnTo>
                      <a:pt x="272252" y="350144"/>
                    </a:lnTo>
                    <a:lnTo>
                      <a:pt x="271363" y="348866"/>
                    </a:lnTo>
                    <a:lnTo>
                      <a:pt x="268632" y="349462"/>
                    </a:lnTo>
                    <a:lnTo>
                      <a:pt x="259597" y="356027"/>
                    </a:lnTo>
                    <a:lnTo>
                      <a:pt x="259435" y="358883"/>
                    </a:lnTo>
                    <a:lnTo>
                      <a:pt x="274181" y="359703"/>
                    </a:lnTo>
                    <a:lnTo>
                      <a:pt x="286408" y="356804"/>
                    </a:lnTo>
                    <a:lnTo>
                      <a:pt x="290485" y="357725"/>
                    </a:lnTo>
                    <a:lnTo>
                      <a:pt x="293902" y="359264"/>
                    </a:lnTo>
                    <a:lnTo>
                      <a:pt x="295156" y="360639"/>
                    </a:lnTo>
                    <a:lnTo>
                      <a:pt x="295792" y="363242"/>
                    </a:lnTo>
                    <a:lnTo>
                      <a:pt x="294970" y="365596"/>
                    </a:lnTo>
                    <a:lnTo>
                      <a:pt x="290380" y="373414"/>
                    </a:lnTo>
                    <a:lnTo>
                      <a:pt x="281874" y="372332"/>
                    </a:lnTo>
                    <a:lnTo>
                      <a:pt x="277606" y="372814"/>
                    </a:lnTo>
                    <a:lnTo>
                      <a:pt x="274076" y="375377"/>
                    </a:lnTo>
                    <a:lnTo>
                      <a:pt x="270899" y="372632"/>
                    </a:lnTo>
                    <a:lnTo>
                      <a:pt x="263702" y="372826"/>
                    </a:lnTo>
                    <a:lnTo>
                      <a:pt x="260099" y="371752"/>
                    </a:lnTo>
                    <a:lnTo>
                      <a:pt x="258250" y="370293"/>
                    </a:lnTo>
                    <a:lnTo>
                      <a:pt x="257527" y="369318"/>
                    </a:lnTo>
                    <a:lnTo>
                      <a:pt x="255426" y="364668"/>
                    </a:lnTo>
                    <a:lnTo>
                      <a:pt x="254828" y="362548"/>
                    </a:lnTo>
                    <a:lnTo>
                      <a:pt x="253997" y="360430"/>
                    </a:lnTo>
                    <a:lnTo>
                      <a:pt x="252453" y="358490"/>
                    </a:lnTo>
                    <a:lnTo>
                      <a:pt x="254230" y="358404"/>
                    </a:lnTo>
                    <a:lnTo>
                      <a:pt x="258331" y="355956"/>
                    </a:lnTo>
                    <a:lnTo>
                      <a:pt x="251620" y="354955"/>
                    </a:lnTo>
                    <a:lnTo>
                      <a:pt x="239738" y="346069"/>
                    </a:lnTo>
                    <a:lnTo>
                      <a:pt x="233539" y="344122"/>
                    </a:lnTo>
                    <a:lnTo>
                      <a:pt x="231997" y="346478"/>
                    </a:lnTo>
                    <a:lnTo>
                      <a:pt x="230523" y="348105"/>
                    </a:lnTo>
                    <a:lnTo>
                      <a:pt x="229052" y="348830"/>
                    </a:lnTo>
                    <a:lnTo>
                      <a:pt x="227440" y="348393"/>
                    </a:lnTo>
                    <a:lnTo>
                      <a:pt x="224998" y="346615"/>
                    </a:lnTo>
                    <a:lnTo>
                      <a:pt x="221774" y="345070"/>
                    </a:lnTo>
                    <a:lnTo>
                      <a:pt x="212899" y="337677"/>
                    </a:lnTo>
                    <a:lnTo>
                      <a:pt x="213056" y="335070"/>
                    </a:lnTo>
                    <a:lnTo>
                      <a:pt x="217877" y="332070"/>
                    </a:lnTo>
                    <a:lnTo>
                      <a:pt x="221462" y="325708"/>
                    </a:lnTo>
                    <a:lnTo>
                      <a:pt x="224681" y="318298"/>
                    </a:lnTo>
                    <a:lnTo>
                      <a:pt x="228420" y="312193"/>
                    </a:lnTo>
                    <a:lnTo>
                      <a:pt x="232608" y="314914"/>
                    </a:lnTo>
                    <a:lnTo>
                      <a:pt x="246671" y="313249"/>
                    </a:lnTo>
                    <a:lnTo>
                      <a:pt x="246520" y="315856"/>
                    </a:lnTo>
                    <a:lnTo>
                      <a:pt x="244911" y="316014"/>
                    </a:lnTo>
                    <a:lnTo>
                      <a:pt x="240794" y="318144"/>
                    </a:lnTo>
                    <a:lnTo>
                      <a:pt x="244154" y="323289"/>
                    </a:lnTo>
                    <a:lnTo>
                      <a:pt x="250575" y="317489"/>
                    </a:lnTo>
                    <a:lnTo>
                      <a:pt x="257544" y="308447"/>
                    </a:lnTo>
                    <a:close/>
                    <a:moveTo>
                      <a:pt x="294349" y="287169"/>
                    </a:moveTo>
                    <a:lnTo>
                      <a:pt x="295999" y="291354"/>
                    </a:lnTo>
                    <a:lnTo>
                      <a:pt x="292093" y="295408"/>
                    </a:lnTo>
                    <a:lnTo>
                      <a:pt x="286044" y="297836"/>
                    </a:lnTo>
                    <a:lnTo>
                      <a:pt x="281253" y="296920"/>
                    </a:lnTo>
                    <a:lnTo>
                      <a:pt x="290438" y="287845"/>
                    </a:lnTo>
                    <a:close/>
                    <a:moveTo>
                      <a:pt x="0" y="231348"/>
                    </a:moveTo>
                    <a:lnTo>
                      <a:pt x="2989" y="234177"/>
                    </a:lnTo>
                    <a:lnTo>
                      <a:pt x="10258" y="235764"/>
                    </a:lnTo>
                    <a:lnTo>
                      <a:pt x="13540" y="237831"/>
                    </a:lnTo>
                    <a:lnTo>
                      <a:pt x="9819" y="241905"/>
                    </a:lnTo>
                    <a:lnTo>
                      <a:pt x="5285" y="242644"/>
                    </a:lnTo>
                    <a:lnTo>
                      <a:pt x="1494" y="239305"/>
                    </a:lnTo>
                    <a:close/>
                    <a:moveTo>
                      <a:pt x="327744" y="218178"/>
                    </a:moveTo>
                    <a:lnTo>
                      <a:pt x="331285" y="220976"/>
                    </a:lnTo>
                    <a:lnTo>
                      <a:pt x="330919" y="229209"/>
                    </a:lnTo>
                    <a:lnTo>
                      <a:pt x="328380" y="230587"/>
                    </a:lnTo>
                    <a:lnTo>
                      <a:pt x="321452" y="225448"/>
                    </a:lnTo>
                    <a:lnTo>
                      <a:pt x="320514" y="229710"/>
                    </a:lnTo>
                    <a:lnTo>
                      <a:pt x="318943" y="232166"/>
                    </a:lnTo>
                    <a:lnTo>
                      <a:pt x="316781" y="233251"/>
                    </a:lnTo>
                    <a:lnTo>
                      <a:pt x="313960" y="233382"/>
                    </a:lnTo>
                    <a:lnTo>
                      <a:pt x="314592" y="230240"/>
                    </a:lnTo>
                    <a:lnTo>
                      <a:pt x="314692" y="229451"/>
                    </a:lnTo>
                    <a:lnTo>
                      <a:pt x="314479" y="229253"/>
                    </a:lnTo>
                    <a:lnTo>
                      <a:pt x="314253" y="227903"/>
                    </a:lnTo>
                    <a:lnTo>
                      <a:pt x="323127" y="220086"/>
                    </a:lnTo>
                    <a:close/>
                    <a:moveTo>
                      <a:pt x="361724" y="91445"/>
                    </a:moveTo>
                    <a:lnTo>
                      <a:pt x="365430" y="93311"/>
                    </a:lnTo>
                    <a:lnTo>
                      <a:pt x="371529" y="101099"/>
                    </a:lnTo>
                    <a:lnTo>
                      <a:pt x="373672" y="99881"/>
                    </a:lnTo>
                    <a:lnTo>
                      <a:pt x="375376" y="101878"/>
                    </a:lnTo>
                    <a:lnTo>
                      <a:pt x="376797" y="104282"/>
                    </a:lnTo>
                    <a:lnTo>
                      <a:pt x="377910" y="107138"/>
                    </a:lnTo>
                    <a:lnTo>
                      <a:pt x="378650" y="110568"/>
                    </a:lnTo>
                    <a:lnTo>
                      <a:pt x="362153" y="109755"/>
                    </a:lnTo>
                    <a:lnTo>
                      <a:pt x="362286" y="107147"/>
                    </a:lnTo>
                    <a:lnTo>
                      <a:pt x="364374" y="107375"/>
                    </a:lnTo>
                    <a:lnTo>
                      <a:pt x="365035" y="107284"/>
                    </a:lnTo>
                    <a:lnTo>
                      <a:pt x="365156" y="104893"/>
                    </a:lnTo>
                    <a:lnTo>
                      <a:pt x="362692" y="103339"/>
                    </a:lnTo>
                    <a:lnTo>
                      <a:pt x="360848" y="99619"/>
                    </a:lnTo>
                    <a:lnTo>
                      <a:pt x="360284" y="95249"/>
                    </a:lnTo>
                    <a:close/>
                    <a:moveTo>
                      <a:pt x="488855" y="0"/>
                    </a:moveTo>
                    <a:lnTo>
                      <a:pt x="493660" y="603"/>
                    </a:lnTo>
                    <a:lnTo>
                      <a:pt x="497501" y="5253"/>
                    </a:lnTo>
                    <a:lnTo>
                      <a:pt x="500745" y="12244"/>
                    </a:lnTo>
                    <a:lnTo>
                      <a:pt x="502972" y="19676"/>
                    </a:lnTo>
                    <a:lnTo>
                      <a:pt x="503675" y="25801"/>
                    </a:lnTo>
                    <a:lnTo>
                      <a:pt x="507020" y="32094"/>
                    </a:lnTo>
                    <a:lnTo>
                      <a:pt x="507485" y="36126"/>
                    </a:lnTo>
                    <a:lnTo>
                      <a:pt x="503798" y="37785"/>
                    </a:lnTo>
                    <a:lnTo>
                      <a:pt x="502220" y="39883"/>
                    </a:lnTo>
                    <a:lnTo>
                      <a:pt x="496976" y="55539"/>
                    </a:lnTo>
                    <a:lnTo>
                      <a:pt x="498562" y="58077"/>
                    </a:lnTo>
                    <a:lnTo>
                      <a:pt x="500761" y="60032"/>
                    </a:lnTo>
                    <a:lnTo>
                      <a:pt x="503386" y="61133"/>
                    </a:lnTo>
                    <a:lnTo>
                      <a:pt x="506350" y="61141"/>
                    </a:lnTo>
                    <a:lnTo>
                      <a:pt x="506236" y="63983"/>
                    </a:lnTo>
                    <a:lnTo>
                      <a:pt x="501865" y="65988"/>
                    </a:lnTo>
                    <a:lnTo>
                      <a:pt x="492584" y="72489"/>
                    </a:lnTo>
                    <a:lnTo>
                      <a:pt x="489163" y="76116"/>
                    </a:lnTo>
                    <a:lnTo>
                      <a:pt x="490027" y="79526"/>
                    </a:lnTo>
                    <a:lnTo>
                      <a:pt x="489637" y="82030"/>
                    </a:lnTo>
                    <a:lnTo>
                      <a:pt x="488084" y="83569"/>
                    </a:lnTo>
                    <a:lnTo>
                      <a:pt x="485447" y="84021"/>
                    </a:lnTo>
                    <a:lnTo>
                      <a:pt x="483019" y="85135"/>
                    </a:lnTo>
                    <a:lnTo>
                      <a:pt x="480872" y="90444"/>
                    </a:lnTo>
                    <a:lnTo>
                      <a:pt x="474821" y="92604"/>
                    </a:lnTo>
                    <a:lnTo>
                      <a:pt x="474284" y="95397"/>
                    </a:lnTo>
                    <a:lnTo>
                      <a:pt x="474738" y="98776"/>
                    </a:lnTo>
                    <a:lnTo>
                      <a:pt x="474339" y="101607"/>
                    </a:lnTo>
                    <a:lnTo>
                      <a:pt x="472426" y="103426"/>
                    </a:lnTo>
                    <a:lnTo>
                      <a:pt x="470175" y="104139"/>
                    </a:lnTo>
                    <a:lnTo>
                      <a:pt x="464615" y="104044"/>
                    </a:lnTo>
                    <a:lnTo>
                      <a:pt x="468047" y="110350"/>
                    </a:lnTo>
                    <a:lnTo>
                      <a:pt x="475362" y="112991"/>
                    </a:lnTo>
                    <a:lnTo>
                      <a:pt x="483424" y="112765"/>
                    </a:lnTo>
                    <a:lnTo>
                      <a:pt x="489093" y="110493"/>
                    </a:lnTo>
                    <a:lnTo>
                      <a:pt x="499266" y="100246"/>
                    </a:lnTo>
                    <a:lnTo>
                      <a:pt x="502364" y="98597"/>
                    </a:lnTo>
                    <a:lnTo>
                      <a:pt x="506161" y="97441"/>
                    </a:lnTo>
                    <a:lnTo>
                      <a:pt x="508245" y="97756"/>
                    </a:lnTo>
                    <a:lnTo>
                      <a:pt x="506257" y="100525"/>
                    </a:lnTo>
                    <a:lnTo>
                      <a:pt x="506162" y="102901"/>
                    </a:lnTo>
                    <a:lnTo>
                      <a:pt x="507397" y="102950"/>
                    </a:lnTo>
                    <a:lnTo>
                      <a:pt x="506381" y="104776"/>
                    </a:lnTo>
                    <a:lnTo>
                      <a:pt x="505328" y="107115"/>
                    </a:lnTo>
                    <a:lnTo>
                      <a:pt x="504445" y="108293"/>
                    </a:lnTo>
                    <a:lnTo>
                      <a:pt x="504912" y="109712"/>
                    </a:lnTo>
                    <a:lnTo>
                      <a:pt x="505733" y="113556"/>
                    </a:lnTo>
                    <a:lnTo>
                      <a:pt x="500314" y="115969"/>
                    </a:lnTo>
                    <a:lnTo>
                      <a:pt x="498492" y="117203"/>
                    </a:lnTo>
                    <a:lnTo>
                      <a:pt x="497030" y="118871"/>
                    </a:lnTo>
                    <a:lnTo>
                      <a:pt x="494962" y="122491"/>
                    </a:lnTo>
                    <a:lnTo>
                      <a:pt x="494180" y="123549"/>
                    </a:lnTo>
                    <a:lnTo>
                      <a:pt x="490429" y="125372"/>
                    </a:lnTo>
                    <a:lnTo>
                      <a:pt x="487654" y="124808"/>
                    </a:lnTo>
                    <a:lnTo>
                      <a:pt x="481929" y="120436"/>
                    </a:lnTo>
                    <a:lnTo>
                      <a:pt x="478588" y="119115"/>
                    </a:lnTo>
                    <a:lnTo>
                      <a:pt x="469555" y="119921"/>
                    </a:lnTo>
                    <a:lnTo>
                      <a:pt x="466248" y="118598"/>
                    </a:lnTo>
                    <a:lnTo>
                      <a:pt x="460427" y="114399"/>
                    </a:lnTo>
                    <a:lnTo>
                      <a:pt x="457295" y="114172"/>
                    </a:lnTo>
                    <a:lnTo>
                      <a:pt x="461365" y="128270"/>
                    </a:lnTo>
                    <a:lnTo>
                      <a:pt x="463372" y="132728"/>
                    </a:lnTo>
                    <a:lnTo>
                      <a:pt x="461610" y="134348"/>
                    </a:lnTo>
                    <a:lnTo>
                      <a:pt x="460830" y="135855"/>
                    </a:lnTo>
                    <a:lnTo>
                      <a:pt x="460903" y="137772"/>
                    </a:lnTo>
                    <a:lnTo>
                      <a:pt x="461647" y="140697"/>
                    </a:lnTo>
                    <a:lnTo>
                      <a:pt x="457946" y="143419"/>
                    </a:lnTo>
                    <a:lnTo>
                      <a:pt x="447653" y="145323"/>
                    </a:lnTo>
                    <a:lnTo>
                      <a:pt x="440522" y="153491"/>
                    </a:lnTo>
                    <a:lnTo>
                      <a:pt x="437421" y="155314"/>
                    </a:lnTo>
                    <a:lnTo>
                      <a:pt x="435521" y="155105"/>
                    </a:lnTo>
                    <a:lnTo>
                      <a:pt x="432534" y="152778"/>
                    </a:lnTo>
                    <a:lnTo>
                      <a:pt x="430650" y="152414"/>
                    </a:lnTo>
                    <a:lnTo>
                      <a:pt x="424903" y="157369"/>
                    </a:lnTo>
                    <a:lnTo>
                      <a:pt x="414257" y="159793"/>
                    </a:lnTo>
                    <a:lnTo>
                      <a:pt x="411002" y="159348"/>
                    </a:lnTo>
                    <a:lnTo>
                      <a:pt x="410880" y="161957"/>
                    </a:lnTo>
                    <a:lnTo>
                      <a:pt x="418558" y="162527"/>
                    </a:lnTo>
                    <a:lnTo>
                      <a:pt x="445080" y="157332"/>
                    </a:lnTo>
                    <a:lnTo>
                      <a:pt x="451439" y="153795"/>
                    </a:lnTo>
                    <a:lnTo>
                      <a:pt x="454193" y="153448"/>
                    </a:lnTo>
                    <a:lnTo>
                      <a:pt x="456744" y="155503"/>
                    </a:lnTo>
                    <a:lnTo>
                      <a:pt x="458622" y="159411"/>
                    </a:lnTo>
                    <a:lnTo>
                      <a:pt x="459487" y="164317"/>
                    </a:lnTo>
                    <a:lnTo>
                      <a:pt x="459024" y="169291"/>
                    </a:lnTo>
                    <a:lnTo>
                      <a:pt x="459817" y="169979"/>
                    </a:lnTo>
                    <a:lnTo>
                      <a:pt x="461662" y="172251"/>
                    </a:lnTo>
                    <a:lnTo>
                      <a:pt x="460040" y="174329"/>
                    </a:lnTo>
                    <a:lnTo>
                      <a:pt x="458312" y="175796"/>
                    </a:lnTo>
                    <a:lnTo>
                      <a:pt x="456494" y="176684"/>
                    </a:lnTo>
                    <a:lnTo>
                      <a:pt x="454547" y="176942"/>
                    </a:lnTo>
                    <a:lnTo>
                      <a:pt x="456655" y="178666"/>
                    </a:lnTo>
                    <a:lnTo>
                      <a:pt x="459000" y="179699"/>
                    </a:lnTo>
                    <a:lnTo>
                      <a:pt x="461527" y="180134"/>
                    </a:lnTo>
                    <a:lnTo>
                      <a:pt x="464097" y="179962"/>
                    </a:lnTo>
                    <a:lnTo>
                      <a:pt x="460166" y="184153"/>
                    </a:lnTo>
                    <a:lnTo>
                      <a:pt x="457124" y="188348"/>
                    </a:lnTo>
                    <a:lnTo>
                      <a:pt x="453786" y="191504"/>
                    </a:lnTo>
                    <a:lnTo>
                      <a:pt x="448954" y="192603"/>
                    </a:lnTo>
                    <a:lnTo>
                      <a:pt x="430138" y="188429"/>
                    </a:lnTo>
                    <a:lnTo>
                      <a:pt x="425957" y="186467"/>
                    </a:lnTo>
                    <a:lnTo>
                      <a:pt x="424825" y="186323"/>
                    </a:lnTo>
                    <a:lnTo>
                      <a:pt x="423526" y="189112"/>
                    </a:lnTo>
                    <a:lnTo>
                      <a:pt x="425161" y="190866"/>
                    </a:lnTo>
                    <a:lnTo>
                      <a:pt x="429423" y="192925"/>
                    </a:lnTo>
                    <a:lnTo>
                      <a:pt x="432441" y="196234"/>
                    </a:lnTo>
                    <a:lnTo>
                      <a:pt x="439525" y="198694"/>
                    </a:lnTo>
                    <a:lnTo>
                      <a:pt x="442216" y="202766"/>
                    </a:lnTo>
                    <a:lnTo>
                      <a:pt x="442100" y="205375"/>
                    </a:lnTo>
                    <a:lnTo>
                      <a:pt x="440102" y="206842"/>
                    </a:lnTo>
                    <a:lnTo>
                      <a:pt x="436550" y="212754"/>
                    </a:lnTo>
                    <a:lnTo>
                      <a:pt x="434720" y="215241"/>
                    </a:lnTo>
                    <a:lnTo>
                      <a:pt x="430969" y="217782"/>
                    </a:lnTo>
                    <a:lnTo>
                      <a:pt x="428432" y="217435"/>
                    </a:lnTo>
                    <a:lnTo>
                      <a:pt x="425917" y="215861"/>
                    </a:lnTo>
                    <a:lnTo>
                      <a:pt x="422269" y="214684"/>
                    </a:lnTo>
                    <a:lnTo>
                      <a:pt x="422138" y="217526"/>
                    </a:lnTo>
                    <a:lnTo>
                      <a:pt x="422998" y="218251"/>
                    </a:lnTo>
                    <a:lnTo>
                      <a:pt x="423902" y="219426"/>
                    </a:lnTo>
                    <a:lnTo>
                      <a:pt x="424782" y="220260"/>
                    </a:lnTo>
                    <a:lnTo>
                      <a:pt x="424652" y="223102"/>
                    </a:lnTo>
                    <a:lnTo>
                      <a:pt x="420015" y="225227"/>
                    </a:lnTo>
                    <a:lnTo>
                      <a:pt x="416271" y="224295"/>
                    </a:lnTo>
                    <a:lnTo>
                      <a:pt x="413279" y="221232"/>
                    </a:lnTo>
                    <a:lnTo>
                      <a:pt x="410938" y="217016"/>
                    </a:lnTo>
                    <a:lnTo>
                      <a:pt x="409432" y="211765"/>
                    </a:lnTo>
                    <a:lnTo>
                      <a:pt x="408416" y="209664"/>
                    </a:lnTo>
                    <a:lnTo>
                      <a:pt x="406551" y="208737"/>
                    </a:lnTo>
                    <a:lnTo>
                      <a:pt x="405421" y="210646"/>
                    </a:lnTo>
                    <a:lnTo>
                      <a:pt x="406305" y="215029"/>
                    </a:lnTo>
                    <a:lnTo>
                      <a:pt x="408034" y="219730"/>
                    </a:lnTo>
                    <a:lnTo>
                      <a:pt x="409430" y="222409"/>
                    </a:lnTo>
                    <a:lnTo>
                      <a:pt x="407932" y="224721"/>
                    </a:lnTo>
                    <a:lnTo>
                      <a:pt x="401637" y="221100"/>
                    </a:lnTo>
                    <a:lnTo>
                      <a:pt x="399747" y="219112"/>
                    </a:lnTo>
                    <a:lnTo>
                      <a:pt x="398785" y="217106"/>
                    </a:lnTo>
                    <a:lnTo>
                      <a:pt x="397738" y="212358"/>
                    </a:lnTo>
                    <a:lnTo>
                      <a:pt x="392741" y="200637"/>
                    </a:lnTo>
                    <a:lnTo>
                      <a:pt x="391381" y="195468"/>
                    </a:lnTo>
                    <a:lnTo>
                      <a:pt x="391315" y="189987"/>
                    </a:lnTo>
                    <a:lnTo>
                      <a:pt x="394776" y="180128"/>
                    </a:lnTo>
                    <a:lnTo>
                      <a:pt x="400864" y="174844"/>
                    </a:lnTo>
                    <a:lnTo>
                      <a:pt x="408327" y="172794"/>
                    </a:lnTo>
                    <a:lnTo>
                      <a:pt x="415915" y="172614"/>
                    </a:lnTo>
                    <a:lnTo>
                      <a:pt x="416025" y="170238"/>
                    </a:lnTo>
                    <a:lnTo>
                      <a:pt x="396580" y="169335"/>
                    </a:lnTo>
                    <a:lnTo>
                      <a:pt x="396466" y="171710"/>
                    </a:lnTo>
                    <a:lnTo>
                      <a:pt x="395370" y="176001"/>
                    </a:lnTo>
                    <a:lnTo>
                      <a:pt x="390355" y="181879"/>
                    </a:lnTo>
                    <a:lnTo>
                      <a:pt x="384335" y="187133"/>
                    </a:lnTo>
                    <a:lnTo>
                      <a:pt x="380262" y="189459"/>
                    </a:lnTo>
                    <a:lnTo>
                      <a:pt x="382717" y="193747"/>
                    </a:lnTo>
                    <a:lnTo>
                      <a:pt x="386367" y="205407"/>
                    </a:lnTo>
                    <a:lnTo>
                      <a:pt x="388501" y="207890"/>
                    </a:lnTo>
                    <a:lnTo>
                      <a:pt x="391321" y="209378"/>
                    </a:lnTo>
                    <a:lnTo>
                      <a:pt x="393504" y="212595"/>
                    </a:lnTo>
                    <a:lnTo>
                      <a:pt x="395321" y="216243"/>
                    </a:lnTo>
                    <a:lnTo>
                      <a:pt x="397108" y="218989"/>
                    </a:lnTo>
                    <a:lnTo>
                      <a:pt x="395983" y="219683"/>
                    </a:lnTo>
                    <a:lnTo>
                      <a:pt x="395103" y="220638"/>
                    </a:lnTo>
                    <a:lnTo>
                      <a:pt x="394048" y="221413"/>
                    </a:lnTo>
                    <a:lnTo>
                      <a:pt x="392575" y="221623"/>
                    </a:lnTo>
                    <a:lnTo>
                      <a:pt x="393819" y="224126"/>
                    </a:lnTo>
                    <a:lnTo>
                      <a:pt x="395516" y="225310"/>
                    </a:lnTo>
                    <a:lnTo>
                      <a:pt x="397106" y="225945"/>
                    </a:lnTo>
                    <a:lnTo>
                      <a:pt x="397988" y="226873"/>
                    </a:lnTo>
                    <a:lnTo>
                      <a:pt x="398403" y="229461"/>
                    </a:lnTo>
                    <a:lnTo>
                      <a:pt x="398868" y="237606"/>
                    </a:lnTo>
                    <a:lnTo>
                      <a:pt x="382438" y="232643"/>
                    </a:lnTo>
                    <a:lnTo>
                      <a:pt x="375590" y="228173"/>
                    </a:lnTo>
                    <a:lnTo>
                      <a:pt x="373631" y="229323"/>
                    </a:lnTo>
                    <a:lnTo>
                      <a:pt x="372445" y="231211"/>
                    </a:lnTo>
                    <a:lnTo>
                      <a:pt x="371318" y="233584"/>
                    </a:lnTo>
                    <a:lnTo>
                      <a:pt x="369516" y="236204"/>
                    </a:lnTo>
                    <a:lnTo>
                      <a:pt x="371734" y="237885"/>
                    </a:lnTo>
                    <a:lnTo>
                      <a:pt x="375986" y="239990"/>
                    </a:lnTo>
                    <a:lnTo>
                      <a:pt x="377716" y="241350"/>
                    </a:lnTo>
                    <a:lnTo>
                      <a:pt x="382025" y="250303"/>
                    </a:lnTo>
                    <a:lnTo>
                      <a:pt x="382739" y="252485"/>
                    </a:lnTo>
                    <a:lnTo>
                      <a:pt x="381525" y="255462"/>
                    </a:lnTo>
                    <a:lnTo>
                      <a:pt x="378653" y="257238"/>
                    </a:lnTo>
                    <a:lnTo>
                      <a:pt x="374979" y="257778"/>
                    </a:lnTo>
                    <a:lnTo>
                      <a:pt x="371394" y="257167"/>
                    </a:lnTo>
                    <a:lnTo>
                      <a:pt x="371265" y="259776"/>
                    </a:lnTo>
                    <a:lnTo>
                      <a:pt x="372770" y="259849"/>
                    </a:lnTo>
                    <a:lnTo>
                      <a:pt x="372653" y="262225"/>
                    </a:lnTo>
                    <a:lnTo>
                      <a:pt x="368156" y="261259"/>
                    </a:lnTo>
                    <a:lnTo>
                      <a:pt x="359048" y="253714"/>
                    </a:lnTo>
                    <a:lnTo>
                      <a:pt x="357499" y="256485"/>
                    </a:lnTo>
                    <a:lnTo>
                      <a:pt x="358563" y="257425"/>
                    </a:lnTo>
                    <a:lnTo>
                      <a:pt x="360115" y="260196"/>
                    </a:lnTo>
                    <a:lnTo>
                      <a:pt x="361417" y="261676"/>
                    </a:lnTo>
                    <a:lnTo>
                      <a:pt x="358980" y="265291"/>
                    </a:lnTo>
                    <a:lnTo>
                      <a:pt x="356619" y="267696"/>
                    </a:lnTo>
                    <a:lnTo>
                      <a:pt x="351032" y="271823"/>
                    </a:lnTo>
                    <a:lnTo>
                      <a:pt x="351971" y="272617"/>
                    </a:lnTo>
                    <a:lnTo>
                      <a:pt x="352906" y="273815"/>
                    </a:lnTo>
                    <a:lnTo>
                      <a:pt x="353797" y="274576"/>
                    </a:lnTo>
                    <a:lnTo>
                      <a:pt x="349369" y="278728"/>
                    </a:lnTo>
                    <a:lnTo>
                      <a:pt x="336462" y="286762"/>
                    </a:lnTo>
                    <a:lnTo>
                      <a:pt x="332515" y="290577"/>
                    </a:lnTo>
                    <a:lnTo>
                      <a:pt x="331065" y="289849"/>
                    </a:lnTo>
                    <a:lnTo>
                      <a:pt x="321355" y="276971"/>
                    </a:lnTo>
                    <a:lnTo>
                      <a:pt x="319438" y="275688"/>
                    </a:lnTo>
                    <a:lnTo>
                      <a:pt x="307967" y="259406"/>
                    </a:lnTo>
                    <a:lnTo>
                      <a:pt x="305841" y="257612"/>
                    </a:lnTo>
                    <a:lnTo>
                      <a:pt x="305072" y="254815"/>
                    </a:lnTo>
                    <a:lnTo>
                      <a:pt x="303743" y="251802"/>
                    </a:lnTo>
                    <a:lnTo>
                      <a:pt x="303779" y="249454"/>
                    </a:lnTo>
                    <a:lnTo>
                      <a:pt x="307005" y="248660"/>
                    </a:lnTo>
                    <a:lnTo>
                      <a:pt x="309506" y="249322"/>
                    </a:lnTo>
                    <a:lnTo>
                      <a:pt x="311114" y="251182"/>
                    </a:lnTo>
                    <a:lnTo>
                      <a:pt x="312035" y="254407"/>
                    </a:lnTo>
                    <a:lnTo>
                      <a:pt x="312575" y="259183"/>
                    </a:lnTo>
                    <a:lnTo>
                      <a:pt x="330056" y="244403"/>
                    </a:lnTo>
                    <a:lnTo>
                      <a:pt x="332824" y="240265"/>
                    </a:lnTo>
                    <a:lnTo>
                      <a:pt x="337487" y="238994"/>
                    </a:lnTo>
                    <a:lnTo>
                      <a:pt x="347232" y="239847"/>
                    </a:lnTo>
                    <a:lnTo>
                      <a:pt x="337806" y="231741"/>
                    </a:lnTo>
                    <a:lnTo>
                      <a:pt x="337942" y="229133"/>
                    </a:lnTo>
                    <a:lnTo>
                      <a:pt x="348587" y="223586"/>
                    </a:lnTo>
                    <a:lnTo>
                      <a:pt x="354723" y="222478"/>
                    </a:lnTo>
                    <a:lnTo>
                      <a:pt x="360699" y="224191"/>
                    </a:lnTo>
                    <a:lnTo>
                      <a:pt x="364514" y="227633"/>
                    </a:lnTo>
                    <a:lnTo>
                      <a:pt x="362662" y="225642"/>
                    </a:lnTo>
                    <a:lnTo>
                      <a:pt x="360781" y="223884"/>
                    </a:lnTo>
                    <a:lnTo>
                      <a:pt x="359221" y="222343"/>
                    </a:lnTo>
                    <a:lnTo>
                      <a:pt x="358599" y="221238"/>
                    </a:lnTo>
                    <a:lnTo>
                      <a:pt x="358077" y="219951"/>
                    </a:lnTo>
                    <a:lnTo>
                      <a:pt x="362022" y="217625"/>
                    </a:lnTo>
                    <a:lnTo>
                      <a:pt x="363638" y="217378"/>
                    </a:lnTo>
                    <a:lnTo>
                      <a:pt x="363769" y="214770"/>
                    </a:lnTo>
                    <a:lnTo>
                      <a:pt x="352020" y="214186"/>
                    </a:lnTo>
                    <a:lnTo>
                      <a:pt x="349305" y="212789"/>
                    </a:lnTo>
                    <a:lnTo>
                      <a:pt x="344282" y="206978"/>
                    </a:lnTo>
                    <a:lnTo>
                      <a:pt x="341298" y="205565"/>
                    </a:lnTo>
                    <a:lnTo>
                      <a:pt x="329585" y="205524"/>
                    </a:lnTo>
                    <a:lnTo>
                      <a:pt x="324321" y="203196"/>
                    </a:lnTo>
                    <a:lnTo>
                      <a:pt x="322963" y="197039"/>
                    </a:lnTo>
                    <a:lnTo>
                      <a:pt x="320278" y="199077"/>
                    </a:lnTo>
                    <a:lnTo>
                      <a:pt x="318552" y="198924"/>
                    </a:lnTo>
                    <a:lnTo>
                      <a:pt x="309445" y="191095"/>
                    </a:lnTo>
                    <a:lnTo>
                      <a:pt x="312854" y="188504"/>
                    </a:lnTo>
                    <a:lnTo>
                      <a:pt x="315422" y="185402"/>
                    </a:lnTo>
                    <a:lnTo>
                      <a:pt x="318186" y="183259"/>
                    </a:lnTo>
                    <a:lnTo>
                      <a:pt x="322190" y="183672"/>
                    </a:lnTo>
                    <a:lnTo>
                      <a:pt x="322315" y="181328"/>
                    </a:lnTo>
                    <a:lnTo>
                      <a:pt x="321751" y="180443"/>
                    </a:lnTo>
                    <a:lnTo>
                      <a:pt x="321623" y="180077"/>
                    </a:lnTo>
                    <a:lnTo>
                      <a:pt x="321549" y="179592"/>
                    </a:lnTo>
                    <a:lnTo>
                      <a:pt x="321192" y="178420"/>
                    </a:lnTo>
                    <a:lnTo>
                      <a:pt x="327370" y="177762"/>
                    </a:lnTo>
                    <a:lnTo>
                      <a:pt x="334098" y="175729"/>
                    </a:lnTo>
                    <a:lnTo>
                      <a:pt x="346707" y="169276"/>
                    </a:lnTo>
                    <a:lnTo>
                      <a:pt x="327425" y="173609"/>
                    </a:lnTo>
                    <a:lnTo>
                      <a:pt x="321470" y="173204"/>
                    </a:lnTo>
                    <a:lnTo>
                      <a:pt x="322586" y="169760"/>
                    </a:lnTo>
                    <a:lnTo>
                      <a:pt x="324270" y="167996"/>
                    </a:lnTo>
                    <a:lnTo>
                      <a:pt x="326358" y="167622"/>
                    </a:lnTo>
                    <a:lnTo>
                      <a:pt x="328652" y="168349"/>
                    </a:lnTo>
                    <a:lnTo>
                      <a:pt x="328778" y="165974"/>
                    </a:lnTo>
                    <a:lnTo>
                      <a:pt x="323150" y="165680"/>
                    </a:lnTo>
                    <a:lnTo>
                      <a:pt x="325057" y="164519"/>
                    </a:lnTo>
                    <a:lnTo>
                      <a:pt x="326717" y="162877"/>
                    </a:lnTo>
                    <a:lnTo>
                      <a:pt x="328109" y="160708"/>
                    </a:lnTo>
                    <a:lnTo>
                      <a:pt x="329202" y="157949"/>
                    </a:lnTo>
                    <a:lnTo>
                      <a:pt x="320088" y="163917"/>
                    </a:lnTo>
                    <a:lnTo>
                      <a:pt x="318452" y="164017"/>
                    </a:lnTo>
                    <a:lnTo>
                      <a:pt x="313201" y="151284"/>
                    </a:lnTo>
                    <a:lnTo>
                      <a:pt x="311719" y="149182"/>
                    </a:lnTo>
                    <a:lnTo>
                      <a:pt x="313024" y="144690"/>
                    </a:lnTo>
                    <a:lnTo>
                      <a:pt x="311974" y="142953"/>
                    </a:lnTo>
                    <a:lnTo>
                      <a:pt x="310256" y="142020"/>
                    </a:lnTo>
                    <a:lnTo>
                      <a:pt x="309457" y="139922"/>
                    </a:lnTo>
                    <a:lnTo>
                      <a:pt x="310336" y="135112"/>
                    </a:lnTo>
                    <a:lnTo>
                      <a:pt x="312789" y="131881"/>
                    </a:lnTo>
                    <a:lnTo>
                      <a:pt x="312863" y="128102"/>
                    </a:lnTo>
                    <a:lnTo>
                      <a:pt x="314635" y="127542"/>
                    </a:lnTo>
                    <a:lnTo>
                      <a:pt x="315487" y="126686"/>
                    </a:lnTo>
                    <a:lnTo>
                      <a:pt x="316069" y="125330"/>
                    </a:lnTo>
                    <a:lnTo>
                      <a:pt x="317114" y="123330"/>
                    </a:lnTo>
                    <a:lnTo>
                      <a:pt x="315692" y="122601"/>
                    </a:lnTo>
                    <a:lnTo>
                      <a:pt x="314333" y="120988"/>
                    </a:lnTo>
                    <a:lnTo>
                      <a:pt x="313288" y="120278"/>
                    </a:lnTo>
                    <a:lnTo>
                      <a:pt x="313416" y="117919"/>
                    </a:lnTo>
                    <a:lnTo>
                      <a:pt x="328575" y="117722"/>
                    </a:lnTo>
                    <a:lnTo>
                      <a:pt x="332798" y="116107"/>
                    </a:lnTo>
                    <a:lnTo>
                      <a:pt x="327651" y="113347"/>
                    </a:lnTo>
                    <a:lnTo>
                      <a:pt x="325650" y="111172"/>
                    </a:lnTo>
                    <a:lnTo>
                      <a:pt x="325035" y="106548"/>
                    </a:lnTo>
                    <a:lnTo>
                      <a:pt x="325720" y="101882"/>
                    </a:lnTo>
                    <a:lnTo>
                      <a:pt x="327042" y="99383"/>
                    </a:lnTo>
                    <a:lnTo>
                      <a:pt x="331168" y="94882"/>
                    </a:lnTo>
                    <a:lnTo>
                      <a:pt x="334011" y="97365"/>
                    </a:lnTo>
                    <a:lnTo>
                      <a:pt x="341587" y="102052"/>
                    </a:lnTo>
                    <a:lnTo>
                      <a:pt x="343145" y="102365"/>
                    </a:lnTo>
                    <a:lnTo>
                      <a:pt x="344709" y="101138"/>
                    </a:lnTo>
                    <a:lnTo>
                      <a:pt x="355438" y="106804"/>
                    </a:lnTo>
                    <a:lnTo>
                      <a:pt x="355304" y="109412"/>
                    </a:lnTo>
                    <a:lnTo>
                      <a:pt x="349344" y="108705"/>
                    </a:lnTo>
                    <a:lnTo>
                      <a:pt x="350407" y="114176"/>
                    </a:lnTo>
                    <a:lnTo>
                      <a:pt x="354247" y="120907"/>
                    </a:lnTo>
                    <a:lnTo>
                      <a:pt x="356628" y="123954"/>
                    </a:lnTo>
                    <a:lnTo>
                      <a:pt x="356074" y="129810"/>
                    </a:lnTo>
                    <a:lnTo>
                      <a:pt x="357742" y="137862"/>
                    </a:lnTo>
                    <a:lnTo>
                      <a:pt x="360433" y="145264"/>
                    </a:lnTo>
                    <a:lnTo>
                      <a:pt x="362914" y="149216"/>
                    </a:lnTo>
                    <a:lnTo>
                      <a:pt x="362718" y="145767"/>
                    </a:lnTo>
                    <a:lnTo>
                      <a:pt x="362735" y="143651"/>
                    </a:lnTo>
                    <a:lnTo>
                      <a:pt x="363453" y="138551"/>
                    </a:lnTo>
                    <a:lnTo>
                      <a:pt x="362165" y="136059"/>
                    </a:lnTo>
                    <a:lnTo>
                      <a:pt x="359487" y="129248"/>
                    </a:lnTo>
                    <a:lnTo>
                      <a:pt x="358481" y="125462"/>
                    </a:lnTo>
                    <a:lnTo>
                      <a:pt x="360570" y="124119"/>
                    </a:lnTo>
                    <a:lnTo>
                      <a:pt x="361430" y="121407"/>
                    </a:lnTo>
                    <a:lnTo>
                      <a:pt x="361819" y="118765"/>
                    </a:lnTo>
                    <a:lnTo>
                      <a:pt x="362517" y="117618"/>
                    </a:lnTo>
                    <a:lnTo>
                      <a:pt x="371572" y="115792"/>
                    </a:lnTo>
                    <a:lnTo>
                      <a:pt x="373643" y="114245"/>
                    </a:lnTo>
                    <a:lnTo>
                      <a:pt x="377058" y="113385"/>
                    </a:lnTo>
                    <a:lnTo>
                      <a:pt x="382135" y="116261"/>
                    </a:lnTo>
                    <a:lnTo>
                      <a:pt x="386738" y="121292"/>
                    </a:lnTo>
                    <a:lnTo>
                      <a:pt x="388851" y="126949"/>
                    </a:lnTo>
                    <a:lnTo>
                      <a:pt x="394737" y="119185"/>
                    </a:lnTo>
                    <a:lnTo>
                      <a:pt x="389863" y="115792"/>
                    </a:lnTo>
                    <a:lnTo>
                      <a:pt x="388245" y="113646"/>
                    </a:lnTo>
                    <a:lnTo>
                      <a:pt x="387573" y="111279"/>
                    </a:lnTo>
                    <a:lnTo>
                      <a:pt x="386711" y="105276"/>
                    </a:lnTo>
                    <a:lnTo>
                      <a:pt x="385883" y="103089"/>
                    </a:lnTo>
                    <a:lnTo>
                      <a:pt x="384729" y="102552"/>
                    </a:lnTo>
                    <a:lnTo>
                      <a:pt x="381719" y="103247"/>
                    </a:lnTo>
                    <a:lnTo>
                      <a:pt x="380526" y="102830"/>
                    </a:lnTo>
                    <a:lnTo>
                      <a:pt x="380198" y="101833"/>
                    </a:lnTo>
                    <a:lnTo>
                      <a:pt x="379600" y="98349"/>
                    </a:lnTo>
                    <a:lnTo>
                      <a:pt x="379308" y="97308"/>
                    </a:lnTo>
                    <a:lnTo>
                      <a:pt x="377174" y="93749"/>
                    </a:lnTo>
                    <a:lnTo>
                      <a:pt x="376271" y="91807"/>
                    </a:lnTo>
                    <a:lnTo>
                      <a:pt x="375550" y="89514"/>
                    </a:lnTo>
                    <a:lnTo>
                      <a:pt x="376608" y="88819"/>
                    </a:lnTo>
                    <a:lnTo>
                      <a:pt x="377464" y="87927"/>
                    </a:lnTo>
                    <a:lnTo>
                      <a:pt x="378449" y="87213"/>
                    </a:lnTo>
                    <a:lnTo>
                      <a:pt x="379813" y="87124"/>
                    </a:lnTo>
                    <a:lnTo>
                      <a:pt x="378905" y="84309"/>
                    </a:lnTo>
                    <a:lnTo>
                      <a:pt x="378047" y="82462"/>
                    </a:lnTo>
                    <a:lnTo>
                      <a:pt x="376772" y="81590"/>
                    </a:lnTo>
                    <a:lnTo>
                      <a:pt x="374585" y="81623"/>
                    </a:lnTo>
                    <a:lnTo>
                      <a:pt x="391684" y="67714"/>
                    </a:lnTo>
                    <a:lnTo>
                      <a:pt x="396272" y="61802"/>
                    </a:lnTo>
                    <a:lnTo>
                      <a:pt x="398649" y="63362"/>
                    </a:lnTo>
                    <a:lnTo>
                      <a:pt x="400180" y="62454"/>
                    </a:lnTo>
                    <a:lnTo>
                      <a:pt x="401525" y="60650"/>
                    </a:lnTo>
                    <a:lnTo>
                      <a:pt x="403247" y="59518"/>
                    </a:lnTo>
                    <a:lnTo>
                      <a:pt x="410071" y="59837"/>
                    </a:lnTo>
                    <a:lnTo>
                      <a:pt x="415487" y="58470"/>
                    </a:lnTo>
                    <a:lnTo>
                      <a:pt x="428462" y="52249"/>
                    </a:lnTo>
                    <a:lnTo>
                      <a:pt x="430337" y="50716"/>
                    </a:lnTo>
                    <a:lnTo>
                      <a:pt x="435686" y="44079"/>
                    </a:lnTo>
                    <a:lnTo>
                      <a:pt x="472451" y="17985"/>
                    </a:lnTo>
                    <a:lnTo>
                      <a:pt x="482853" y="539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0" name="Freeform 226">
                <a:extLst>
                  <a:ext uri="{FF2B5EF4-FFF2-40B4-BE49-F238E27FC236}">
                    <a16:creationId xmlns:a16="http://schemas.microsoft.com/office/drawing/2014/main" id="{928732C5-FE19-0E6A-6BA6-79E0CCE264B0}"/>
                  </a:ext>
                </a:extLst>
              </p:cNvPr>
              <p:cNvSpPr>
                <a:spLocks noChangeAspect="1"/>
              </p:cNvSpPr>
              <p:nvPr>
                <p:custDataLst>
                  <p:tags r:id="rId151"/>
                </p:custDataLst>
              </p:nvPr>
            </p:nvSpPr>
            <p:spPr>
              <a:xfrm>
                <a:off x="4699010" y="4385652"/>
                <a:ext cx="55894" cy="56004"/>
              </a:xfrm>
              <a:custGeom>
                <a:avLst/>
                <a:gdLst/>
                <a:ahLst/>
                <a:cxnLst/>
                <a:rect l="0" t="0" r="0" b="0"/>
                <a:pathLst>
                  <a:path w="57388" h="57501">
                    <a:moveTo>
                      <a:pt x="44152" y="0"/>
                    </a:moveTo>
                    <a:lnTo>
                      <a:pt x="53103" y="16444"/>
                    </a:lnTo>
                    <a:lnTo>
                      <a:pt x="53671" y="20880"/>
                    </a:lnTo>
                    <a:lnTo>
                      <a:pt x="50102" y="28156"/>
                    </a:lnTo>
                    <a:lnTo>
                      <a:pt x="51181" y="29091"/>
                    </a:lnTo>
                    <a:lnTo>
                      <a:pt x="57387" y="31087"/>
                    </a:lnTo>
                    <a:lnTo>
                      <a:pt x="56203" y="34016"/>
                    </a:lnTo>
                    <a:lnTo>
                      <a:pt x="53357" y="40828"/>
                    </a:lnTo>
                    <a:lnTo>
                      <a:pt x="39339" y="50240"/>
                    </a:lnTo>
                    <a:lnTo>
                      <a:pt x="34245" y="54620"/>
                    </a:lnTo>
                    <a:lnTo>
                      <a:pt x="28947" y="57460"/>
                    </a:lnTo>
                    <a:lnTo>
                      <a:pt x="25638" y="57500"/>
                    </a:lnTo>
                    <a:lnTo>
                      <a:pt x="23052" y="56297"/>
                    </a:lnTo>
                    <a:lnTo>
                      <a:pt x="20796" y="52632"/>
                    </a:lnTo>
                    <a:lnTo>
                      <a:pt x="17254" y="47747"/>
                    </a:lnTo>
                    <a:lnTo>
                      <a:pt x="15404" y="46840"/>
                    </a:lnTo>
                    <a:lnTo>
                      <a:pt x="11902" y="46269"/>
                    </a:lnTo>
                    <a:lnTo>
                      <a:pt x="4128" y="40510"/>
                    </a:lnTo>
                    <a:lnTo>
                      <a:pt x="0" y="32379"/>
                    </a:lnTo>
                    <a:lnTo>
                      <a:pt x="7346" y="27511"/>
                    </a:lnTo>
                    <a:lnTo>
                      <a:pt x="8009" y="23584"/>
                    </a:lnTo>
                    <a:lnTo>
                      <a:pt x="4112" y="20330"/>
                    </a:lnTo>
                    <a:lnTo>
                      <a:pt x="3937" y="15554"/>
                    </a:lnTo>
                    <a:lnTo>
                      <a:pt x="2003" y="12395"/>
                    </a:lnTo>
                    <a:lnTo>
                      <a:pt x="3033" y="8573"/>
                    </a:lnTo>
                    <a:lnTo>
                      <a:pt x="9051" y="8705"/>
                    </a:lnTo>
                    <a:lnTo>
                      <a:pt x="14465" y="12474"/>
                    </a:lnTo>
                    <a:lnTo>
                      <a:pt x="25759" y="10386"/>
                    </a:lnTo>
                    <a:lnTo>
                      <a:pt x="32092" y="5469"/>
                    </a:lnTo>
                    <a:lnTo>
                      <a:pt x="35686" y="1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1" name="Freeform 227">
                <a:extLst>
                  <a:ext uri="{FF2B5EF4-FFF2-40B4-BE49-F238E27FC236}">
                    <a16:creationId xmlns:a16="http://schemas.microsoft.com/office/drawing/2014/main" id="{F053E2C0-7B3E-4813-0CAC-1AE7422D4E8A}"/>
                  </a:ext>
                </a:extLst>
              </p:cNvPr>
              <p:cNvSpPr>
                <a:spLocks noChangeAspect="1"/>
              </p:cNvSpPr>
              <p:nvPr>
                <p:custDataLst>
                  <p:tags r:id="rId152"/>
                </p:custDataLst>
              </p:nvPr>
            </p:nvSpPr>
            <p:spPr>
              <a:xfrm>
                <a:off x="4602369" y="4784959"/>
                <a:ext cx="177663" cy="213026"/>
              </a:xfrm>
              <a:custGeom>
                <a:avLst/>
                <a:gdLst/>
                <a:ahLst/>
                <a:cxnLst/>
                <a:rect l="0" t="0" r="0" b="0"/>
                <a:pathLst>
                  <a:path w="182412" h="218721">
                    <a:moveTo>
                      <a:pt x="100134" y="33215"/>
                    </a:moveTo>
                    <a:lnTo>
                      <a:pt x="104791" y="32110"/>
                    </a:lnTo>
                    <a:lnTo>
                      <a:pt x="106966" y="23163"/>
                    </a:lnTo>
                    <a:lnTo>
                      <a:pt x="109933" y="20692"/>
                    </a:lnTo>
                    <a:lnTo>
                      <a:pt x="112665" y="22133"/>
                    </a:lnTo>
                    <a:lnTo>
                      <a:pt x="112215" y="25751"/>
                    </a:lnTo>
                    <a:lnTo>
                      <a:pt x="115050" y="37505"/>
                    </a:lnTo>
                    <a:lnTo>
                      <a:pt x="118717" y="42873"/>
                    </a:lnTo>
                    <a:lnTo>
                      <a:pt x="118767" y="47295"/>
                    </a:lnTo>
                    <a:lnTo>
                      <a:pt x="118229" y="52690"/>
                    </a:lnTo>
                    <a:lnTo>
                      <a:pt x="120982" y="56597"/>
                    </a:lnTo>
                    <a:lnTo>
                      <a:pt x="126999" y="56526"/>
                    </a:lnTo>
                    <a:lnTo>
                      <a:pt x="134219" y="56438"/>
                    </a:lnTo>
                    <a:lnTo>
                      <a:pt x="139631" y="55877"/>
                    </a:lnTo>
                    <a:lnTo>
                      <a:pt x="142895" y="52884"/>
                    </a:lnTo>
                    <a:lnTo>
                      <a:pt x="145276" y="49911"/>
                    </a:lnTo>
                    <a:lnTo>
                      <a:pt x="148550" y="47419"/>
                    </a:lnTo>
                    <a:lnTo>
                      <a:pt x="151862" y="47375"/>
                    </a:lnTo>
                    <a:lnTo>
                      <a:pt x="158211" y="49737"/>
                    </a:lnTo>
                    <a:lnTo>
                      <a:pt x="156752" y="53192"/>
                    </a:lnTo>
                    <a:lnTo>
                      <a:pt x="155313" y="58127"/>
                    </a:lnTo>
                    <a:lnTo>
                      <a:pt x="155945" y="60577"/>
                    </a:lnTo>
                    <a:lnTo>
                      <a:pt x="160200" y="62977"/>
                    </a:lnTo>
                    <a:lnTo>
                      <a:pt x="165938" y="64377"/>
                    </a:lnTo>
                    <a:lnTo>
                      <a:pt x="168120" y="69735"/>
                    </a:lnTo>
                    <a:lnTo>
                      <a:pt x="167364" y="80071"/>
                    </a:lnTo>
                    <a:lnTo>
                      <a:pt x="167482" y="88420"/>
                    </a:lnTo>
                    <a:lnTo>
                      <a:pt x="168764" y="93812"/>
                    </a:lnTo>
                    <a:lnTo>
                      <a:pt x="171846" y="98178"/>
                    </a:lnTo>
                    <a:lnTo>
                      <a:pt x="175789" y="99592"/>
                    </a:lnTo>
                    <a:lnTo>
                      <a:pt x="179438" y="101511"/>
                    </a:lnTo>
                    <a:lnTo>
                      <a:pt x="181945" y="107377"/>
                    </a:lnTo>
                    <a:lnTo>
                      <a:pt x="182316" y="112266"/>
                    </a:lnTo>
                    <a:lnTo>
                      <a:pt x="182411" y="118661"/>
                    </a:lnTo>
                    <a:lnTo>
                      <a:pt x="181943" y="127513"/>
                    </a:lnTo>
                    <a:lnTo>
                      <a:pt x="182089" y="137334"/>
                    </a:lnTo>
                    <a:lnTo>
                      <a:pt x="182050" y="142812"/>
                    </a:lnTo>
                    <a:lnTo>
                      <a:pt x="177975" y="143546"/>
                    </a:lnTo>
                    <a:lnTo>
                      <a:pt x="172339" y="150321"/>
                    </a:lnTo>
                    <a:lnTo>
                      <a:pt x="167716" y="152402"/>
                    </a:lnTo>
                    <a:lnTo>
                      <a:pt x="163834" y="150543"/>
                    </a:lnTo>
                    <a:lnTo>
                      <a:pt x="160926" y="143377"/>
                    </a:lnTo>
                    <a:lnTo>
                      <a:pt x="156310" y="140992"/>
                    </a:lnTo>
                    <a:lnTo>
                      <a:pt x="153750" y="149625"/>
                    </a:lnTo>
                    <a:lnTo>
                      <a:pt x="154910" y="153646"/>
                    </a:lnTo>
                    <a:lnTo>
                      <a:pt x="152293" y="158134"/>
                    </a:lnTo>
                    <a:lnTo>
                      <a:pt x="151782" y="164626"/>
                    </a:lnTo>
                    <a:lnTo>
                      <a:pt x="156806" y="168466"/>
                    </a:lnTo>
                    <a:lnTo>
                      <a:pt x="158213" y="175248"/>
                    </a:lnTo>
                    <a:lnTo>
                      <a:pt x="163203" y="180696"/>
                    </a:lnTo>
                    <a:lnTo>
                      <a:pt x="163985" y="185246"/>
                    </a:lnTo>
                    <a:lnTo>
                      <a:pt x="163168" y="187903"/>
                    </a:lnTo>
                    <a:lnTo>
                      <a:pt x="154780" y="193328"/>
                    </a:lnTo>
                    <a:lnTo>
                      <a:pt x="146423" y="194505"/>
                    </a:lnTo>
                    <a:lnTo>
                      <a:pt x="143239" y="202601"/>
                    </a:lnTo>
                    <a:lnTo>
                      <a:pt x="135937" y="201647"/>
                    </a:lnTo>
                    <a:lnTo>
                      <a:pt x="129352" y="204490"/>
                    </a:lnTo>
                    <a:lnTo>
                      <a:pt x="127779" y="208221"/>
                    </a:lnTo>
                    <a:lnTo>
                      <a:pt x="124799" y="207505"/>
                    </a:lnTo>
                    <a:lnTo>
                      <a:pt x="119651" y="210960"/>
                    </a:lnTo>
                    <a:lnTo>
                      <a:pt x="117356" y="204946"/>
                    </a:lnTo>
                    <a:lnTo>
                      <a:pt x="115783" y="204964"/>
                    </a:lnTo>
                    <a:lnTo>
                      <a:pt x="114436" y="207406"/>
                    </a:lnTo>
                    <a:lnTo>
                      <a:pt x="113222" y="216975"/>
                    </a:lnTo>
                    <a:lnTo>
                      <a:pt x="113167" y="217044"/>
                    </a:lnTo>
                    <a:lnTo>
                      <a:pt x="112994" y="217267"/>
                    </a:lnTo>
                    <a:lnTo>
                      <a:pt x="110560" y="218720"/>
                    </a:lnTo>
                    <a:lnTo>
                      <a:pt x="106122" y="215896"/>
                    </a:lnTo>
                    <a:lnTo>
                      <a:pt x="101757" y="211707"/>
                    </a:lnTo>
                    <a:lnTo>
                      <a:pt x="100149" y="210855"/>
                    </a:lnTo>
                    <a:lnTo>
                      <a:pt x="98268" y="210647"/>
                    </a:lnTo>
                    <a:lnTo>
                      <a:pt x="93974" y="210977"/>
                    </a:lnTo>
                    <a:lnTo>
                      <a:pt x="92492" y="210418"/>
                    </a:lnTo>
                    <a:lnTo>
                      <a:pt x="91385" y="209561"/>
                    </a:lnTo>
                    <a:lnTo>
                      <a:pt x="90741" y="208531"/>
                    </a:lnTo>
                    <a:lnTo>
                      <a:pt x="89719" y="206281"/>
                    </a:lnTo>
                    <a:lnTo>
                      <a:pt x="89062" y="205191"/>
                    </a:lnTo>
                    <a:lnTo>
                      <a:pt x="85880" y="201510"/>
                    </a:lnTo>
                    <a:lnTo>
                      <a:pt x="85284" y="200321"/>
                    </a:lnTo>
                    <a:lnTo>
                      <a:pt x="82766" y="197087"/>
                    </a:lnTo>
                    <a:lnTo>
                      <a:pt x="59498" y="176588"/>
                    </a:lnTo>
                    <a:lnTo>
                      <a:pt x="56900" y="176944"/>
                    </a:lnTo>
                    <a:lnTo>
                      <a:pt x="54562" y="177919"/>
                    </a:lnTo>
                    <a:lnTo>
                      <a:pt x="47582" y="183230"/>
                    </a:lnTo>
                    <a:lnTo>
                      <a:pt x="45140" y="184314"/>
                    </a:lnTo>
                    <a:lnTo>
                      <a:pt x="43479" y="184601"/>
                    </a:lnTo>
                    <a:lnTo>
                      <a:pt x="40950" y="184560"/>
                    </a:lnTo>
                    <a:lnTo>
                      <a:pt x="38976" y="183644"/>
                    </a:lnTo>
                    <a:lnTo>
                      <a:pt x="33897" y="179206"/>
                    </a:lnTo>
                    <a:lnTo>
                      <a:pt x="32485" y="177398"/>
                    </a:lnTo>
                    <a:lnTo>
                      <a:pt x="31598" y="175745"/>
                    </a:lnTo>
                    <a:lnTo>
                      <a:pt x="31234" y="172915"/>
                    </a:lnTo>
                    <a:lnTo>
                      <a:pt x="30898" y="171654"/>
                    </a:lnTo>
                    <a:lnTo>
                      <a:pt x="30350" y="170660"/>
                    </a:lnTo>
                    <a:lnTo>
                      <a:pt x="29951" y="170110"/>
                    </a:lnTo>
                    <a:lnTo>
                      <a:pt x="22970" y="163814"/>
                    </a:lnTo>
                    <a:lnTo>
                      <a:pt x="17612" y="156304"/>
                    </a:lnTo>
                    <a:lnTo>
                      <a:pt x="17515" y="156123"/>
                    </a:lnTo>
                    <a:lnTo>
                      <a:pt x="10713" y="143438"/>
                    </a:lnTo>
                    <a:lnTo>
                      <a:pt x="10229" y="141338"/>
                    </a:lnTo>
                    <a:lnTo>
                      <a:pt x="9856" y="138457"/>
                    </a:lnTo>
                    <a:lnTo>
                      <a:pt x="10151" y="136473"/>
                    </a:lnTo>
                    <a:lnTo>
                      <a:pt x="10020" y="133334"/>
                    </a:lnTo>
                    <a:lnTo>
                      <a:pt x="9526" y="131550"/>
                    </a:lnTo>
                    <a:lnTo>
                      <a:pt x="8845" y="130102"/>
                    </a:lnTo>
                    <a:lnTo>
                      <a:pt x="4713" y="125533"/>
                    </a:lnTo>
                    <a:lnTo>
                      <a:pt x="2531" y="123638"/>
                    </a:lnTo>
                    <a:lnTo>
                      <a:pt x="785" y="122856"/>
                    </a:lnTo>
                    <a:lnTo>
                      <a:pt x="459" y="121919"/>
                    </a:lnTo>
                    <a:lnTo>
                      <a:pt x="297" y="120991"/>
                    </a:lnTo>
                    <a:lnTo>
                      <a:pt x="1744" y="114372"/>
                    </a:lnTo>
                    <a:lnTo>
                      <a:pt x="2731" y="111092"/>
                    </a:lnTo>
                    <a:lnTo>
                      <a:pt x="3489" y="109737"/>
                    </a:lnTo>
                    <a:lnTo>
                      <a:pt x="4225" y="108656"/>
                    </a:lnTo>
                    <a:lnTo>
                      <a:pt x="5410" y="107714"/>
                    </a:lnTo>
                    <a:lnTo>
                      <a:pt x="5625" y="107111"/>
                    </a:lnTo>
                    <a:lnTo>
                      <a:pt x="5478" y="106657"/>
                    </a:lnTo>
                    <a:lnTo>
                      <a:pt x="1913" y="104275"/>
                    </a:lnTo>
                    <a:lnTo>
                      <a:pt x="182" y="102121"/>
                    </a:lnTo>
                    <a:lnTo>
                      <a:pt x="0" y="100641"/>
                    </a:lnTo>
                    <a:lnTo>
                      <a:pt x="571" y="99474"/>
                    </a:lnTo>
                    <a:lnTo>
                      <a:pt x="2639" y="98241"/>
                    </a:lnTo>
                    <a:lnTo>
                      <a:pt x="8812" y="96090"/>
                    </a:lnTo>
                    <a:lnTo>
                      <a:pt x="9953" y="95009"/>
                    </a:lnTo>
                    <a:lnTo>
                      <a:pt x="10861" y="93594"/>
                    </a:lnTo>
                    <a:lnTo>
                      <a:pt x="11445" y="91488"/>
                    </a:lnTo>
                    <a:lnTo>
                      <a:pt x="10979" y="90335"/>
                    </a:lnTo>
                    <a:lnTo>
                      <a:pt x="9850" y="89916"/>
                    </a:lnTo>
                    <a:lnTo>
                      <a:pt x="8694" y="90209"/>
                    </a:lnTo>
                    <a:lnTo>
                      <a:pt x="7343" y="90254"/>
                    </a:lnTo>
                    <a:lnTo>
                      <a:pt x="5874" y="89699"/>
                    </a:lnTo>
                    <a:lnTo>
                      <a:pt x="3985" y="87270"/>
                    </a:lnTo>
                    <a:lnTo>
                      <a:pt x="3626" y="85533"/>
                    </a:lnTo>
                    <a:lnTo>
                      <a:pt x="3915" y="83914"/>
                    </a:lnTo>
                    <a:lnTo>
                      <a:pt x="13392" y="69940"/>
                    </a:lnTo>
                    <a:lnTo>
                      <a:pt x="14615" y="67665"/>
                    </a:lnTo>
                    <a:lnTo>
                      <a:pt x="15760" y="63246"/>
                    </a:lnTo>
                    <a:lnTo>
                      <a:pt x="16346" y="61901"/>
                    </a:lnTo>
                    <a:lnTo>
                      <a:pt x="17079" y="60880"/>
                    </a:lnTo>
                    <a:lnTo>
                      <a:pt x="18054" y="60027"/>
                    </a:lnTo>
                    <a:lnTo>
                      <a:pt x="21238" y="58173"/>
                    </a:lnTo>
                    <a:lnTo>
                      <a:pt x="22188" y="57339"/>
                    </a:lnTo>
                    <a:lnTo>
                      <a:pt x="22933" y="56417"/>
                    </a:lnTo>
                    <a:lnTo>
                      <a:pt x="24521" y="53802"/>
                    </a:lnTo>
                    <a:lnTo>
                      <a:pt x="25212" y="53116"/>
                    </a:lnTo>
                    <a:lnTo>
                      <a:pt x="26182" y="52420"/>
                    </a:lnTo>
                    <a:lnTo>
                      <a:pt x="28371" y="51577"/>
                    </a:lnTo>
                    <a:lnTo>
                      <a:pt x="36361" y="51211"/>
                    </a:lnTo>
                    <a:lnTo>
                      <a:pt x="37807" y="50472"/>
                    </a:lnTo>
                    <a:lnTo>
                      <a:pt x="39150" y="48805"/>
                    </a:lnTo>
                    <a:lnTo>
                      <a:pt x="39130" y="47572"/>
                    </a:lnTo>
                    <a:lnTo>
                      <a:pt x="38532" y="46549"/>
                    </a:lnTo>
                    <a:lnTo>
                      <a:pt x="37439" y="45904"/>
                    </a:lnTo>
                    <a:lnTo>
                      <a:pt x="31567" y="44194"/>
                    </a:lnTo>
                    <a:lnTo>
                      <a:pt x="30484" y="42929"/>
                    </a:lnTo>
                    <a:lnTo>
                      <a:pt x="29712" y="41284"/>
                    </a:lnTo>
                    <a:lnTo>
                      <a:pt x="29048" y="37272"/>
                    </a:lnTo>
                    <a:lnTo>
                      <a:pt x="28996" y="36600"/>
                    </a:lnTo>
                    <a:lnTo>
                      <a:pt x="29753" y="34009"/>
                    </a:lnTo>
                    <a:lnTo>
                      <a:pt x="30928" y="31456"/>
                    </a:lnTo>
                    <a:lnTo>
                      <a:pt x="32565" y="29679"/>
                    </a:lnTo>
                    <a:lnTo>
                      <a:pt x="37296" y="26471"/>
                    </a:lnTo>
                    <a:lnTo>
                      <a:pt x="38768" y="24417"/>
                    </a:lnTo>
                    <a:lnTo>
                      <a:pt x="39308" y="23021"/>
                    </a:lnTo>
                    <a:lnTo>
                      <a:pt x="38892" y="19372"/>
                    </a:lnTo>
                    <a:lnTo>
                      <a:pt x="38716" y="19360"/>
                    </a:lnTo>
                    <a:lnTo>
                      <a:pt x="38741" y="19354"/>
                    </a:lnTo>
                    <a:lnTo>
                      <a:pt x="44458" y="17992"/>
                    </a:lnTo>
                    <a:lnTo>
                      <a:pt x="48116" y="13189"/>
                    </a:lnTo>
                    <a:lnTo>
                      <a:pt x="53223" y="11236"/>
                    </a:lnTo>
                    <a:lnTo>
                      <a:pt x="50917" y="6811"/>
                    </a:lnTo>
                    <a:lnTo>
                      <a:pt x="51488" y="4142"/>
                    </a:lnTo>
                    <a:lnTo>
                      <a:pt x="58570" y="6220"/>
                    </a:lnTo>
                    <a:lnTo>
                      <a:pt x="66230" y="0"/>
                    </a:lnTo>
                    <a:lnTo>
                      <a:pt x="74554" y="4172"/>
                    </a:lnTo>
                    <a:lnTo>
                      <a:pt x="78231" y="9549"/>
                    </a:lnTo>
                    <a:lnTo>
                      <a:pt x="79778" y="14628"/>
                    </a:lnTo>
                    <a:lnTo>
                      <a:pt x="91322" y="15052"/>
                    </a:lnTo>
                    <a:lnTo>
                      <a:pt x="92338" y="18971"/>
                    </a:lnTo>
                    <a:lnTo>
                      <a:pt x="88120" y="2536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2" name="Freeform 228">
                <a:extLst>
                  <a:ext uri="{FF2B5EF4-FFF2-40B4-BE49-F238E27FC236}">
                    <a16:creationId xmlns:a16="http://schemas.microsoft.com/office/drawing/2014/main" id="{A7E459F5-402F-4E09-BDEF-27511C1FB0A9}"/>
                  </a:ext>
                </a:extLst>
              </p:cNvPr>
              <p:cNvSpPr>
                <a:spLocks noChangeAspect="1"/>
              </p:cNvSpPr>
              <p:nvPr>
                <p:custDataLst>
                  <p:tags r:id="rId153"/>
                </p:custDataLst>
              </p:nvPr>
            </p:nvSpPr>
            <p:spPr>
              <a:xfrm>
                <a:off x="4711662" y="4763611"/>
                <a:ext cx="203249" cy="179131"/>
              </a:xfrm>
              <a:custGeom>
                <a:avLst/>
                <a:gdLst/>
                <a:ahLst/>
                <a:cxnLst/>
                <a:rect l="0" t="0" r="0" b="0"/>
                <a:pathLst>
                  <a:path w="208682" h="183919">
                    <a:moveTo>
                      <a:pt x="109562" y="8318"/>
                    </a:moveTo>
                    <a:lnTo>
                      <a:pt x="113576" y="7733"/>
                    </a:lnTo>
                    <a:lnTo>
                      <a:pt x="121728" y="7880"/>
                    </a:lnTo>
                    <a:lnTo>
                      <a:pt x="130041" y="2433"/>
                    </a:lnTo>
                    <a:lnTo>
                      <a:pt x="135834" y="7515"/>
                    </a:lnTo>
                    <a:lnTo>
                      <a:pt x="138271" y="3005"/>
                    </a:lnTo>
                    <a:lnTo>
                      <a:pt x="142206" y="1862"/>
                    </a:lnTo>
                    <a:lnTo>
                      <a:pt x="144369" y="6597"/>
                    </a:lnTo>
                    <a:lnTo>
                      <a:pt x="147839" y="5363"/>
                    </a:lnTo>
                    <a:lnTo>
                      <a:pt x="153416" y="8960"/>
                    </a:lnTo>
                    <a:lnTo>
                      <a:pt x="153281" y="11828"/>
                    </a:lnTo>
                    <a:lnTo>
                      <a:pt x="149204" y="18604"/>
                    </a:lnTo>
                    <a:lnTo>
                      <a:pt x="150738" y="23884"/>
                    </a:lnTo>
                    <a:lnTo>
                      <a:pt x="153726" y="24357"/>
                    </a:lnTo>
                    <a:lnTo>
                      <a:pt x="160258" y="20609"/>
                    </a:lnTo>
                    <a:lnTo>
                      <a:pt x="167330" y="21200"/>
                    </a:lnTo>
                    <a:lnTo>
                      <a:pt x="172847" y="18109"/>
                    </a:lnTo>
                    <a:lnTo>
                      <a:pt x="186005" y="21315"/>
                    </a:lnTo>
                    <a:lnTo>
                      <a:pt x="186393" y="24188"/>
                    </a:lnTo>
                    <a:lnTo>
                      <a:pt x="184241" y="29430"/>
                    </a:lnTo>
                    <a:lnTo>
                      <a:pt x="178744" y="36344"/>
                    </a:lnTo>
                    <a:lnTo>
                      <a:pt x="179517" y="38876"/>
                    </a:lnTo>
                    <a:lnTo>
                      <a:pt x="184895" y="44385"/>
                    </a:lnTo>
                    <a:lnTo>
                      <a:pt x="185912" y="49456"/>
                    </a:lnTo>
                    <a:lnTo>
                      <a:pt x="181199" y="53806"/>
                    </a:lnTo>
                    <a:lnTo>
                      <a:pt x="177967" y="63316"/>
                    </a:lnTo>
                    <a:lnTo>
                      <a:pt x="169320" y="66583"/>
                    </a:lnTo>
                    <a:lnTo>
                      <a:pt x="169325" y="69446"/>
                    </a:lnTo>
                    <a:lnTo>
                      <a:pt x="173632" y="80076"/>
                    </a:lnTo>
                    <a:lnTo>
                      <a:pt x="173933" y="87710"/>
                    </a:lnTo>
                    <a:lnTo>
                      <a:pt x="169173" y="93657"/>
                    </a:lnTo>
                    <a:lnTo>
                      <a:pt x="167122" y="101026"/>
                    </a:lnTo>
                    <a:lnTo>
                      <a:pt x="164408" y="105427"/>
                    </a:lnTo>
                    <a:lnTo>
                      <a:pt x="167894" y="107269"/>
                    </a:lnTo>
                    <a:lnTo>
                      <a:pt x="171733" y="113447"/>
                    </a:lnTo>
                    <a:lnTo>
                      <a:pt x="177217" y="117021"/>
                    </a:lnTo>
                    <a:lnTo>
                      <a:pt x="178512" y="112985"/>
                    </a:lnTo>
                    <a:lnTo>
                      <a:pt x="180753" y="110902"/>
                    </a:lnTo>
                    <a:lnTo>
                      <a:pt x="188936" y="115834"/>
                    </a:lnTo>
                    <a:lnTo>
                      <a:pt x="191687" y="113323"/>
                    </a:lnTo>
                    <a:lnTo>
                      <a:pt x="195530" y="116534"/>
                    </a:lnTo>
                    <a:lnTo>
                      <a:pt x="201569" y="118093"/>
                    </a:lnTo>
                    <a:lnTo>
                      <a:pt x="203050" y="122936"/>
                    </a:lnTo>
                    <a:lnTo>
                      <a:pt x="207327" y="124534"/>
                    </a:lnTo>
                    <a:lnTo>
                      <a:pt x="208681" y="126951"/>
                    </a:lnTo>
                    <a:lnTo>
                      <a:pt x="203921" y="129708"/>
                    </a:lnTo>
                    <a:lnTo>
                      <a:pt x="195832" y="141358"/>
                    </a:lnTo>
                    <a:lnTo>
                      <a:pt x="188945" y="139923"/>
                    </a:lnTo>
                    <a:lnTo>
                      <a:pt x="184272" y="143957"/>
                    </a:lnTo>
                    <a:lnTo>
                      <a:pt x="184121" y="145659"/>
                    </a:lnTo>
                    <a:lnTo>
                      <a:pt x="187799" y="147492"/>
                    </a:lnTo>
                    <a:lnTo>
                      <a:pt x="192859" y="154584"/>
                    </a:lnTo>
                    <a:lnTo>
                      <a:pt x="193570" y="160316"/>
                    </a:lnTo>
                    <a:lnTo>
                      <a:pt x="192105" y="164692"/>
                    </a:lnTo>
                    <a:lnTo>
                      <a:pt x="189359" y="164853"/>
                    </a:lnTo>
                    <a:lnTo>
                      <a:pt x="180903" y="157300"/>
                    </a:lnTo>
                    <a:lnTo>
                      <a:pt x="174928" y="156147"/>
                    </a:lnTo>
                    <a:lnTo>
                      <a:pt x="171562" y="157917"/>
                    </a:lnTo>
                    <a:lnTo>
                      <a:pt x="165989" y="156772"/>
                    </a:lnTo>
                    <a:lnTo>
                      <a:pt x="159290" y="158491"/>
                    </a:lnTo>
                    <a:lnTo>
                      <a:pt x="145381" y="168761"/>
                    </a:lnTo>
                    <a:lnTo>
                      <a:pt x="135714" y="165969"/>
                    </a:lnTo>
                    <a:lnTo>
                      <a:pt x="127678" y="166121"/>
                    </a:lnTo>
                    <a:lnTo>
                      <a:pt x="122081" y="171002"/>
                    </a:lnTo>
                    <a:lnTo>
                      <a:pt x="118874" y="166835"/>
                    </a:lnTo>
                    <a:lnTo>
                      <a:pt x="125305" y="153014"/>
                    </a:lnTo>
                    <a:lnTo>
                      <a:pt x="113600" y="153860"/>
                    </a:lnTo>
                    <a:lnTo>
                      <a:pt x="112271" y="156431"/>
                    </a:lnTo>
                    <a:lnTo>
                      <a:pt x="111099" y="166580"/>
                    </a:lnTo>
                    <a:lnTo>
                      <a:pt x="115036" y="171248"/>
                    </a:lnTo>
                    <a:lnTo>
                      <a:pt x="111606" y="174053"/>
                    </a:lnTo>
                    <a:lnTo>
                      <a:pt x="103741" y="173026"/>
                    </a:lnTo>
                    <a:lnTo>
                      <a:pt x="97762" y="183315"/>
                    </a:lnTo>
                    <a:lnTo>
                      <a:pt x="93645" y="183918"/>
                    </a:lnTo>
                    <a:lnTo>
                      <a:pt x="80370" y="179987"/>
                    </a:lnTo>
                    <a:lnTo>
                      <a:pt x="77583" y="172824"/>
                    </a:lnTo>
                    <a:lnTo>
                      <a:pt x="72157" y="164301"/>
                    </a:lnTo>
                    <a:lnTo>
                      <a:pt x="69835" y="164731"/>
                    </a:lnTo>
                    <a:lnTo>
                      <a:pt x="69874" y="159253"/>
                    </a:lnTo>
                    <a:lnTo>
                      <a:pt x="69728" y="149432"/>
                    </a:lnTo>
                    <a:lnTo>
                      <a:pt x="70196" y="140580"/>
                    </a:lnTo>
                    <a:lnTo>
                      <a:pt x="70101" y="134185"/>
                    </a:lnTo>
                    <a:lnTo>
                      <a:pt x="69730" y="129296"/>
                    </a:lnTo>
                    <a:lnTo>
                      <a:pt x="67223" y="123430"/>
                    </a:lnTo>
                    <a:lnTo>
                      <a:pt x="63574" y="121511"/>
                    </a:lnTo>
                    <a:lnTo>
                      <a:pt x="59631" y="120097"/>
                    </a:lnTo>
                    <a:lnTo>
                      <a:pt x="56549" y="115731"/>
                    </a:lnTo>
                    <a:lnTo>
                      <a:pt x="55267" y="110339"/>
                    </a:lnTo>
                    <a:lnTo>
                      <a:pt x="55149" y="101990"/>
                    </a:lnTo>
                    <a:lnTo>
                      <a:pt x="55905" y="91654"/>
                    </a:lnTo>
                    <a:lnTo>
                      <a:pt x="53723" y="86296"/>
                    </a:lnTo>
                    <a:lnTo>
                      <a:pt x="47985" y="84896"/>
                    </a:lnTo>
                    <a:lnTo>
                      <a:pt x="43730" y="82496"/>
                    </a:lnTo>
                    <a:lnTo>
                      <a:pt x="43098" y="80046"/>
                    </a:lnTo>
                    <a:lnTo>
                      <a:pt x="44537" y="75111"/>
                    </a:lnTo>
                    <a:lnTo>
                      <a:pt x="45996" y="71656"/>
                    </a:lnTo>
                    <a:lnTo>
                      <a:pt x="39647" y="69294"/>
                    </a:lnTo>
                    <a:lnTo>
                      <a:pt x="36335" y="69338"/>
                    </a:lnTo>
                    <a:lnTo>
                      <a:pt x="33061" y="71830"/>
                    </a:lnTo>
                    <a:lnTo>
                      <a:pt x="30680" y="74803"/>
                    </a:lnTo>
                    <a:lnTo>
                      <a:pt x="27416" y="77796"/>
                    </a:lnTo>
                    <a:lnTo>
                      <a:pt x="22004" y="78357"/>
                    </a:lnTo>
                    <a:lnTo>
                      <a:pt x="14784" y="78445"/>
                    </a:lnTo>
                    <a:lnTo>
                      <a:pt x="8767" y="78516"/>
                    </a:lnTo>
                    <a:lnTo>
                      <a:pt x="6014" y="74609"/>
                    </a:lnTo>
                    <a:lnTo>
                      <a:pt x="6552" y="69214"/>
                    </a:lnTo>
                    <a:lnTo>
                      <a:pt x="6502" y="64792"/>
                    </a:lnTo>
                    <a:lnTo>
                      <a:pt x="2835" y="59424"/>
                    </a:lnTo>
                    <a:lnTo>
                      <a:pt x="0" y="47670"/>
                    </a:lnTo>
                    <a:lnTo>
                      <a:pt x="450" y="44052"/>
                    </a:lnTo>
                    <a:lnTo>
                      <a:pt x="6200" y="47087"/>
                    </a:lnTo>
                    <a:lnTo>
                      <a:pt x="7718" y="48984"/>
                    </a:lnTo>
                    <a:lnTo>
                      <a:pt x="8286" y="53213"/>
                    </a:lnTo>
                    <a:lnTo>
                      <a:pt x="10628" y="54241"/>
                    </a:lnTo>
                    <a:lnTo>
                      <a:pt x="20480" y="52858"/>
                    </a:lnTo>
                    <a:lnTo>
                      <a:pt x="22395" y="44544"/>
                    </a:lnTo>
                    <a:lnTo>
                      <a:pt x="27406" y="40878"/>
                    </a:lnTo>
                    <a:lnTo>
                      <a:pt x="35001" y="45764"/>
                    </a:lnTo>
                    <a:lnTo>
                      <a:pt x="39344" y="45509"/>
                    </a:lnTo>
                    <a:lnTo>
                      <a:pt x="40844" y="41658"/>
                    </a:lnTo>
                    <a:lnTo>
                      <a:pt x="39286" y="36586"/>
                    </a:lnTo>
                    <a:lnTo>
                      <a:pt x="40289" y="34025"/>
                    </a:lnTo>
                    <a:lnTo>
                      <a:pt x="54140" y="31502"/>
                    </a:lnTo>
                    <a:lnTo>
                      <a:pt x="56824" y="29015"/>
                    </a:lnTo>
                    <a:lnTo>
                      <a:pt x="56981" y="25617"/>
                    </a:lnTo>
                    <a:lnTo>
                      <a:pt x="58622" y="23678"/>
                    </a:lnTo>
                    <a:lnTo>
                      <a:pt x="75197" y="23031"/>
                    </a:lnTo>
                    <a:lnTo>
                      <a:pt x="73299" y="21125"/>
                    </a:lnTo>
                    <a:lnTo>
                      <a:pt x="67741" y="8200"/>
                    </a:lnTo>
                    <a:lnTo>
                      <a:pt x="70244" y="4094"/>
                    </a:lnTo>
                    <a:lnTo>
                      <a:pt x="78363" y="5350"/>
                    </a:lnTo>
                    <a:lnTo>
                      <a:pt x="82614" y="0"/>
                    </a:lnTo>
                    <a:lnTo>
                      <a:pt x="88624" y="3051"/>
                    </a:lnTo>
                    <a:lnTo>
                      <a:pt x="97948" y="321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3" name="Freeform 229">
                <a:extLst>
                  <a:ext uri="{FF2B5EF4-FFF2-40B4-BE49-F238E27FC236}">
                    <a16:creationId xmlns:a16="http://schemas.microsoft.com/office/drawing/2014/main" id="{F5B21BC0-F969-0418-9AB2-D95E5FEFB1C6}"/>
                  </a:ext>
                </a:extLst>
              </p:cNvPr>
              <p:cNvSpPr>
                <a:spLocks noChangeAspect="1"/>
              </p:cNvSpPr>
              <p:nvPr>
                <p:custDataLst>
                  <p:tags r:id="rId154"/>
                </p:custDataLst>
              </p:nvPr>
            </p:nvSpPr>
            <p:spPr>
              <a:xfrm>
                <a:off x="4752589" y="4476030"/>
                <a:ext cx="197493" cy="295683"/>
              </a:xfrm>
              <a:custGeom>
                <a:avLst/>
                <a:gdLst/>
                <a:ahLst/>
                <a:cxnLst/>
                <a:rect l="0" t="0" r="0" b="0"/>
                <a:pathLst>
                  <a:path w="202772" h="303587">
                    <a:moveTo>
                      <a:pt x="192986" y="200767"/>
                    </a:moveTo>
                    <a:lnTo>
                      <a:pt x="196166" y="196755"/>
                    </a:lnTo>
                    <a:lnTo>
                      <a:pt x="198120" y="199905"/>
                    </a:lnTo>
                    <a:lnTo>
                      <a:pt x="201985" y="200002"/>
                    </a:lnTo>
                    <a:lnTo>
                      <a:pt x="202771" y="203062"/>
                    </a:lnTo>
                    <a:lnTo>
                      <a:pt x="198150" y="211141"/>
                    </a:lnTo>
                    <a:lnTo>
                      <a:pt x="191253" y="216414"/>
                    </a:lnTo>
                    <a:lnTo>
                      <a:pt x="190912" y="218121"/>
                    </a:lnTo>
                    <a:lnTo>
                      <a:pt x="193091" y="222747"/>
                    </a:lnTo>
                    <a:lnTo>
                      <a:pt x="190879" y="229695"/>
                    </a:lnTo>
                    <a:lnTo>
                      <a:pt x="190938" y="237336"/>
                    </a:lnTo>
                    <a:lnTo>
                      <a:pt x="189023" y="240466"/>
                    </a:lnTo>
                    <a:lnTo>
                      <a:pt x="183904" y="242195"/>
                    </a:lnTo>
                    <a:lnTo>
                      <a:pt x="163425" y="241310"/>
                    </a:lnTo>
                    <a:lnTo>
                      <a:pt x="157870" y="242982"/>
                    </a:lnTo>
                    <a:lnTo>
                      <a:pt x="154970" y="238527"/>
                    </a:lnTo>
                    <a:lnTo>
                      <a:pt x="149067" y="237281"/>
                    </a:lnTo>
                    <a:lnTo>
                      <a:pt x="145231" y="238533"/>
                    </a:lnTo>
                    <a:lnTo>
                      <a:pt x="139785" y="243335"/>
                    </a:lnTo>
                    <a:lnTo>
                      <a:pt x="138418" y="242833"/>
                    </a:lnTo>
                    <a:lnTo>
                      <a:pt x="135117" y="239292"/>
                    </a:lnTo>
                    <a:lnTo>
                      <a:pt x="133809" y="232320"/>
                    </a:lnTo>
                    <a:lnTo>
                      <a:pt x="129963" y="227526"/>
                    </a:lnTo>
                    <a:lnTo>
                      <a:pt x="129516" y="215323"/>
                    </a:lnTo>
                    <a:lnTo>
                      <a:pt x="120753" y="209467"/>
                    </a:lnTo>
                    <a:lnTo>
                      <a:pt x="119202" y="209499"/>
                    </a:lnTo>
                    <a:lnTo>
                      <a:pt x="117905" y="211965"/>
                    </a:lnTo>
                    <a:lnTo>
                      <a:pt x="118288" y="218010"/>
                    </a:lnTo>
                    <a:lnTo>
                      <a:pt x="116786" y="220155"/>
                    </a:lnTo>
                    <a:lnTo>
                      <a:pt x="99936" y="228673"/>
                    </a:lnTo>
                    <a:lnTo>
                      <a:pt x="94129" y="228264"/>
                    </a:lnTo>
                    <a:lnTo>
                      <a:pt x="90589" y="231936"/>
                    </a:lnTo>
                    <a:lnTo>
                      <a:pt x="83185" y="222105"/>
                    </a:lnTo>
                    <a:lnTo>
                      <a:pt x="75428" y="224047"/>
                    </a:lnTo>
                    <a:lnTo>
                      <a:pt x="73462" y="225781"/>
                    </a:lnTo>
                    <a:lnTo>
                      <a:pt x="72515" y="230469"/>
                    </a:lnTo>
                    <a:lnTo>
                      <a:pt x="64153" y="235506"/>
                    </a:lnTo>
                    <a:lnTo>
                      <a:pt x="62870" y="239675"/>
                    </a:lnTo>
                    <a:lnTo>
                      <a:pt x="59646" y="243443"/>
                    </a:lnTo>
                    <a:lnTo>
                      <a:pt x="65785" y="247897"/>
                    </a:lnTo>
                    <a:lnTo>
                      <a:pt x="69865" y="255881"/>
                    </a:lnTo>
                    <a:lnTo>
                      <a:pt x="75082" y="255054"/>
                    </a:lnTo>
                    <a:lnTo>
                      <a:pt x="77174" y="256496"/>
                    </a:lnTo>
                    <a:lnTo>
                      <a:pt x="75532" y="262057"/>
                    </a:lnTo>
                    <a:lnTo>
                      <a:pt x="75435" y="267676"/>
                    </a:lnTo>
                    <a:lnTo>
                      <a:pt x="65519" y="273264"/>
                    </a:lnTo>
                    <a:lnTo>
                      <a:pt x="70006" y="282218"/>
                    </a:lnTo>
                    <a:lnTo>
                      <a:pt x="71555" y="303001"/>
                    </a:lnTo>
                    <a:lnTo>
                      <a:pt x="67541" y="303586"/>
                    </a:lnTo>
                    <a:lnTo>
                      <a:pt x="55927" y="298478"/>
                    </a:lnTo>
                    <a:lnTo>
                      <a:pt x="46603" y="298319"/>
                    </a:lnTo>
                    <a:lnTo>
                      <a:pt x="40593" y="295268"/>
                    </a:lnTo>
                    <a:lnTo>
                      <a:pt x="41181" y="291397"/>
                    </a:lnTo>
                    <a:lnTo>
                      <a:pt x="37500" y="283500"/>
                    </a:lnTo>
                    <a:lnTo>
                      <a:pt x="37516" y="280321"/>
                    </a:lnTo>
                    <a:lnTo>
                      <a:pt x="40683" y="272195"/>
                    </a:lnTo>
                    <a:lnTo>
                      <a:pt x="47385" y="266991"/>
                    </a:lnTo>
                    <a:lnTo>
                      <a:pt x="47862" y="260841"/>
                    </a:lnTo>
                    <a:lnTo>
                      <a:pt x="44358" y="255588"/>
                    </a:lnTo>
                    <a:lnTo>
                      <a:pt x="48010" y="250119"/>
                    </a:lnTo>
                    <a:lnTo>
                      <a:pt x="43721" y="244444"/>
                    </a:lnTo>
                    <a:lnTo>
                      <a:pt x="34033" y="239307"/>
                    </a:lnTo>
                    <a:lnTo>
                      <a:pt x="33788" y="236331"/>
                    </a:lnTo>
                    <a:lnTo>
                      <a:pt x="35601" y="232589"/>
                    </a:lnTo>
                    <a:lnTo>
                      <a:pt x="44208" y="234464"/>
                    </a:lnTo>
                    <a:lnTo>
                      <a:pt x="50988" y="230954"/>
                    </a:lnTo>
                    <a:lnTo>
                      <a:pt x="53153" y="221678"/>
                    </a:lnTo>
                    <a:lnTo>
                      <a:pt x="52020" y="216286"/>
                    </a:lnTo>
                    <a:lnTo>
                      <a:pt x="52688" y="213204"/>
                    </a:lnTo>
                    <a:lnTo>
                      <a:pt x="51903" y="209279"/>
                    </a:lnTo>
                    <a:lnTo>
                      <a:pt x="49034" y="206682"/>
                    </a:lnTo>
                    <a:lnTo>
                      <a:pt x="37556" y="205290"/>
                    </a:lnTo>
                    <a:lnTo>
                      <a:pt x="34812" y="202885"/>
                    </a:lnTo>
                    <a:lnTo>
                      <a:pt x="33448" y="197595"/>
                    </a:lnTo>
                    <a:lnTo>
                      <a:pt x="34731" y="189302"/>
                    </a:lnTo>
                    <a:lnTo>
                      <a:pt x="34338" y="184845"/>
                    </a:lnTo>
                    <a:lnTo>
                      <a:pt x="30004" y="179602"/>
                    </a:lnTo>
                    <a:lnTo>
                      <a:pt x="19406" y="166713"/>
                    </a:lnTo>
                    <a:lnTo>
                      <a:pt x="19005" y="165455"/>
                    </a:lnTo>
                    <a:lnTo>
                      <a:pt x="21339" y="162123"/>
                    </a:lnTo>
                    <a:lnTo>
                      <a:pt x="19396" y="157156"/>
                    </a:lnTo>
                    <a:lnTo>
                      <a:pt x="12797" y="151646"/>
                    </a:lnTo>
                    <a:lnTo>
                      <a:pt x="11800" y="150802"/>
                    </a:lnTo>
                    <a:lnTo>
                      <a:pt x="16977" y="145306"/>
                    </a:lnTo>
                    <a:lnTo>
                      <a:pt x="19537" y="127655"/>
                    </a:lnTo>
                    <a:lnTo>
                      <a:pt x="16072" y="127490"/>
                    </a:lnTo>
                    <a:lnTo>
                      <a:pt x="3804" y="134044"/>
                    </a:lnTo>
                    <a:lnTo>
                      <a:pt x="255" y="127400"/>
                    </a:lnTo>
                    <a:lnTo>
                      <a:pt x="0" y="123158"/>
                    </a:lnTo>
                    <a:lnTo>
                      <a:pt x="1703" y="116993"/>
                    </a:lnTo>
                    <a:lnTo>
                      <a:pt x="6964" y="107876"/>
                    </a:lnTo>
                    <a:lnTo>
                      <a:pt x="12450" y="102821"/>
                    </a:lnTo>
                    <a:lnTo>
                      <a:pt x="16994" y="102646"/>
                    </a:lnTo>
                    <a:lnTo>
                      <a:pt x="18168" y="99972"/>
                    </a:lnTo>
                    <a:lnTo>
                      <a:pt x="19509" y="95706"/>
                    </a:lnTo>
                    <a:lnTo>
                      <a:pt x="19372" y="90930"/>
                    </a:lnTo>
                    <a:lnTo>
                      <a:pt x="17794" y="87557"/>
                    </a:lnTo>
                    <a:lnTo>
                      <a:pt x="15961" y="87417"/>
                    </a:lnTo>
                    <a:lnTo>
                      <a:pt x="18753" y="83297"/>
                    </a:lnTo>
                    <a:lnTo>
                      <a:pt x="16822" y="69207"/>
                    </a:lnTo>
                    <a:lnTo>
                      <a:pt x="18583" y="63455"/>
                    </a:lnTo>
                    <a:lnTo>
                      <a:pt x="25516" y="61869"/>
                    </a:lnTo>
                    <a:lnTo>
                      <a:pt x="32267" y="52945"/>
                    </a:lnTo>
                    <a:lnTo>
                      <a:pt x="39928" y="53464"/>
                    </a:lnTo>
                    <a:lnTo>
                      <a:pt x="45813" y="50918"/>
                    </a:lnTo>
                    <a:lnTo>
                      <a:pt x="46441" y="50137"/>
                    </a:lnTo>
                    <a:lnTo>
                      <a:pt x="48337" y="54646"/>
                    </a:lnTo>
                    <a:lnTo>
                      <a:pt x="50022" y="61698"/>
                    </a:lnTo>
                    <a:lnTo>
                      <a:pt x="51771" y="72855"/>
                    </a:lnTo>
                    <a:lnTo>
                      <a:pt x="54501" y="87717"/>
                    </a:lnTo>
                    <a:lnTo>
                      <a:pt x="56907" y="96619"/>
                    </a:lnTo>
                    <a:lnTo>
                      <a:pt x="62413" y="103603"/>
                    </a:lnTo>
                    <a:lnTo>
                      <a:pt x="70313" y="106077"/>
                    </a:lnTo>
                    <a:lnTo>
                      <a:pt x="77714" y="105190"/>
                    </a:lnTo>
                    <a:lnTo>
                      <a:pt x="81477" y="101762"/>
                    </a:lnTo>
                    <a:lnTo>
                      <a:pt x="82482" y="95404"/>
                    </a:lnTo>
                    <a:lnTo>
                      <a:pt x="80520" y="86496"/>
                    </a:lnTo>
                    <a:lnTo>
                      <a:pt x="74439" y="73202"/>
                    </a:lnTo>
                    <a:lnTo>
                      <a:pt x="68415" y="62864"/>
                    </a:lnTo>
                    <a:lnTo>
                      <a:pt x="63396" y="57367"/>
                    </a:lnTo>
                    <a:lnTo>
                      <a:pt x="58350" y="50742"/>
                    </a:lnTo>
                    <a:lnTo>
                      <a:pt x="55148" y="39384"/>
                    </a:lnTo>
                    <a:lnTo>
                      <a:pt x="65721" y="26263"/>
                    </a:lnTo>
                    <a:lnTo>
                      <a:pt x="70983" y="25100"/>
                    </a:lnTo>
                    <a:lnTo>
                      <a:pt x="71819" y="22222"/>
                    </a:lnTo>
                    <a:lnTo>
                      <a:pt x="69640" y="17601"/>
                    </a:lnTo>
                    <a:lnTo>
                      <a:pt x="70062" y="16113"/>
                    </a:lnTo>
                    <a:lnTo>
                      <a:pt x="73037" y="15624"/>
                    </a:lnTo>
                    <a:lnTo>
                      <a:pt x="78458" y="19037"/>
                    </a:lnTo>
                    <a:lnTo>
                      <a:pt x="86093" y="18892"/>
                    </a:lnTo>
                    <a:lnTo>
                      <a:pt x="94604" y="11497"/>
                    </a:lnTo>
                    <a:lnTo>
                      <a:pt x="100314" y="10849"/>
                    </a:lnTo>
                    <a:lnTo>
                      <a:pt x="106721" y="2603"/>
                    </a:lnTo>
                    <a:lnTo>
                      <a:pt x="112239" y="0"/>
                    </a:lnTo>
                    <a:lnTo>
                      <a:pt x="117031" y="7107"/>
                    </a:lnTo>
                    <a:lnTo>
                      <a:pt x="134486" y="13837"/>
                    </a:lnTo>
                    <a:lnTo>
                      <a:pt x="142038" y="18762"/>
                    </a:lnTo>
                    <a:lnTo>
                      <a:pt x="146864" y="24181"/>
                    </a:lnTo>
                    <a:lnTo>
                      <a:pt x="148019" y="26802"/>
                    </a:lnTo>
                    <a:lnTo>
                      <a:pt x="148090" y="35608"/>
                    </a:lnTo>
                    <a:lnTo>
                      <a:pt x="154711" y="46287"/>
                    </a:lnTo>
                    <a:lnTo>
                      <a:pt x="153863" y="53742"/>
                    </a:lnTo>
                    <a:lnTo>
                      <a:pt x="155718" y="64837"/>
                    </a:lnTo>
                    <a:lnTo>
                      <a:pt x="157015" y="68520"/>
                    </a:lnTo>
                    <a:lnTo>
                      <a:pt x="160866" y="72152"/>
                    </a:lnTo>
                    <a:lnTo>
                      <a:pt x="161518" y="80639"/>
                    </a:lnTo>
                    <a:lnTo>
                      <a:pt x="158858" y="87376"/>
                    </a:lnTo>
                    <a:lnTo>
                      <a:pt x="146524" y="95732"/>
                    </a:lnTo>
                    <a:lnTo>
                      <a:pt x="146900" y="101559"/>
                    </a:lnTo>
                    <a:lnTo>
                      <a:pt x="145700" y="107749"/>
                    </a:lnTo>
                    <a:lnTo>
                      <a:pt x="144142" y="109700"/>
                    </a:lnTo>
                    <a:lnTo>
                      <a:pt x="140374" y="109992"/>
                    </a:lnTo>
                    <a:lnTo>
                      <a:pt x="140416" y="117525"/>
                    </a:lnTo>
                    <a:lnTo>
                      <a:pt x="143735" y="122872"/>
                    </a:lnTo>
                    <a:lnTo>
                      <a:pt x="144566" y="128589"/>
                    </a:lnTo>
                    <a:lnTo>
                      <a:pt x="150089" y="129214"/>
                    </a:lnTo>
                    <a:lnTo>
                      <a:pt x="152980" y="131793"/>
                    </a:lnTo>
                    <a:lnTo>
                      <a:pt x="160541" y="131832"/>
                    </a:lnTo>
                    <a:lnTo>
                      <a:pt x="165163" y="137647"/>
                    </a:lnTo>
                    <a:lnTo>
                      <a:pt x="168616" y="139597"/>
                    </a:lnTo>
                    <a:lnTo>
                      <a:pt x="189482" y="140659"/>
                    </a:lnTo>
                    <a:lnTo>
                      <a:pt x="194706" y="144564"/>
                    </a:lnTo>
                    <a:lnTo>
                      <a:pt x="198949" y="151988"/>
                    </a:lnTo>
                    <a:lnTo>
                      <a:pt x="193494" y="157028"/>
                    </a:lnTo>
                    <a:lnTo>
                      <a:pt x="190466" y="166962"/>
                    </a:lnTo>
                    <a:lnTo>
                      <a:pt x="180581" y="172523"/>
                    </a:lnTo>
                    <a:lnTo>
                      <a:pt x="174443" y="184959"/>
                    </a:lnTo>
                    <a:lnTo>
                      <a:pt x="178932" y="189232"/>
                    </a:lnTo>
                    <a:lnTo>
                      <a:pt x="187237" y="192105"/>
                    </a:lnTo>
                    <a:lnTo>
                      <a:pt x="188790" y="20034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4" name="Freeform 230">
                <a:extLst>
                  <a:ext uri="{FF2B5EF4-FFF2-40B4-BE49-F238E27FC236}">
                    <a16:creationId xmlns:a16="http://schemas.microsoft.com/office/drawing/2014/main" id="{3B58FDCE-8ABA-7805-9DEE-A1D4FC169321}"/>
                  </a:ext>
                </a:extLst>
              </p:cNvPr>
              <p:cNvSpPr>
                <a:spLocks noChangeAspect="1"/>
              </p:cNvSpPr>
              <p:nvPr>
                <p:custDataLst>
                  <p:tags r:id="rId155"/>
                </p:custDataLst>
              </p:nvPr>
            </p:nvSpPr>
            <p:spPr>
              <a:xfrm>
                <a:off x="4797821" y="4514389"/>
                <a:ext cx="35104" cy="64958"/>
              </a:xfrm>
              <a:custGeom>
                <a:avLst/>
                <a:gdLst/>
                <a:ahLst/>
                <a:cxnLst/>
                <a:rect l="0" t="0" r="0" b="0"/>
                <a:pathLst>
                  <a:path w="36042" h="66694">
                    <a:moveTo>
                      <a:pt x="23872" y="66693"/>
                    </a:moveTo>
                    <a:lnTo>
                      <a:pt x="15972" y="64219"/>
                    </a:lnTo>
                    <a:lnTo>
                      <a:pt x="10466" y="57235"/>
                    </a:lnTo>
                    <a:lnTo>
                      <a:pt x="8060" y="48333"/>
                    </a:lnTo>
                    <a:lnTo>
                      <a:pt x="5330" y="33471"/>
                    </a:lnTo>
                    <a:lnTo>
                      <a:pt x="3581" y="22314"/>
                    </a:lnTo>
                    <a:lnTo>
                      <a:pt x="1896" y="15262"/>
                    </a:lnTo>
                    <a:lnTo>
                      <a:pt x="0" y="10753"/>
                    </a:lnTo>
                    <a:lnTo>
                      <a:pt x="8707" y="0"/>
                    </a:lnTo>
                    <a:lnTo>
                      <a:pt x="11909" y="11358"/>
                    </a:lnTo>
                    <a:lnTo>
                      <a:pt x="16955" y="17983"/>
                    </a:lnTo>
                    <a:lnTo>
                      <a:pt x="21974" y="23480"/>
                    </a:lnTo>
                    <a:lnTo>
                      <a:pt x="27998" y="33818"/>
                    </a:lnTo>
                    <a:lnTo>
                      <a:pt x="34079" y="47112"/>
                    </a:lnTo>
                    <a:lnTo>
                      <a:pt x="36041" y="56020"/>
                    </a:lnTo>
                    <a:lnTo>
                      <a:pt x="35036" y="62378"/>
                    </a:lnTo>
                    <a:lnTo>
                      <a:pt x="31273" y="6580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5" name="Freeform 231">
                <a:extLst>
                  <a:ext uri="{FF2B5EF4-FFF2-40B4-BE49-F238E27FC236}">
                    <a16:creationId xmlns:a16="http://schemas.microsoft.com/office/drawing/2014/main" id="{45A1BBCF-6138-549A-0C08-0B78958626E0}"/>
                  </a:ext>
                </a:extLst>
              </p:cNvPr>
              <p:cNvSpPr>
                <a:spLocks noChangeAspect="1"/>
              </p:cNvSpPr>
              <p:nvPr>
                <p:custDataLst>
                  <p:tags r:id="rId156"/>
                </p:custDataLst>
              </p:nvPr>
            </p:nvSpPr>
            <p:spPr>
              <a:xfrm>
                <a:off x="4581355" y="4561171"/>
                <a:ext cx="223005" cy="256139"/>
              </a:xfrm>
              <a:custGeom>
                <a:avLst/>
                <a:gdLst/>
                <a:ahLst/>
                <a:cxnLst/>
                <a:rect l="0" t="0" r="0" b="0"/>
                <a:pathLst>
                  <a:path w="228966" h="262986">
                    <a:moveTo>
                      <a:pt x="179616" y="46627"/>
                    </a:moveTo>
                    <a:lnTo>
                      <a:pt x="191884" y="40073"/>
                    </a:lnTo>
                    <a:lnTo>
                      <a:pt x="195349" y="40238"/>
                    </a:lnTo>
                    <a:lnTo>
                      <a:pt x="192789" y="57889"/>
                    </a:lnTo>
                    <a:lnTo>
                      <a:pt x="187612" y="63385"/>
                    </a:lnTo>
                    <a:lnTo>
                      <a:pt x="188609" y="64229"/>
                    </a:lnTo>
                    <a:lnTo>
                      <a:pt x="183739" y="65919"/>
                    </a:lnTo>
                    <a:lnTo>
                      <a:pt x="171037" y="73440"/>
                    </a:lnTo>
                    <a:lnTo>
                      <a:pt x="156462" y="78805"/>
                    </a:lnTo>
                    <a:lnTo>
                      <a:pt x="144523" y="85446"/>
                    </a:lnTo>
                    <a:lnTo>
                      <a:pt x="131231" y="89054"/>
                    </a:lnTo>
                    <a:lnTo>
                      <a:pt x="127370" y="95137"/>
                    </a:lnTo>
                    <a:lnTo>
                      <a:pt x="132691" y="103294"/>
                    </a:lnTo>
                    <a:lnTo>
                      <a:pt x="147509" y="116507"/>
                    </a:lnTo>
                    <a:lnTo>
                      <a:pt x="163684" y="131863"/>
                    </a:lnTo>
                    <a:lnTo>
                      <a:pt x="174842" y="142514"/>
                    </a:lnTo>
                    <a:lnTo>
                      <a:pt x="180411" y="146327"/>
                    </a:lnTo>
                    <a:lnTo>
                      <a:pt x="183295" y="146287"/>
                    </a:lnTo>
                    <a:lnTo>
                      <a:pt x="185842" y="141057"/>
                    </a:lnTo>
                    <a:lnTo>
                      <a:pt x="189662" y="133223"/>
                    </a:lnTo>
                    <a:lnTo>
                      <a:pt x="193466" y="123670"/>
                    </a:lnTo>
                    <a:lnTo>
                      <a:pt x="202261" y="99348"/>
                    </a:lnTo>
                    <a:lnTo>
                      <a:pt x="205816" y="92185"/>
                    </a:lnTo>
                    <a:lnTo>
                      <a:pt x="210150" y="97428"/>
                    </a:lnTo>
                    <a:lnTo>
                      <a:pt x="210543" y="101885"/>
                    </a:lnTo>
                    <a:lnTo>
                      <a:pt x="209260" y="110178"/>
                    </a:lnTo>
                    <a:lnTo>
                      <a:pt x="210624" y="115468"/>
                    </a:lnTo>
                    <a:lnTo>
                      <a:pt x="213368" y="117873"/>
                    </a:lnTo>
                    <a:lnTo>
                      <a:pt x="224846" y="119265"/>
                    </a:lnTo>
                    <a:lnTo>
                      <a:pt x="227715" y="121862"/>
                    </a:lnTo>
                    <a:lnTo>
                      <a:pt x="228500" y="125787"/>
                    </a:lnTo>
                    <a:lnTo>
                      <a:pt x="227832" y="128869"/>
                    </a:lnTo>
                    <a:lnTo>
                      <a:pt x="228965" y="134261"/>
                    </a:lnTo>
                    <a:lnTo>
                      <a:pt x="226800" y="143537"/>
                    </a:lnTo>
                    <a:lnTo>
                      <a:pt x="220020" y="147047"/>
                    </a:lnTo>
                    <a:lnTo>
                      <a:pt x="211413" y="145172"/>
                    </a:lnTo>
                    <a:lnTo>
                      <a:pt x="209600" y="148914"/>
                    </a:lnTo>
                    <a:lnTo>
                      <a:pt x="209845" y="151890"/>
                    </a:lnTo>
                    <a:lnTo>
                      <a:pt x="219533" y="157027"/>
                    </a:lnTo>
                    <a:lnTo>
                      <a:pt x="223822" y="162702"/>
                    </a:lnTo>
                    <a:lnTo>
                      <a:pt x="220170" y="168171"/>
                    </a:lnTo>
                    <a:lnTo>
                      <a:pt x="223674" y="173424"/>
                    </a:lnTo>
                    <a:lnTo>
                      <a:pt x="223197" y="179574"/>
                    </a:lnTo>
                    <a:lnTo>
                      <a:pt x="216495" y="184778"/>
                    </a:lnTo>
                    <a:lnTo>
                      <a:pt x="213328" y="192904"/>
                    </a:lnTo>
                    <a:lnTo>
                      <a:pt x="213312" y="196083"/>
                    </a:lnTo>
                    <a:lnTo>
                      <a:pt x="216993" y="203980"/>
                    </a:lnTo>
                    <a:lnTo>
                      <a:pt x="216405" y="207851"/>
                    </a:lnTo>
                    <a:lnTo>
                      <a:pt x="212154" y="213201"/>
                    </a:lnTo>
                    <a:lnTo>
                      <a:pt x="204035" y="211945"/>
                    </a:lnTo>
                    <a:lnTo>
                      <a:pt x="201532" y="216051"/>
                    </a:lnTo>
                    <a:lnTo>
                      <a:pt x="207090" y="228976"/>
                    </a:lnTo>
                    <a:lnTo>
                      <a:pt x="208988" y="230882"/>
                    </a:lnTo>
                    <a:lnTo>
                      <a:pt x="192413" y="231529"/>
                    </a:lnTo>
                    <a:lnTo>
                      <a:pt x="190772" y="233468"/>
                    </a:lnTo>
                    <a:lnTo>
                      <a:pt x="190615" y="236866"/>
                    </a:lnTo>
                    <a:lnTo>
                      <a:pt x="187931" y="239353"/>
                    </a:lnTo>
                    <a:lnTo>
                      <a:pt x="174080" y="241876"/>
                    </a:lnTo>
                    <a:lnTo>
                      <a:pt x="173077" y="244437"/>
                    </a:lnTo>
                    <a:lnTo>
                      <a:pt x="174635" y="249509"/>
                    </a:lnTo>
                    <a:lnTo>
                      <a:pt x="173135" y="253360"/>
                    </a:lnTo>
                    <a:lnTo>
                      <a:pt x="168792" y="253615"/>
                    </a:lnTo>
                    <a:lnTo>
                      <a:pt x="161197" y="248729"/>
                    </a:lnTo>
                    <a:lnTo>
                      <a:pt x="156186" y="252395"/>
                    </a:lnTo>
                    <a:lnTo>
                      <a:pt x="154271" y="260709"/>
                    </a:lnTo>
                    <a:lnTo>
                      <a:pt x="144419" y="262092"/>
                    </a:lnTo>
                    <a:lnTo>
                      <a:pt x="142077" y="261064"/>
                    </a:lnTo>
                    <a:lnTo>
                      <a:pt x="141509" y="256835"/>
                    </a:lnTo>
                    <a:lnTo>
                      <a:pt x="139991" y="254938"/>
                    </a:lnTo>
                    <a:lnTo>
                      <a:pt x="134241" y="251903"/>
                    </a:lnTo>
                    <a:lnTo>
                      <a:pt x="131509" y="250462"/>
                    </a:lnTo>
                    <a:lnTo>
                      <a:pt x="128542" y="252933"/>
                    </a:lnTo>
                    <a:lnTo>
                      <a:pt x="126367" y="261880"/>
                    </a:lnTo>
                    <a:lnTo>
                      <a:pt x="121710" y="262985"/>
                    </a:lnTo>
                    <a:lnTo>
                      <a:pt x="109696" y="255139"/>
                    </a:lnTo>
                    <a:lnTo>
                      <a:pt x="113914" y="248741"/>
                    </a:lnTo>
                    <a:lnTo>
                      <a:pt x="112898" y="244822"/>
                    </a:lnTo>
                    <a:lnTo>
                      <a:pt x="101354" y="244398"/>
                    </a:lnTo>
                    <a:lnTo>
                      <a:pt x="99807" y="239319"/>
                    </a:lnTo>
                    <a:lnTo>
                      <a:pt x="96130" y="233942"/>
                    </a:lnTo>
                    <a:lnTo>
                      <a:pt x="87806" y="229770"/>
                    </a:lnTo>
                    <a:lnTo>
                      <a:pt x="80146" y="235990"/>
                    </a:lnTo>
                    <a:lnTo>
                      <a:pt x="73064" y="233912"/>
                    </a:lnTo>
                    <a:lnTo>
                      <a:pt x="72493" y="236581"/>
                    </a:lnTo>
                    <a:lnTo>
                      <a:pt x="74799" y="241006"/>
                    </a:lnTo>
                    <a:lnTo>
                      <a:pt x="69692" y="242959"/>
                    </a:lnTo>
                    <a:lnTo>
                      <a:pt x="66034" y="247762"/>
                    </a:lnTo>
                    <a:lnTo>
                      <a:pt x="60317" y="249124"/>
                    </a:lnTo>
                    <a:lnTo>
                      <a:pt x="60292" y="249130"/>
                    </a:lnTo>
                    <a:lnTo>
                      <a:pt x="33861" y="247225"/>
                    </a:lnTo>
                    <a:lnTo>
                      <a:pt x="32219" y="245802"/>
                    </a:lnTo>
                    <a:lnTo>
                      <a:pt x="26096" y="239049"/>
                    </a:lnTo>
                    <a:lnTo>
                      <a:pt x="17703" y="233114"/>
                    </a:lnTo>
                    <a:lnTo>
                      <a:pt x="11714" y="227432"/>
                    </a:lnTo>
                    <a:lnTo>
                      <a:pt x="3719" y="222158"/>
                    </a:lnTo>
                    <a:lnTo>
                      <a:pt x="2933" y="221213"/>
                    </a:lnTo>
                    <a:lnTo>
                      <a:pt x="2159" y="220091"/>
                    </a:lnTo>
                    <a:lnTo>
                      <a:pt x="1505" y="218809"/>
                    </a:lnTo>
                    <a:lnTo>
                      <a:pt x="861" y="216956"/>
                    </a:lnTo>
                    <a:lnTo>
                      <a:pt x="458" y="215288"/>
                    </a:lnTo>
                    <a:lnTo>
                      <a:pt x="16" y="212279"/>
                    </a:lnTo>
                    <a:lnTo>
                      <a:pt x="0" y="210819"/>
                    </a:lnTo>
                    <a:lnTo>
                      <a:pt x="103" y="209317"/>
                    </a:lnTo>
                    <a:lnTo>
                      <a:pt x="460" y="207817"/>
                    </a:lnTo>
                    <a:lnTo>
                      <a:pt x="3160" y="203209"/>
                    </a:lnTo>
                    <a:lnTo>
                      <a:pt x="4743" y="201368"/>
                    </a:lnTo>
                    <a:lnTo>
                      <a:pt x="5745" y="200633"/>
                    </a:lnTo>
                    <a:lnTo>
                      <a:pt x="16468" y="196311"/>
                    </a:lnTo>
                    <a:lnTo>
                      <a:pt x="22548" y="191971"/>
                    </a:lnTo>
                    <a:lnTo>
                      <a:pt x="24931" y="190983"/>
                    </a:lnTo>
                    <a:lnTo>
                      <a:pt x="42818" y="189749"/>
                    </a:lnTo>
                    <a:lnTo>
                      <a:pt x="44363" y="188684"/>
                    </a:lnTo>
                    <a:lnTo>
                      <a:pt x="46497" y="183479"/>
                    </a:lnTo>
                    <a:lnTo>
                      <a:pt x="52516" y="177905"/>
                    </a:lnTo>
                    <a:lnTo>
                      <a:pt x="54251" y="175792"/>
                    </a:lnTo>
                    <a:lnTo>
                      <a:pt x="55393" y="173949"/>
                    </a:lnTo>
                    <a:lnTo>
                      <a:pt x="55588" y="172506"/>
                    </a:lnTo>
                    <a:lnTo>
                      <a:pt x="55231" y="171057"/>
                    </a:lnTo>
                    <a:lnTo>
                      <a:pt x="54416" y="169463"/>
                    </a:lnTo>
                    <a:lnTo>
                      <a:pt x="48600" y="162807"/>
                    </a:lnTo>
                    <a:lnTo>
                      <a:pt x="47475" y="162438"/>
                    </a:lnTo>
                    <a:lnTo>
                      <a:pt x="46293" y="162494"/>
                    </a:lnTo>
                    <a:lnTo>
                      <a:pt x="45180" y="163083"/>
                    </a:lnTo>
                    <a:lnTo>
                      <a:pt x="40762" y="167569"/>
                    </a:lnTo>
                    <a:lnTo>
                      <a:pt x="34266" y="171247"/>
                    </a:lnTo>
                    <a:lnTo>
                      <a:pt x="33357" y="172060"/>
                    </a:lnTo>
                    <a:lnTo>
                      <a:pt x="32551" y="173022"/>
                    </a:lnTo>
                    <a:lnTo>
                      <a:pt x="31386" y="175505"/>
                    </a:lnTo>
                    <a:lnTo>
                      <a:pt x="30658" y="176615"/>
                    </a:lnTo>
                    <a:lnTo>
                      <a:pt x="29797" y="177527"/>
                    </a:lnTo>
                    <a:lnTo>
                      <a:pt x="28406" y="178135"/>
                    </a:lnTo>
                    <a:lnTo>
                      <a:pt x="26696" y="178459"/>
                    </a:lnTo>
                    <a:lnTo>
                      <a:pt x="24190" y="178361"/>
                    </a:lnTo>
                    <a:lnTo>
                      <a:pt x="23153" y="177586"/>
                    </a:lnTo>
                    <a:lnTo>
                      <a:pt x="23088" y="176522"/>
                    </a:lnTo>
                    <a:lnTo>
                      <a:pt x="24358" y="174295"/>
                    </a:lnTo>
                    <a:lnTo>
                      <a:pt x="24707" y="173019"/>
                    </a:lnTo>
                    <a:lnTo>
                      <a:pt x="24700" y="171539"/>
                    </a:lnTo>
                    <a:lnTo>
                      <a:pt x="24340" y="170296"/>
                    </a:lnTo>
                    <a:lnTo>
                      <a:pt x="23801" y="169134"/>
                    </a:lnTo>
                    <a:lnTo>
                      <a:pt x="21961" y="165875"/>
                    </a:lnTo>
                    <a:lnTo>
                      <a:pt x="21020" y="163253"/>
                    </a:lnTo>
                    <a:lnTo>
                      <a:pt x="20796" y="161526"/>
                    </a:lnTo>
                    <a:lnTo>
                      <a:pt x="20860" y="159375"/>
                    </a:lnTo>
                    <a:lnTo>
                      <a:pt x="21243" y="157734"/>
                    </a:lnTo>
                    <a:lnTo>
                      <a:pt x="21922" y="156557"/>
                    </a:lnTo>
                    <a:lnTo>
                      <a:pt x="22782" y="155684"/>
                    </a:lnTo>
                    <a:lnTo>
                      <a:pt x="29123" y="151726"/>
                    </a:lnTo>
                    <a:lnTo>
                      <a:pt x="31047" y="150019"/>
                    </a:lnTo>
                    <a:lnTo>
                      <a:pt x="32530" y="147861"/>
                    </a:lnTo>
                    <a:lnTo>
                      <a:pt x="33015" y="146595"/>
                    </a:lnTo>
                    <a:lnTo>
                      <a:pt x="33379" y="144845"/>
                    </a:lnTo>
                    <a:lnTo>
                      <a:pt x="34018" y="139631"/>
                    </a:lnTo>
                    <a:lnTo>
                      <a:pt x="34439" y="137565"/>
                    </a:lnTo>
                    <a:lnTo>
                      <a:pt x="35079" y="136071"/>
                    </a:lnTo>
                    <a:lnTo>
                      <a:pt x="35925" y="135179"/>
                    </a:lnTo>
                    <a:lnTo>
                      <a:pt x="40328" y="132529"/>
                    </a:lnTo>
                    <a:lnTo>
                      <a:pt x="41359" y="131496"/>
                    </a:lnTo>
                    <a:lnTo>
                      <a:pt x="42114" y="129498"/>
                    </a:lnTo>
                    <a:lnTo>
                      <a:pt x="42843" y="125931"/>
                    </a:lnTo>
                    <a:lnTo>
                      <a:pt x="42572" y="121155"/>
                    </a:lnTo>
                    <a:lnTo>
                      <a:pt x="42833" y="118636"/>
                    </a:lnTo>
                    <a:lnTo>
                      <a:pt x="43100" y="117154"/>
                    </a:lnTo>
                    <a:lnTo>
                      <a:pt x="44650" y="113837"/>
                    </a:lnTo>
                    <a:lnTo>
                      <a:pt x="45761" y="110267"/>
                    </a:lnTo>
                    <a:lnTo>
                      <a:pt x="46441" y="108942"/>
                    </a:lnTo>
                    <a:lnTo>
                      <a:pt x="47249" y="108009"/>
                    </a:lnTo>
                    <a:lnTo>
                      <a:pt x="48227" y="107440"/>
                    </a:lnTo>
                    <a:lnTo>
                      <a:pt x="49673" y="107056"/>
                    </a:lnTo>
                    <a:lnTo>
                      <a:pt x="54169" y="106663"/>
                    </a:lnTo>
                    <a:lnTo>
                      <a:pt x="55588" y="105815"/>
                    </a:lnTo>
                    <a:lnTo>
                      <a:pt x="57033" y="104484"/>
                    </a:lnTo>
                    <a:lnTo>
                      <a:pt x="58472" y="101344"/>
                    </a:lnTo>
                    <a:lnTo>
                      <a:pt x="58734" y="100177"/>
                    </a:lnTo>
                    <a:lnTo>
                      <a:pt x="58368" y="99173"/>
                    </a:lnTo>
                    <a:lnTo>
                      <a:pt x="54397" y="97185"/>
                    </a:lnTo>
                    <a:lnTo>
                      <a:pt x="53291" y="96225"/>
                    </a:lnTo>
                    <a:lnTo>
                      <a:pt x="52159" y="94919"/>
                    </a:lnTo>
                    <a:lnTo>
                      <a:pt x="49743" y="90680"/>
                    </a:lnTo>
                    <a:lnTo>
                      <a:pt x="49418" y="90345"/>
                    </a:lnTo>
                    <a:lnTo>
                      <a:pt x="48063" y="89563"/>
                    </a:lnTo>
                    <a:lnTo>
                      <a:pt x="42554" y="87750"/>
                    </a:lnTo>
                    <a:lnTo>
                      <a:pt x="36085" y="86896"/>
                    </a:lnTo>
                    <a:lnTo>
                      <a:pt x="34820" y="86054"/>
                    </a:lnTo>
                    <a:lnTo>
                      <a:pt x="33714" y="84836"/>
                    </a:lnTo>
                    <a:lnTo>
                      <a:pt x="32079" y="81694"/>
                    </a:lnTo>
                    <a:lnTo>
                      <a:pt x="31419" y="80968"/>
                    </a:lnTo>
                    <a:lnTo>
                      <a:pt x="30342" y="80499"/>
                    </a:lnTo>
                    <a:lnTo>
                      <a:pt x="23207" y="79939"/>
                    </a:lnTo>
                    <a:lnTo>
                      <a:pt x="19258" y="78111"/>
                    </a:lnTo>
                    <a:lnTo>
                      <a:pt x="16889" y="75554"/>
                    </a:lnTo>
                    <a:lnTo>
                      <a:pt x="16863" y="75474"/>
                    </a:lnTo>
                    <a:lnTo>
                      <a:pt x="14079" y="66839"/>
                    </a:lnTo>
                    <a:lnTo>
                      <a:pt x="14006" y="64963"/>
                    </a:lnTo>
                    <a:lnTo>
                      <a:pt x="14087" y="62692"/>
                    </a:lnTo>
                    <a:lnTo>
                      <a:pt x="14535" y="61358"/>
                    </a:lnTo>
                    <a:lnTo>
                      <a:pt x="15905" y="59111"/>
                    </a:lnTo>
                    <a:lnTo>
                      <a:pt x="16736" y="58082"/>
                    </a:lnTo>
                    <a:lnTo>
                      <a:pt x="19867" y="55058"/>
                    </a:lnTo>
                    <a:lnTo>
                      <a:pt x="21051" y="53078"/>
                    </a:lnTo>
                    <a:lnTo>
                      <a:pt x="21282" y="51489"/>
                    </a:lnTo>
                    <a:lnTo>
                      <a:pt x="21086" y="50147"/>
                    </a:lnTo>
                    <a:lnTo>
                      <a:pt x="20495" y="48491"/>
                    </a:lnTo>
                    <a:lnTo>
                      <a:pt x="20016" y="46647"/>
                    </a:lnTo>
                    <a:lnTo>
                      <a:pt x="19520" y="43499"/>
                    </a:lnTo>
                    <a:lnTo>
                      <a:pt x="19858" y="41742"/>
                    </a:lnTo>
                    <a:lnTo>
                      <a:pt x="20634" y="40485"/>
                    </a:lnTo>
                    <a:lnTo>
                      <a:pt x="23066" y="39507"/>
                    </a:lnTo>
                    <a:lnTo>
                      <a:pt x="24575" y="38472"/>
                    </a:lnTo>
                    <a:lnTo>
                      <a:pt x="26099" y="36798"/>
                    </a:lnTo>
                    <a:lnTo>
                      <a:pt x="27980" y="32721"/>
                    </a:lnTo>
                    <a:lnTo>
                      <a:pt x="29185" y="30633"/>
                    </a:lnTo>
                    <a:lnTo>
                      <a:pt x="30523" y="29076"/>
                    </a:lnTo>
                    <a:lnTo>
                      <a:pt x="33453" y="26811"/>
                    </a:lnTo>
                    <a:lnTo>
                      <a:pt x="34368" y="26362"/>
                    </a:lnTo>
                    <a:lnTo>
                      <a:pt x="35521" y="26130"/>
                    </a:lnTo>
                    <a:lnTo>
                      <a:pt x="36412" y="25690"/>
                    </a:lnTo>
                    <a:lnTo>
                      <a:pt x="48063" y="16671"/>
                    </a:lnTo>
                    <a:lnTo>
                      <a:pt x="50614" y="15462"/>
                    </a:lnTo>
                    <a:lnTo>
                      <a:pt x="54765" y="15217"/>
                    </a:lnTo>
                    <a:lnTo>
                      <a:pt x="57488" y="15803"/>
                    </a:lnTo>
                    <a:lnTo>
                      <a:pt x="58550" y="16358"/>
                    </a:lnTo>
                    <a:lnTo>
                      <a:pt x="62443" y="21041"/>
                    </a:lnTo>
                    <a:lnTo>
                      <a:pt x="63384" y="21912"/>
                    </a:lnTo>
                    <a:lnTo>
                      <a:pt x="64441" y="22517"/>
                    </a:lnTo>
                    <a:lnTo>
                      <a:pt x="66062" y="22783"/>
                    </a:lnTo>
                    <a:lnTo>
                      <a:pt x="68084" y="22551"/>
                    </a:lnTo>
                    <a:lnTo>
                      <a:pt x="77086" y="19689"/>
                    </a:lnTo>
                    <a:lnTo>
                      <a:pt x="80062" y="19775"/>
                    </a:lnTo>
                    <a:lnTo>
                      <a:pt x="82812" y="20533"/>
                    </a:lnTo>
                    <a:lnTo>
                      <a:pt x="84013" y="21214"/>
                    </a:lnTo>
                    <a:lnTo>
                      <a:pt x="96314" y="33853"/>
                    </a:lnTo>
                    <a:lnTo>
                      <a:pt x="97714" y="34541"/>
                    </a:lnTo>
                    <a:lnTo>
                      <a:pt x="99911" y="35104"/>
                    </a:lnTo>
                    <a:lnTo>
                      <a:pt x="101740" y="34465"/>
                    </a:lnTo>
                    <a:lnTo>
                      <a:pt x="106400" y="30868"/>
                    </a:lnTo>
                    <a:lnTo>
                      <a:pt x="108687" y="29760"/>
                    </a:lnTo>
                    <a:lnTo>
                      <a:pt x="111765" y="29039"/>
                    </a:lnTo>
                    <a:lnTo>
                      <a:pt x="113210" y="28254"/>
                    </a:lnTo>
                    <a:lnTo>
                      <a:pt x="114079" y="26931"/>
                    </a:lnTo>
                    <a:lnTo>
                      <a:pt x="114278" y="25399"/>
                    </a:lnTo>
                    <a:lnTo>
                      <a:pt x="114335" y="19219"/>
                    </a:lnTo>
                    <a:lnTo>
                      <a:pt x="114119" y="17779"/>
                    </a:lnTo>
                    <a:lnTo>
                      <a:pt x="113713" y="16501"/>
                    </a:lnTo>
                    <a:lnTo>
                      <a:pt x="112250" y="12913"/>
                    </a:lnTo>
                    <a:lnTo>
                      <a:pt x="111697" y="9847"/>
                    </a:lnTo>
                    <a:lnTo>
                      <a:pt x="111596" y="9787"/>
                    </a:lnTo>
                    <a:lnTo>
                      <a:pt x="135663" y="2187"/>
                    </a:lnTo>
                    <a:lnTo>
                      <a:pt x="143365" y="5494"/>
                    </a:lnTo>
                    <a:lnTo>
                      <a:pt x="146158" y="14366"/>
                    </a:lnTo>
                    <a:lnTo>
                      <a:pt x="150685" y="13265"/>
                    </a:lnTo>
                    <a:lnTo>
                      <a:pt x="157837" y="16670"/>
                    </a:lnTo>
                    <a:lnTo>
                      <a:pt x="161086" y="11100"/>
                    </a:lnTo>
                    <a:lnTo>
                      <a:pt x="168928" y="13878"/>
                    </a:lnTo>
                    <a:lnTo>
                      <a:pt x="175694" y="12720"/>
                    </a:lnTo>
                    <a:lnTo>
                      <a:pt x="179934" y="9581"/>
                    </a:lnTo>
                    <a:lnTo>
                      <a:pt x="181526" y="4344"/>
                    </a:lnTo>
                    <a:lnTo>
                      <a:pt x="191773" y="0"/>
                    </a:lnTo>
                    <a:lnTo>
                      <a:pt x="193606" y="140"/>
                    </a:lnTo>
                    <a:lnTo>
                      <a:pt x="195184" y="3513"/>
                    </a:lnTo>
                    <a:lnTo>
                      <a:pt x="195321" y="8289"/>
                    </a:lnTo>
                    <a:lnTo>
                      <a:pt x="193980" y="12555"/>
                    </a:lnTo>
                    <a:lnTo>
                      <a:pt x="192806" y="15229"/>
                    </a:lnTo>
                    <a:lnTo>
                      <a:pt x="188262" y="15404"/>
                    </a:lnTo>
                    <a:lnTo>
                      <a:pt x="182776" y="20459"/>
                    </a:lnTo>
                    <a:lnTo>
                      <a:pt x="177515" y="29576"/>
                    </a:lnTo>
                    <a:lnTo>
                      <a:pt x="175812" y="35741"/>
                    </a:lnTo>
                    <a:lnTo>
                      <a:pt x="176067" y="3998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6" name="Freeform 232">
                <a:extLst>
                  <a:ext uri="{FF2B5EF4-FFF2-40B4-BE49-F238E27FC236}">
                    <a16:creationId xmlns:a16="http://schemas.microsoft.com/office/drawing/2014/main" id="{283D876F-1F3A-4A2F-B1D3-0B4E97F8AABF}"/>
                  </a:ext>
                </a:extLst>
              </p:cNvPr>
              <p:cNvSpPr>
                <a:spLocks noChangeAspect="1"/>
              </p:cNvSpPr>
              <p:nvPr>
                <p:custDataLst>
                  <p:tags r:id="rId157"/>
                </p:custDataLst>
              </p:nvPr>
            </p:nvSpPr>
            <p:spPr>
              <a:xfrm>
                <a:off x="5342711" y="5096294"/>
                <a:ext cx="322525" cy="208863"/>
              </a:xfrm>
              <a:custGeom>
                <a:avLst/>
                <a:gdLst/>
                <a:ahLst/>
                <a:cxnLst/>
                <a:rect l="l" t="t" r="r" b="b"/>
                <a:pathLst>
                  <a:path w="331147" h="214446">
                    <a:moveTo>
                      <a:pt x="167515" y="11661"/>
                    </a:moveTo>
                    <a:lnTo>
                      <a:pt x="197580" y="20143"/>
                    </a:lnTo>
                    <a:lnTo>
                      <a:pt x="199983" y="21335"/>
                    </a:lnTo>
                    <a:lnTo>
                      <a:pt x="202701" y="23224"/>
                    </a:lnTo>
                    <a:lnTo>
                      <a:pt x="208030" y="28441"/>
                    </a:lnTo>
                    <a:lnTo>
                      <a:pt x="210673" y="33899"/>
                    </a:lnTo>
                    <a:lnTo>
                      <a:pt x="209573" y="38545"/>
                    </a:lnTo>
                    <a:lnTo>
                      <a:pt x="203794" y="41440"/>
                    </a:lnTo>
                    <a:lnTo>
                      <a:pt x="175857" y="40781"/>
                    </a:lnTo>
                    <a:lnTo>
                      <a:pt x="171061" y="39245"/>
                    </a:lnTo>
                    <a:lnTo>
                      <a:pt x="166648" y="35256"/>
                    </a:lnTo>
                    <a:lnTo>
                      <a:pt x="162995" y="30240"/>
                    </a:lnTo>
                    <a:lnTo>
                      <a:pt x="160444" y="25766"/>
                    </a:lnTo>
                    <a:lnTo>
                      <a:pt x="162918" y="15110"/>
                    </a:lnTo>
                    <a:lnTo>
                      <a:pt x="164468" y="12699"/>
                    </a:lnTo>
                    <a:close/>
                    <a:moveTo>
                      <a:pt x="105974" y="0"/>
                    </a:moveTo>
                    <a:lnTo>
                      <a:pt x="105971" y="7"/>
                    </a:lnTo>
                    <a:lnTo>
                      <a:pt x="105700" y="902"/>
                    </a:lnTo>
                    <a:lnTo>
                      <a:pt x="104945" y="1063"/>
                    </a:lnTo>
                    <a:lnTo>
                      <a:pt x="102922" y="3281"/>
                    </a:lnTo>
                    <a:lnTo>
                      <a:pt x="99589" y="9990"/>
                    </a:lnTo>
                    <a:lnTo>
                      <a:pt x="99140" y="15353"/>
                    </a:lnTo>
                    <a:lnTo>
                      <a:pt x="100839" y="19412"/>
                    </a:lnTo>
                    <a:lnTo>
                      <a:pt x="105665" y="19736"/>
                    </a:lnTo>
                    <a:lnTo>
                      <a:pt x="107334" y="23203"/>
                    </a:lnTo>
                    <a:lnTo>
                      <a:pt x="106004" y="32766"/>
                    </a:lnTo>
                    <a:lnTo>
                      <a:pt x="102168" y="37132"/>
                    </a:lnTo>
                    <a:lnTo>
                      <a:pt x="95349" y="48183"/>
                    </a:lnTo>
                    <a:lnTo>
                      <a:pt x="93143" y="55422"/>
                    </a:lnTo>
                    <a:lnTo>
                      <a:pt x="93639" y="57766"/>
                    </a:lnTo>
                    <a:lnTo>
                      <a:pt x="96992" y="58176"/>
                    </a:lnTo>
                    <a:lnTo>
                      <a:pt x="99560" y="57440"/>
                    </a:lnTo>
                    <a:lnTo>
                      <a:pt x="103498" y="54851"/>
                    </a:lnTo>
                    <a:lnTo>
                      <a:pt x="107499" y="53442"/>
                    </a:lnTo>
                    <a:lnTo>
                      <a:pt x="114617" y="54824"/>
                    </a:lnTo>
                    <a:lnTo>
                      <a:pt x="121966" y="60342"/>
                    </a:lnTo>
                    <a:lnTo>
                      <a:pt x="128949" y="65877"/>
                    </a:lnTo>
                    <a:lnTo>
                      <a:pt x="136080" y="60725"/>
                    </a:lnTo>
                    <a:lnTo>
                      <a:pt x="141729" y="55655"/>
                    </a:lnTo>
                    <a:lnTo>
                      <a:pt x="144253" y="41272"/>
                    </a:lnTo>
                    <a:lnTo>
                      <a:pt x="145179" y="37561"/>
                    </a:lnTo>
                    <a:lnTo>
                      <a:pt x="145463" y="34736"/>
                    </a:lnTo>
                    <a:lnTo>
                      <a:pt x="145465" y="34722"/>
                    </a:lnTo>
                    <a:lnTo>
                      <a:pt x="146142" y="34683"/>
                    </a:lnTo>
                    <a:lnTo>
                      <a:pt x="156057" y="36721"/>
                    </a:lnTo>
                    <a:lnTo>
                      <a:pt x="153902" y="32348"/>
                    </a:lnTo>
                    <a:lnTo>
                      <a:pt x="152516" y="27135"/>
                    </a:lnTo>
                    <a:lnTo>
                      <a:pt x="153486" y="23372"/>
                    </a:lnTo>
                    <a:lnTo>
                      <a:pt x="158512" y="23264"/>
                    </a:lnTo>
                    <a:lnTo>
                      <a:pt x="159257" y="28110"/>
                    </a:lnTo>
                    <a:lnTo>
                      <a:pt x="162255" y="34941"/>
                    </a:lnTo>
                    <a:lnTo>
                      <a:pt x="165988" y="40994"/>
                    </a:lnTo>
                    <a:lnTo>
                      <a:pt x="168763" y="43555"/>
                    </a:lnTo>
                    <a:lnTo>
                      <a:pt x="219810" y="46273"/>
                    </a:lnTo>
                    <a:lnTo>
                      <a:pt x="248707" y="35241"/>
                    </a:lnTo>
                    <a:lnTo>
                      <a:pt x="325102" y="22956"/>
                    </a:lnTo>
                    <a:lnTo>
                      <a:pt x="331147" y="26060"/>
                    </a:lnTo>
                    <a:lnTo>
                      <a:pt x="329820" y="38712"/>
                    </a:lnTo>
                    <a:lnTo>
                      <a:pt x="329130" y="41190"/>
                    </a:lnTo>
                    <a:lnTo>
                      <a:pt x="328158" y="43531"/>
                    </a:lnTo>
                    <a:lnTo>
                      <a:pt x="326924" y="45469"/>
                    </a:lnTo>
                    <a:lnTo>
                      <a:pt x="325457" y="46833"/>
                    </a:lnTo>
                    <a:lnTo>
                      <a:pt x="316961" y="47367"/>
                    </a:lnTo>
                    <a:lnTo>
                      <a:pt x="315772" y="48803"/>
                    </a:lnTo>
                    <a:lnTo>
                      <a:pt x="317034" y="56944"/>
                    </a:lnTo>
                    <a:lnTo>
                      <a:pt x="319188" y="63247"/>
                    </a:lnTo>
                    <a:lnTo>
                      <a:pt x="323784" y="73092"/>
                    </a:lnTo>
                    <a:lnTo>
                      <a:pt x="326891" y="88054"/>
                    </a:lnTo>
                    <a:lnTo>
                      <a:pt x="325880" y="102754"/>
                    </a:lnTo>
                    <a:lnTo>
                      <a:pt x="321824" y="115230"/>
                    </a:lnTo>
                    <a:lnTo>
                      <a:pt x="315823" y="123552"/>
                    </a:lnTo>
                    <a:lnTo>
                      <a:pt x="300192" y="130148"/>
                    </a:lnTo>
                    <a:lnTo>
                      <a:pt x="293953" y="135643"/>
                    </a:lnTo>
                    <a:lnTo>
                      <a:pt x="291262" y="136101"/>
                    </a:lnTo>
                    <a:lnTo>
                      <a:pt x="286049" y="135993"/>
                    </a:lnTo>
                    <a:lnTo>
                      <a:pt x="283270" y="137220"/>
                    </a:lnTo>
                    <a:lnTo>
                      <a:pt x="281065" y="139778"/>
                    </a:lnTo>
                    <a:lnTo>
                      <a:pt x="279190" y="142612"/>
                    </a:lnTo>
                    <a:lnTo>
                      <a:pt x="277479" y="144639"/>
                    </a:lnTo>
                    <a:lnTo>
                      <a:pt x="272847" y="146936"/>
                    </a:lnTo>
                    <a:lnTo>
                      <a:pt x="257171" y="148337"/>
                    </a:lnTo>
                    <a:lnTo>
                      <a:pt x="252570" y="149925"/>
                    </a:lnTo>
                    <a:lnTo>
                      <a:pt x="247916" y="153507"/>
                    </a:lnTo>
                    <a:lnTo>
                      <a:pt x="239024" y="162776"/>
                    </a:lnTo>
                    <a:lnTo>
                      <a:pt x="227838" y="181541"/>
                    </a:lnTo>
                    <a:lnTo>
                      <a:pt x="225724" y="186157"/>
                    </a:lnTo>
                    <a:lnTo>
                      <a:pt x="226947" y="195985"/>
                    </a:lnTo>
                    <a:lnTo>
                      <a:pt x="230425" y="210578"/>
                    </a:lnTo>
                    <a:lnTo>
                      <a:pt x="222287" y="214446"/>
                    </a:lnTo>
                    <a:lnTo>
                      <a:pt x="203801" y="209552"/>
                    </a:lnTo>
                    <a:lnTo>
                      <a:pt x="203793" y="209551"/>
                    </a:lnTo>
                    <a:lnTo>
                      <a:pt x="204380" y="207346"/>
                    </a:lnTo>
                    <a:lnTo>
                      <a:pt x="202620" y="202469"/>
                    </a:lnTo>
                    <a:lnTo>
                      <a:pt x="198271" y="200182"/>
                    </a:lnTo>
                    <a:lnTo>
                      <a:pt x="195551" y="203114"/>
                    </a:lnTo>
                    <a:lnTo>
                      <a:pt x="191655" y="203013"/>
                    </a:lnTo>
                    <a:lnTo>
                      <a:pt x="182403" y="186679"/>
                    </a:lnTo>
                    <a:lnTo>
                      <a:pt x="176596" y="183623"/>
                    </a:lnTo>
                    <a:lnTo>
                      <a:pt x="160423" y="185207"/>
                    </a:lnTo>
                    <a:lnTo>
                      <a:pt x="155178" y="180095"/>
                    </a:lnTo>
                    <a:lnTo>
                      <a:pt x="150968" y="178737"/>
                    </a:lnTo>
                    <a:lnTo>
                      <a:pt x="130042" y="185250"/>
                    </a:lnTo>
                    <a:lnTo>
                      <a:pt x="121790" y="178697"/>
                    </a:lnTo>
                    <a:lnTo>
                      <a:pt x="107797" y="174908"/>
                    </a:lnTo>
                    <a:lnTo>
                      <a:pt x="106246" y="168292"/>
                    </a:lnTo>
                    <a:lnTo>
                      <a:pt x="91942" y="162383"/>
                    </a:lnTo>
                    <a:lnTo>
                      <a:pt x="87894" y="156229"/>
                    </a:lnTo>
                    <a:lnTo>
                      <a:pt x="83072" y="153622"/>
                    </a:lnTo>
                    <a:lnTo>
                      <a:pt x="77334" y="155098"/>
                    </a:lnTo>
                    <a:lnTo>
                      <a:pt x="77444" y="149358"/>
                    </a:lnTo>
                    <a:lnTo>
                      <a:pt x="71673" y="147532"/>
                    </a:lnTo>
                    <a:lnTo>
                      <a:pt x="71397" y="143416"/>
                    </a:lnTo>
                    <a:lnTo>
                      <a:pt x="70412" y="142618"/>
                    </a:lnTo>
                    <a:lnTo>
                      <a:pt x="55160" y="147137"/>
                    </a:lnTo>
                    <a:lnTo>
                      <a:pt x="44023" y="143249"/>
                    </a:lnTo>
                    <a:lnTo>
                      <a:pt x="24836" y="148151"/>
                    </a:lnTo>
                    <a:lnTo>
                      <a:pt x="27628" y="137436"/>
                    </a:lnTo>
                    <a:lnTo>
                      <a:pt x="22308" y="135856"/>
                    </a:lnTo>
                    <a:lnTo>
                      <a:pt x="13856" y="139146"/>
                    </a:lnTo>
                    <a:lnTo>
                      <a:pt x="5749" y="139844"/>
                    </a:lnTo>
                    <a:lnTo>
                      <a:pt x="3699" y="127653"/>
                    </a:lnTo>
                    <a:lnTo>
                      <a:pt x="4315" y="122414"/>
                    </a:lnTo>
                    <a:lnTo>
                      <a:pt x="0" y="111788"/>
                    </a:lnTo>
                    <a:lnTo>
                      <a:pt x="4061" y="99256"/>
                    </a:lnTo>
                    <a:lnTo>
                      <a:pt x="1692" y="90045"/>
                    </a:lnTo>
                    <a:lnTo>
                      <a:pt x="931" y="81150"/>
                    </a:lnTo>
                    <a:lnTo>
                      <a:pt x="4511" y="83839"/>
                    </a:lnTo>
                    <a:lnTo>
                      <a:pt x="10369" y="81315"/>
                    </a:lnTo>
                    <a:lnTo>
                      <a:pt x="10620" y="72607"/>
                    </a:lnTo>
                    <a:lnTo>
                      <a:pt x="15950" y="67339"/>
                    </a:lnTo>
                    <a:lnTo>
                      <a:pt x="18270" y="60740"/>
                    </a:lnTo>
                    <a:lnTo>
                      <a:pt x="23780" y="55245"/>
                    </a:lnTo>
                    <a:lnTo>
                      <a:pt x="26452" y="42163"/>
                    </a:lnTo>
                    <a:lnTo>
                      <a:pt x="25574" y="38392"/>
                    </a:lnTo>
                    <a:lnTo>
                      <a:pt x="23922" y="31342"/>
                    </a:lnTo>
                    <a:lnTo>
                      <a:pt x="28360" y="23269"/>
                    </a:lnTo>
                    <a:lnTo>
                      <a:pt x="35198" y="15575"/>
                    </a:lnTo>
                    <a:lnTo>
                      <a:pt x="37637" y="9707"/>
                    </a:lnTo>
                    <a:lnTo>
                      <a:pt x="50196" y="13640"/>
                    </a:lnTo>
                    <a:lnTo>
                      <a:pt x="57587" y="10582"/>
                    </a:lnTo>
                    <a:lnTo>
                      <a:pt x="61395" y="10360"/>
                    </a:lnTo>
                    <a:lnTo>
                      <a:pt x="63248" y="14256"/>
                    </a:lnTo>
                    <a:lnTo>
                      <a:pt x="65364" y="17127"/>
                    </a:lnTo>
                    <a:lnTo>
                      <a:pt x="69897" y="17775"/>
                    </a:lnTo>
                    <a:lnTo>
                      <a:pt x="72671" y="16717"/>
                    </a:lnTo>
                    <a:lnTo>
                      <a:pt x="76456" y="14853"/>
                    </a:lnTo>
                    <a:lnTo>
                      <a:pt x="76486" y="14838"/>
                    </a:lnTo>
                    <a:lnTo>
                      <a:pt x="91516" y="11410"/>
                    </a:lnTo>
                    <a:lnTo>
                      <a:pt x="93444" y="10090"/>
                    </a:lnTo>
                    <a:lnTo>
                      <a:pt x="94403" y="7343"/>
                    </a:lnTo>
                    <a:lnTo>
                      <a:pt x="95070" y="4598"/>
                    </a:lnTo>
                    <a:lnTo>
                      <a:pt x="96127" y="33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7" name="Freeform 234">
                <a:extLst>
                  <a:ext uri="{FF2B5EF4-FFF2-40B4-BE49-F238E27FC236}">
                    <a16:creationId xmlns:a16="http://schemas.microsoft.com/office/drawing/2014/main" id="{F50DED1B-493B-1CF3-FCB5-FBE5BED04291}"/>
                  </a:ext>
                </a:extLst>
              </p:cNvPr>
              <p:cNvSpPr>
                <a:spLocks noChangeAspect="1"/>
              </p:cNvSpPr>
              <p:nvPr>
                <p:custDataLst>
                  <p:tags r:id="rId158"/>
                </p:custDataLst>
              </p:nvPr>
            </p:nvSpPr>
            <p:spPr>
              <a:xfrm>
                <a:off x="5303123" y="5088849"/>
                <a:ext cx="8906" cy="6861"/>
              </a:xfrm>
              <a:custGeom>
                <a:avLst/>
                <a:gdLst/>
                <a:ahLst/>
                <a:cxnLst/>
                <a:rect l="0" t="0" r="0" b="0"/>
                <a:pathLst>
                  <a:path w="9144" h="7044">
                    <a:moveTo>
                      <a:pt x="7382" y="4007"/>
                    </a:moveTo>
                    <a:lnTo>
                      <a:pt x="7640" y="4518"/>
                    </a:lnTo>
                    <a:lnTo>
                      <a:pt x="7952" y="5027"/>
                    </a:lnTo>
                    <a:lnTo>
                      <a:pt x="8329" y="5444"/>
                    </a:lnTo>
                    <a:lnTo>
                      <a:pt x="8847" y="5873"/>
                    </a:lnTo>
                    <a:lnTo>
                      <a:pt x="9003" y="6064"/>
                    </a:lnTo>
                    <a:lnTo>
                      <a:pt x="9084" y="6199"/>
                    </a:lnTo>
                    <a:lnTo>
                      <a:pt x="9143" y="6414"/>
                    </a:lnTo>
                    <a:lnTo>
                      <a:pt x="9138" y="6571"/>
                    </a:lnTo>
                    <a:lnTo>
                      <a:pt x="9084" y="6731"/>
                    </a:lnTo>
                    <a:lnTo>
                      <a:pt x="9004" y="6874"/>
                    </a:lnTo>
                    <a:lnTo>
                      <a:pt x="8868" y="6979"/>
                    </a:lnTo>
                    <a:lnTo>
                      <a:pt x="8754" y="7043"/>
                    </a:lnTo>
                    <a:lnTo>
                      <a:pt x="8671" y="6989"/>
                    </a:lnTo>
                    <a:lnTo>
                      <a:pt x="4420" y="5826"/>
                    </a:lnTo>
                    <a:lnTo>
                      <a:pt x="1488" y="6677"/>
                    </a:lnTo>
                    <a:lnTo>
                      <a:pt x="1609" y="4359"/>
                    </a:lnTo>
                    <a:lnTo>
                      <a:pt x="857" y="3535"/>
                    </a:lnTo>
                    <a:lnTo>
                      <a:pt x="464" y="2891"/>
                    </a:lnTo>
                    <a:lnTo>
                      <a:pt x="182" y="1837"/>
                    </a:lnTo>
                    <a:lnTo>
                      <a:pt x="0" y="1489"/>
                    </a:lnTo>
                    <a:lnTo>
                      <a:pt x="1126" y="592"/>
                    </a:lnTo>
                    <a:lnTo>
                      <a:pt x="2220" y="343"/>
                    </a:lnTo>
                    <a:lnTo>
                      <a:pt x="3536" y="0"/>
                    </a:lnTo>
                    <a:lnTo>
                      <a:pt x="3814" y="303"/>
                    </a:lnTo>
                    <a:lnTo>
                      <a:pt x="6041" y="1224"/>
                    </a:lnTo>
                    <a:lnTo>
                      <a:pt x="6148" y="1416"/>
                    </a:lnTo>
                    <a:lnTo>
                      <a:pt x="6456" y="24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8" name="Freeform 235">
                <a:extLst>
                  <a:ext uri="{FF2B5EF4-FFF2-40B4-BE49-F238E27FC236}">
                    <a16:creationId xmlns:a16="http://schemas.microsoft.com/office/drawing/2014/main" id="{00D04EBE-D7F3-A0D3-9774-B84CE3BADA37}"/>
                  </a:ext>
                </a:extLst>
              </p:cNvPr>
              <p:cNvSpPr>
                <a:spLocks noChangeAspect="1"/>
              </p:cNvSpPr>
              <p:nvPr>
                <p:custDataLst>
                  <p:tags r:id="rId159"/>
                </p:custDataLst>
              </p:nvPr>
            </p:nvSpPr>
            <p:spPr>
              <a:xfrm>
                <a:off x="4891338" y="3783284"/>
                <a:ext cx="55573" cy="43129"/>
              </a:xfrm>
              <a:custGeom>
                <a:avLst/>
                <a:gdLst/>
                <a:ahLst/>
                <a:cxnLst/>
                <a:rect l="0" t="0" r="0" b="0"/>
                <a:pathLst>
                  <a:path w="57059" h="44282">
                    <a:moveTo>
                      <a:pt x="21308" y="1494"/>
                    </a:moveTo>
                    <a:lnTo>
                      <a:pt x="26534" y="10064"/>
                    </a:lnTo>
                    <a:lnTo>
                      <a:pt x="39396" y="20910"/>
                    </a:lnTo>
                    <a:lnTo>
                      <a:pt x="57058" y="32854"/>
                    </a:lnTo>
                    <a:lnTo>
                      <a:pt x="51043" y="38817"/>
                    </a:lnTo>
                    <a:lnTo>
                      <a:pt x="48100" y="44281"/>
                    </a:lnTo>
                    <a:lnTo>
                      <a:pt x="38282" y="41645"/>
                    </a:lnTo>
                    <a:lnTo>
                      <a:pt x="20555" y="36305"/>
                    </a:lnTo>
                    <a:lnTo>
                      <a:pt x="8746" y="29561"/>
                    </a:lnTo>
                    <a:lnTo>
                      <a:pt x="0" y="26836"/>
                    </a:lnTo>
                    <a:lnTo>
                      <a:pt x="4391" y="17072"/>
                    </a:lnTo>
                    <a:lnTo>
                      <a:pt x="11149" y="15000"/>
                    </a:lnTo>
                    <a:lnTo>
                      <a:pt x="14786" y="11720"/>
                    </a:lnTo>
                    <a:lnTo>
                      <a:pt x="14777" y="8856"/>
                    </a:lnTo>
                    <a:lnTo>
                      <a:pt x="10330" y="6102"/>
                    </a:lnTo>
                    <a:lnTo>
                      <a:pt x="10965" y="2264"/>
                    </a:lnTo>
                    <a:lnTo>
                      <a:pt x="12611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29" name="Freeform 236">
                <a:extLst>
                  <a:ext uri="{FF2B5EF4-FFF2-40B4-BE49-F238E27FC236}">
                    <a16:creationId xmlns:a16="http://schemas.microsoft.com/office/drawing/2014/main" id="{9A197338-6A25-2A71-D606-2DDE83FC53D9}"/>
                  </a:ext>
                </a:extLst>
              </p:cNvPr>
              <p:cNvSpPr>
                <a:spLocks noChangeAspect="1"/>
              </p:cNvSpPr>
              <p:nvPr>
                <p:custDataLst>
                  <p:tags r:id="rId160"/>
                </p:custDataLst>
              </p:nvPr>
            </p:nvSpPr>
            <p:spPr>
              <a:xfrm>
                <a:off x="4912092" y="3782875"/>
                <a:ext cx="51085" cy="32409"/>
              </a:xfrm>
              <a:custGeom>
                <a:avLst/>
                <a:gdLst/>
                <a:ahLst/>
                <a:cxnLst/>
                <a:rect l="0" t="0" r="0" b="0"/>
                <a:pathLst>
                  <a:path w="52451" h="33275">
                    <a:moveTo>
                      <a:pt x="52450" y="26240"/>
                    </a:moveTo>
                    <a:lnTo>
                      <a:pt x="35750" y="33274"/>
                    </a:lnTo>
                    <a:lnTo>
                      <a:pt x="18088" y="21330"/>
                    </a:lnTo>
                    <a:lnTo>
                      <a:pt x="5226" y="10484"/>
                    </a:lnTo>
                    <a:lnTo>
                      <a:pt x="0" y="1914"/>
                    </a:lnTo>
                    <a:lnTo>
                      <a:pt x="13887" y="4287"/>
                    </a:lnTo>
                    <a:lnTo>
                      <a:pt x="19704" y="7748"/>
                    </a:lnTo>
                    <a:lnTo>
                      <a:pt x="29765" y="8643"/>
                    </a:lnTo>
                    <a:lnTo>
                      <a:pt x="34243" y="8105"/>
                    </a:lnTo>
                    <a:lnTo>
                      <a:pt x="39715" y="1256"/>
                    </a:lnTo>
                    <a:lnTo>
                      <a:pt x="42343" y="7"/>
                    </a:lnTo>
                    <a:lnTo>
                      <a:pt x="42356" y="0"/>
                    </a:lnTo>
                    <a:lnTo>
                      <a:pt x="42571" y="808"/>
                    </a:lnTo>
                    <a:lnTo>
                      <a:pt x="46432" y="10359"/>
                    </a:lnTo>
                    <a:lnTo>
                      <a:pt x="48525" y="13753"/>
                    </a:lnTo>
                    <a:lnTo>
                      <a:pt x="49745" y="17124"/>
                    </a:lnTo>
                    <a:lnTo>
                      <a:pt x="50882" y="2193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0" name="Freeform 237">
                <a:extLst>
                  <a:ext uri="{FF2B5EF4-FFF2-40B4-BE49-F238E27FC236}">
                    <a16:creationId xmlns:a16="http://schemas.microsoft.com/office/drawing/2014/main" id="{002E0AE0-B8CD-209B-E567-CE379A92F7ED}"/>
                  </a:ext>
                </a:extLst>
              </p:cNvPr>
              <p:cNvSpPr>
                <a:spLocks noChangeAspect="1"/>
              </p:cNvSpPr>
              <p:nvPr>
                <p:custDataLst>
                  <p:tags r:id="rId161"/>
                </p:custDataLst>
              </p:nvPr>
            </p:nvSpPr>
            <p:spPr>
              <a:xfrm>
                <a:off x="4938186" y="3808432"/>
                <a:ext cx="37123" cy="34064"/>
              </a:xfrm>
              <a:custGeom>
                <a:avLst/>
                <a:gdLst/>
                <a:ahLst/>
                <a:cxnLst/>
                <a:rect l="0" t="0" r="0" b="0"/>
                <a:pathLst>
                  <a:path w="38115" h="34975">
                    <a:moveTo>
                      <a:pt x="38114" y="31464"/>
                    </a:moveTo>
                    <a:lnTo>
                      <a:pt x="30072" y="30456"/>
                    </a:lnTo>
                    <a:lnTo>
                      <a:pt x="16872" y="34974"/>
                    </a:lnTo>
                    <a:lnTo>
                      <a:pt x="8705" y="32303"/>
                    </a:lnTo>
                    <a:lnTo>
                      <a:pt x="1763" y="30838"/>
                    </a:lnTo>
                    <a:lnTo>
                      <a:pt x="2998" y="23764"/>
                    </a:lnTo>
                    <a:lnTo>
                      <a:pt x="0" y="18461"/>
                    </a:lnTo>
                    <a:lnTo>
                      <a:pt x="2943" y="12997"/>
                    </a:lnTo>
                    <a:lnTo>
                      <a:pt x="8958" y="7034"/>
                    </a:lnTo>
                    <a:lnTo>
                      <a:pt x="25658" y="0"/>
                    </a:lnTo>
                    <a:lnTo>
                      <a:pt x="28209" y="1793"/>
                    </a:lnTo>
                    <a:lnTo>
                      <a:pt x="28971" y="2844"/>
                    </a:lnTo>
                    <a:lnTo>
                      <a:pt x="35287" y="9193"/>
                    </a:lnTo>
                    <a:lnTo>
                      <a:pt x="37067" y="13248"/>
                    </a:lnTo>
                    <a:lnTo>
                      <a:pt x="37341" y="15573"/>
                    </a:lnTo>
                    <a:lnTo>
                      <a:pt x="36999" y="17279"/>
                    </a:lnTo>
                    <a:lnTo>
                      <a:pt x="36960" y="19598"/>
                    </a:lnTo>
                    <a:lnTo>
                      <a:pt x="37460" y="2809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1" name="Freeform 238">
                <a:extLst>
                  <a:ext uri="{FF2B5EF4-FFF2-40B4-BE49-F238E27FC236}">
                    <a16:creationId xmlns:a16="http://schemas.microsoft.com/office/drawing/2014/main" id="{0D0F4BDF-99BD-B41B-6274-B9062CEACF06}"/>
                  </a:ext>
                </a:extLst>
              </p:cNvPr>
              <p:cNvSpPr>
                <a:spLocks noChangeAspect="1"/>
              </p:cNvSpPr>
              <p:nvPr>
                <p:custDataLst>
                  <p:tags r:id="rId162"/>
                </p:custDataLst>
              </p:nvPr>
            </p:nvSpPr>
            <p:spPr>
              <a:xfrm>
                <a:off x="4929221" y="3838095"/>
                <a:ext cx="50753" cy="46362"/>
              </a:xfrm>
              <a:custGeom>
                <a:avLst/>
                <a:gdLst/>
                <a:ahLst/>
                <a:cxnLst/>
                <a:rect l="0" t="0" r="0" b="0"/>
                <a:pathLst>
                  <a:path w="52110" h="47601">
                    <a:moveTo>
                      <a:pt x="26077" y="4518"/>
                    </a:moveTo>
                    <a:lnTo>
                      <a:pt x="39277" y="0"/>
                    </a:lnTo>
                    <a:lnTo>
                      <a:pt x="47319" y="1008"/>
                    </a:lnTo>
                    <a:lnTo>
                      <a:pt x="48940" y="2314"/>
                    </a:lnTo>
                    <a:lnTo>
                      <a:pt x="48455" y="5860"/>
                    </a:lnTo>
                    <a:lnTo>
                      <a:pt x="52109" y="17834"/>
                    </a:lnTo>
                    <a:lnTo>
                      <a:pt x="52104" y="17836"/>
                    </a:lnTo>
                    <a:lnTo>
                      <a:pt x="49697" y="19093"/>
                    </a:lnTo>
                    <a:lnTo>
                      <a:pt x="46130" y="20908"/>
                    </a:lnTo>
                    <a:lnTo>
                      <a:pt x="41465" y="22714"/>
                    </a:lnTo>
                    <a:lnTo>
                      <a:pt x="40534" y="25506"/>
                    </a:lnTo>
                    <a:lnTo>
                      <a:pt x="38736" y="32770"/>
                    </a:lnTo>
                    <a:lnTo>
                      <a:pt x="39328" y="41622"/>
                    </a:lnTo>
                    <a:lnTo>
                      <a:pt x="37409" y="45560"/>
                    </a:lnTo>
                    <a:lnTo>
                      <a:pt x="31033" y="47391"/>
                    </a:lnTo>
                    <a:lnTo>
                      <a:pt x="23609" y="47600"/>
                    </a:lnTo>
                    <a:lnTo>
                      <a:pt x="16490" y="46691"/>
                    </a:lnTo>
                    <a:lnTo>
                      <a:pt x="14420" y="45089"/>
                    </a:lnTo>
                    <a:lnTo>
                      <a:pt x="13272" y="40141"/>
                    </a:lnTo>
                    <a:lnTo>
                      <a:pt x="12445" y="34612"/>
                    </a:lnTo>
                    <a:lnTo>
                      <a:pt x="9654" y="31350"/>
                    </a:lnTo>
                    <a:lnTo>
                      <a:pt x="5771" y="24816"/>
                    </a:lnTo>
                    <a:lnTo>
                      <a:pt x="5282" y="19280"/>
                    </a:lnTo>
                    <a:lnTo>
                      <a:pt x="3863" y="16551"/>
                    </a:lnTo>
                    <a:lnTo>
                      <a:pt x="0" y="14216"/>
                    </a:lnTo>
                    <a:lnTo>
                      <a:pt x="4094" y="1394"/>
                    </a:lnTo>
                    <a:lnTo>
                      <a:pt x="10968" y="382"/>
                    </a:lnTo>
                    <a:lnTo>
                      <a:pt x="17910" y="184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2" name="Freeform 239">
                <a:extLst>
                  <a:ext uri="{FF2B5EF4-FFF2-40B4-BE49-F238E27FC236}">
                    <a16:creationId xmlns:a16="http://schemas.microsoft.com/office/drawing/2014/main" id="{B02CCD4C-C053-FF9D-7AA3-D9AC63728D8B}"/>
                  </a:ext>
                </a:extLst>
              </p:cNvPr>
              <p:cNvSpPr>
                <a:spLocks noChangeAspect="1"/>
              </p:cNvSpPr>
              <p:nvPr>
                <p:custDataLst>
                  <p:tags r:id="rId163"/>
                </p:custDataLst>
              </p:nvPr>
            </p:nvSpPr>
            <p:spPr>
              <a:xfrm>
                <a:off x="4870460" y="3809422"/>
                <a:ext cx="70647" cy="42520"/>
              </a:xfrm>
              <a:custGeom>
                <a:avLst/>
                <a:gdLst/>
                <a:ahLst/>
                <a:cxnLst/>
                <a:rect l="0" t="0" r="0" b="0"/>
                <a:pathLst>
                  <a:path w="72536" h="43657">
                    <a:moveTo>
                      <a:pt x="69537" y="17445"/>
                    </a:moveTo>
                    <a:lnTo>
                      <a:pt x="72535" y="22748"/>
                    </a:lnTo>
                    <a:lnTo>
                      <a:pt x="71300" y="29822"/>
                    </a:lnTo>
                    <a:lnTo>
                      <a:pt x="64426" y="30834"/>
                    </a:lnTo>
                    <a:lnTo>
                      <a:pt x="60332" y="43656"/>
                    </a:lnTo>
                    <a:lnTo>
                      <a:pt x="56309" y="41221"/>
                    </a:lnTo>
                    <a:lnTo>
                      <a:pt x="44491" y="40400"/>
                    </a:lnTo>
                    <a:lnTo>
                      <a:pt x="33039" y="41241"/>
                    </a:lnTo>
                    <a:lnTo>
                      <a:pt x="18855" y="39924"/>
                    </a:lnTo>
                    <a:lnTo>
                      <a:pt x="6831" y="37834"/>
                    </a:lnTo>
                    <a:lnTo>
                      <a:pt x="425" y="34996"/>
                    </a:lnTo>
                    <a:lnTo>
                      <a:pt x="0" y="32252"/>
                    </a:lnTo>
                    <a:lnTo>
                      <a:pt x="6252" y="28396"/>
                    </a:lnTo>
                    <a:lnTo>
                      <a:pt x="10625" y="11939"/>
                    </a:lnTo>
                    <a:lnTo>
                      <a:pt x="12102" y="9683"/>
                    </a:lnTo>
                    <a:lnTo>
                      <a:pt x="17828" y="7098"/>
                    </a:lnTo>
                    <a:lnTo>
                      <a:pt x="18199" y="2211"/>
                    </a:lnTo>
                    <a:lnTo>
                      <a:pt x="21437" y="0"/>
                    </a:lnTo>
                    <a:lnTo>
                      <a:pt x="30183" y="2725"/>
                    </a:lnTo>
                    <a:lnTo>
                      <a:pt x="41992" y="9469"/>
                    </a:lnTo>
                    <a:lnTo>
                      <a:pt x="59719" y="1480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3" name="Freeform 240">
                <a:extLst>
                  <a:ext uri="{FF2B5EF4-FFF2-40B4-BE49-F238E27FC236}">
                    <a16:creationId xmlns:a16="http://schemas.microsoft.com/office/drawing/2014/main" id="{26E4C9E5-6AAE-96DE-3DC3-AC527EF8985B}"/>
                  </a:ext>
                </a:extLst>
              </p:cNvPr>
              <p:cNvSpPr>
                <a:spLocks noChangeAspect="1"/>
              </p:cNvSpPr>
              <p:nvPr>
                <p:custDataLst>
                  <p:tags r:id="rId164"/>
                </p:custDataLst>
              </p:nvPr>
            </p:nvSpPr>
            <p:spPr>
              <a:xfrm>
                <a:off x="4642717" y="4364172"/>
                <a:ext cx="39839" cy="74538"/>
              </a:xfrm>
              <a:custGeom>
                <a:avLst/>
                <a:gdLst/>
                <a:ahLst/>
                <a:cxnLst/>
                <a:rect l="0" t="0" r="0" b="0"/>
                <a:pathLst>
                  <a:path w="40904" h="76531">
                    <a:moveTo>
                      <a:pt x="26654" y="11846"/>
                    </a:moveTo>
                    <a:lnTo>
                      <a:pt x="29384" y="21027"/>
                    </a:lnTo>
                    <a:lnTo>
                      <a:pt x="31603" y="35075"/>
                    </a:lnTo>
                    <a:lnTo>
                      <a:pt x="31996" y="45624"/>
                    </a:lnTo>
                    <a:lnTo>
                      <a:pt x="40903" y="54878"/>
                    </a:lnTo>
                    <a:lnTo>
                      <a:pt x="36954" y="59932"/>
                    </a:lnTo>
                    <a:lnTo>
                      <a:pt x="36399" y="61636"/>
                    </a:lnTo>
                    <a:lnTo>
                      <a:pt x="37084" y="66072"/>
                    </a:lnTo>
                    <a:lnTo>
                      <a:pt x="35128" y="68842"/>
                    </a:lnTo>
                    <a:lnTo>
                      <a:pt x="33688" y="70803"/>
                    </a:lnTo>
                    <a:lnTo>
                      <a:pt x="29920" y="68073"/>
                    </a:lnTo>
                    <a:lnTo>
                      <a:pt x="28815" y="73965"/>
                    </a:lnTo>
                    <a:lnTo>
                      <a:pt x="28410" y="76530"/>
                    </a:lnTo>
                    <a:lnTo>
                      <a:pt x="28408" y="76530"/>
                    </a:lnTo>
                    <a:lnTo>
                      <a:pt x="20795" y="75755"/>
                    </a:lnTo>
                    <a:lnTo>
                      <a:pt x="13413" y="73039"/>
                    </a:lnTo>
                    <a:lnTo>
                      <a:pt x="12908" y="56836"/>
                    </a:lnTo>
                    <a:lnTo>
                      <a:pt x="13737" y="47787"/>
                    </a:lnTo>
                    <a:lnTo>
                      <a:pt x="8019" y="44314"/>
                    </a:lnTo>
                    <a:lnTo>
                      <a:pt x="6484" y="39301"/>
                    </a:lnTo>
                    <a:lnTo>
                      <a:pt x="10642" y="34747"/>
                    </a:lnTo>
                    <a:lnTo>
                      <a:pt x="7851" y="21705"/>
                    </a:lnTo>
                    <a:lnTo>
                      <a:pt x="0" y="11211"/>
                    </a:lnTo>
                    <a:lnTo>
                      <a:pt x="5647" y="6649"/>
                    </a:lnTo>
                    <a:lnTo>
                      <a:pt x="8254" y="0"/>
                    </a:lnTo>
                    <a:lnTo>
                      <a:pt x="15641" y="1639"/>
                    </a:lnTo>
                    <a:lnTo>
                      <a:pt x="21292" y="488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4" name="Freeform 241">
                <a:extLst>
                  <a:ext uri="{FF2B5EF4-FFF2-40B4-BE49-F238E27FC236}">
                    <a16:creationId xmlns:a16="http://schemas.microsoft.com/office/drawing/2014/main" id="{CD5C38F0-FE91-986F-EDAA-1535BB802B92}"/>
                  </a:ext>
                </a:extLst>
              </p:cNvPr>
              <p:cNvSpPr>
                <a:spLocks noChangeAspect="1"/>
              </p:cNvSpPr>
              <p:nvPr>
                <p:custDataLst>
                  <p:tags r:id="rId165"/>
                </p:custDataLst>
              </p:nvPr>
            </p:nvSpPr>
            <p:spPr>
              <a:xfrm>
                <a:off x="4605159" y="4294664"/>
                <a:ext cx="45598" cy="85140"/>
              </a:xfrm>
              <a:custGeom>
                <a:avLst/>
                <a:gdLst/>
                <a:ahLst/>
                <a:cxnLst/>
                <a:rect l="0" t="0" r="0" b="0"/>
                <a:pathLst>
                  <a:path w="46817" h="87416">
                    <a:moveTo>
                      <a:pt x="31220" y="31885"/>
                    </a:moveTo>
                    <a:lnTo>
                      <a:pt x="26303" y="30328"/>
                    </a:lnTo>
                    <a:lnTo>
                      <a:pt x="24045" y="31606"/>
                    </a:lnTo>
                    <a:lnTo>
                      <a:pt x="23818" y="36701"/>
                    </a:lnTo>
                    <a:lnTo>
                      <a:pt x="18760" y="44372"/>
                    </a:lnTo>
                    <a:lnTo>
                      <a:pt x="20437" y="50523"/>
                    </a:lnTo>
                    <a:lnTo>
                      <a:pt x="19196" y="54874"/>
                    </a:lnTo>
                    <a:lnTo>
                      <a:pt x="16200" y="57133"/>
                    </a:lnTo>
                    <a:lnTo>
                      <a:pt x="15975" y="64134"/>
                    </a:lnTo>
                    <a:lnTo>
                      <a:pt x="32633" y="74013"/>
                    </a:lnTo>
                    <a:lnTo>
                      <a:pt x="30677" y="64677"/>
                    </a:lnTo>
                    <a:lnTo>
                      <a:pt x="31047" y="62996"/>
                    </a:lnTo>
                    <a:lnTo>
                      <a:pt x="33503" y="62545"/>
                    </a:lnTo>
                    <a:lnTo>
                      <a:pt x="43588" y="70648"/>
                    </a:lnTo>
                    <a:lnTo>
                      <a:pt x="46816" y="71366"/>
                    </a:lnTo>
                    <a:lnTo>
                      <a:pt x="44209" y="78015"/>
                    </a:lnTo>
                    <a:lnTo>
                      <a:pt x="38562" y="82577"/>
                    </a:lnTo>
                    <a:lnTo>
                      <a:pt x="30208" y="85146"/>
                    </a:lnTo>
                    <a:lnTo>
                      <a:pt x="21842" y="86202"/>
                    </a:lnTo>
                    <a:lnTo>
                      <a:pt x="12344" y="87415"/>
                    </a:lnTo>
                    <a:lnTo>
                      <a:pt x="1235" y="63278"/>
                    </a:lnTo>
                    <a:lnTo>
                      <a:pt x="0" y="58044"/>
                    </a:lnTo>
                    <a:lnTo>
                      <a:pt x="530" y="52709"/>
                    </a:lnTo>
                    <a:lnTo>
                      <a:pt x="3188" y="46695"/>
                    </a:lnTo>
                    <a:lnTo>
                      <a:pt x="17972" y="21742"/>
                    </a:lnTo>
                    <a:lnTo>
                      <a:pt x="29915" y="5918"/>
                    </a:lnTo>
                    <a:lnTo>
                      <a:pt x="31785" y="4553"/>
                    </a:lnTo>
                    <a:lnTo>
                      <a:pt x="33709" y="528"/>
                    </a:lnTo>
                    <a:lnTo>
                      <a:pt x="34442" y="0"/>
                    </a:lnTo>
                    <a:lnTo>
                      <a:pt x="34443" y="5"/>
                    </a:lnTo>
                    <a:lnTo>
                      <a:pt x="34598" y="498"/>
                    </a:lnTo>
                    <a:lnTo>
                      <a:pt x="34834" y="1680"/>
                    </a:lnTo>
                    <a:lnTo>
                      <a:pt x="38120" y="186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5" name="Freeform 242">
                <a:extLst>
                  <a:ext uri="{FF2B5EF4-FFF2-40B4-BE49-F238E27FC236}">
                    <a16:creationId xmlns:a16="http://schemas.microsoft.com/office/drawing/2014/main" id="{5B2E36B9-C220-FBD8-A474-7F32887BDDE3}"/>
                  </a:ext>
                </a:extLst>
              </p:cNvPr>
              <p:cNvSpPr>
                <a:spLocks noChangeAspect="1"/>
              </p:cNvSpPr>
              <p:nvPr>
                <p:custDataLst>
                  <p:tags r:id="rId166"/>
                </p:custDataLst>
              </p:nvPr>
            </p:nvSpPr>
            <p:spPr>
              <a:xfrm>
                <a:off x="4617182" y="4375091"/>
                <a:ext cx="38916" cy="60219"/>
              </a:xfrm>
              <a:custGeom>
                <a:avLst/>
                <a:gdLst/>
                <a:ahLst/>
                <a:cxnLst/>
                <a:rect l="0" t="0" r="0" b="0"/>
                <a:pathLst>
                  <a:path w="39956" h="61829">
                    <a:moveTo>
                      <a:pt x="39631" y="61828"/>
                    </a:moveTo>
                    <a:lnTo>
                      <a:pt x="37214" y="60937"/>
                    </a:lnTo>
                    <a:lnTo>
                      <a:pt x="28386" y="54722"/>
                    </a:lnTo>
                    <a:lnTo>
                      <a:pt x="21039" y="46921"/>
                    </a:lnTo>
                    <a:lnTo>
                      <a:pt x="15540" y="38467"/>
                    </a:lnTo>
                    <a:lnTo>
                      <a:pt x="0" y="4838"/>
                    </a:lnTo>
                    <a:lnTo>
                      <a:pt x="9498" y="3625"/>
                    </a:lnTo>
                    <a:lnTo>
                      <a:pt x="17864" y="2569"/>
                    </a:lnTo>
                    <a:lnTo>
                      <a:pt x="26218" y="0"/>
                    </a:lnTo>
                    <a:lnTo>
                      <a:pt x="34069" y="10494"/>
                    </a:lnTo>
                    <a:lnTo>
                      <a:pt x="36860" y="23536"/>
                    </a:lnTo>
                    <a:lnTo>
                      <a:pt x="32702" y="28090"/>
                    </a:lnTo>
                    <a:lnTo>
                      <a:pt x="34237" y="33103"/>
                    </a:lnTo>
                    <a:lnTo>
                      <a:pt x="39955" y="36576"/>
                    </a:lnTo>
                    <a:lnTo>
                      <a:pt x="39126" y="4562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6" name="Freeform 243">
                <a:extLst>
                  <a:ext uri="{FF2B5EF4-FFF2-40B4-BE49-F238E27FC236}">
                    <a16:creationId xmlns:a16="http://schemas.microsoft.com/office/drawing/2014/main" id="{329346AF-00C0-20A1-59FC-3BA0857102D0}"/>
                  </a:ext>
                </a:extLst>
              </p:cNvPr>
              <p:cNvSpPr>
                <a:spLocks noChangeAspect="1"/>
              </p:cNvSpPr>
              <p:nvPr>
                <p:custDataLst>
                  <p:tags r:id="rId167"/>
                </p:custDataLst>
              </p:nvPr>
            </p:nvSpPr>
            <p:spPr>
              <a:xfrm>
                <a:off x="4668678" y="4361574"/>
                <a:ext cx="55421" cy="56049"/>
              </a:xfrm>
              <a:custGeom>
                <a:avLst/>
                <a:gdLst/>
                <a:ahLst/>
                <a:cxnLst/>
                <a:rect l="0" t="0" r="0" b="0"/>
                <a:pathLst>
                  <a:path w="56903" h="57547">
                    <a:moveTo>
                      <a:pt x="14378" y="6721"/>
                    </a:moveTo>
                    <a:lnTo>
                      <a:pt x="28620" y="21665"/>
                    </a:lnTo>
                    <a:lnTo>
                      <a:pt x="31992" y="18134"/>
                    </a:lnTo>
                    <a:lnTo>
                      <a:pt x="37844" y="21249"/>
                    </a:lnTo>
                    <a:lnTo>
                      <a:pt x="48204" y="21132"/>
                    </a:lnTo>
                    <a:lnTo>
                      <a:pt x="49219" y="26531"/>
                    </a:lnTo>
                    <a:lnTo>
                      <a:pt x="53295" y="29563"/>
                    </a:lnTo>
                    <a:lnTo>
                      <a:pt x="56902" y="35108"/>
                    </a:lnTo>
                    <a:lnTo>
                      <a:pt x="45608" y="37196"/>
                    </a:lnTo>
                    <a:lnTo>
                      <a:pt x="40194" y="33427"/>
                    </a:lnTo>
                    <a:lnTo>
                      <a:pt x="34176" y="33295"/>
                    </a:lnTo>
                    <a:lnTo>
                      <a:pt x="33146" y="37117"/>
                    </a:lnTo>
                    <a:lnTo>
                      <a:pt x="35080" y="40276"/>
                    </a:lnTo>
                    <a:lnTo>
                      <a:pt x="35255" y="45052"/>
                    </a:lnTo>
                    <a:lnTo>
                      <a:pt x="39152" y="48306"/>
                    </a:lnTo>
                    <a:lnTo>
                      <a:pt x="38489" y="52233"/>
                    </a:lnTo>
                    <a:lnTo>
                      <a:pt x="31143" y="57101"/>
                    </a:lnTo>
                    <a:lnTo>
                      <a:pt x="17309" y="53628"/>
                    </a:lnTo>
                    <a:lnTo>
                      <a:pt x="14249" y="57546"/>
                    </a:lnTo>
                    <a:lnTo>
                      <a:pt x="5342" y="48292"/>
                    </a:lnTo>
                    <a:lnTo>
                      <a:pt x="4949" y="37743"/>
                    </a:lnTo>
                    <a:lnTo>
                      <a:pt x="2730" y="23695"/>
                    </a:lnTo>
                    <a:lnTo>
                      <a:pt x="0" y="14514"/>
                    </a:lnTo>
                    <a:lnTo>
                      <a:pt x="2388" y="13545"/>
                    </a:lnTo>
                    <a:lnTo>
                      <a:pt x="2088" y="7387"/>
                    </a:lnTo>
                    <a:lnTo>
                      <a:pt x="3074" y="4614"/>
                    </a:lnTo>
                    <a:lnTo>
                      <a:pt x="8838" y="0"/>
                    </a:lnTo>
                    <a:lnTo>
                      <a:pt x="11239" y="61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7" name="Freeform 244">
                <a:extLst>
                  <a:ext uri="{FF2B5EF4-FFF2-40B4-BE49-F238E27FC236}">
                    <a16:creationId xmlns:a16="http://schemas.microsoft.com/office/drawing/2014/main" id="{2A29CF7E-6DA0-56CB-9916-7F4DA5AC8480}"/>
                  </a:ext>
                </a:extLst>
              </p:cNvPr>
              <p:cNvSpPr>
                <a:spLocks noChangeAspect="1"/>
              </p:cNvSpPr>
              <p:nvPr>
                <p:custDataLst>
                  <p:tags r:id="rId168"/>
                </p:custDataLst>
              </p:nvPr>
            </p:nvSpPr>
            <p:spPr>
              <a:xfrm>
                <a:off x="4614498" y="4211955"/>
                <a:ext cx="24562" cy="69284"/>
              </a:xfrm>
              <a:custGeom>
                <a:avLst/>
                <a:gdLst/>
                <a:ahLst/>
                <a:cxnLst/>
                <a:rect l="0" t="0" r="0" b="0"/>
                <a:pathLst>
                  <a:path w="25219" h="71136">
                    <a:moveTo>
                      <a:pt x="8264" y="71135"/>
                    </a:moveTo>
                    <a:lnTo>
                      <a:pt x="1954" y="62106"/>
                    </a:lnTo>
                    <a:lnTo>
                      <a:pt x="261" y="49303"/>
                    </a:lnTo>
                    <a:lnTo>
                      <a:pt x="2695" y="20464"/>
                    </a:lnTo>
                    <a:lnTo>
                      <a:pt x="0" y="9907"/>
                    </a:lnTo>
                    <a:lnTo>
                      <a:pt x="3555" y="3248"/>
                    </a:lnTo>
                    <a:lnTo>
                      <a:pt x="8737" y="0"/>
                    </a:lnTo>
                    <a:lnTo>
                      <a:pt x="20116" y="13582"/>
                    </a:lnTo>
                    <a:lnTo>
                      <a:pt x="25218" y="32126"/>
                    </a:lnTo>
                    <a:lnTo>
                      <a:pt x="23327" y="4733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8" name="Freeform 245">
                <a:extLst>
                  <a:ext uri="{FF2B5EF4-FFF2-40B4-BE49-F238E27FC236}">
                    <a16:creationId xmlns:a16="http://schemas.microsoft.com/office/drawing/2014/main" id="{DA2B2657-8824-0833-0BB1-4BD7A33A32CB}"/>
                  </a:ext>
                </a:extLst>
              </p:cNvPr>
              <p:cNvSpPr>
                <a:spLocks noChangeAspect="1"/>
              </p:cNvSpPr>
              <p:nvPr>
                <p:custDataLst>
                  <p:tags r:id="rId169"/>
                </p:custDataLst>
              </p:nvPr>
            </p:nvSpPr>
            <p:spPr>
              <a:xfrm>
                <a:off x="4842877" y="4269711"/>
                <a:ext cx="97108" cy="93200"/>
              </a:xfrm>
              <a:custGeom>
                <a:avLst/>
                <a:gdLst/>
                <a:ahLst/>
                <a:cxnLst/>
                <a:rect l="0" t="0" r="0" b="0"/>
                <a:pathLst>
                  <a:path w="99704" h="95691">
                    <a:moveTo>
                      <a:pt x="99703" y="23444"/>
                    </a:moveTo>
                    <a:lnTo>
                      <a:pt x="98345" y="39129"/>
                    </a:lnTo>
                    <a:lnTo>
                      <a:pt x="91398" y="43781"/>
                    </a:lnTo>
                    <a:lnTo>
                      <a:pt x="93142" y="60129"/>
                    </a:lnTo>
                    <a:lnTo>
                      <a:pt x="96577" y="72326"/>
                    </a:lnTo>
                    <a:lnTo>
                      <a:pt x="93283" y="76540"/>
                    </a:lnTo>
                    <a:lnTo>
                      <a:pt x="79990" y="81972"/>
                    </a:lnTo>
                    <a:lnTo>
                      <a:pt x="70804" y="80401"/>
                    </a:lnTo>
                    <a:lnTo>
                      <a:pt x="58053" y="88133"/>
                    </a:lnTo>
                    <a:lnTo>
                      <a:pt x="50127" y="89601"/>
                    </a:lnTo>
                    <a:lnTo>
                      <a:pt x="48129" y="95690"/>
                    </a:lnTo>
                    <a:lnTo>
                      <a:pt x="35574" y="89812"/>
                    </a:lnTo>
                    <a:lnTo>
                      <a:pt x="29571" y="89627"/>
                    </a:lnTo>
                    <a:lnTo>
                      <a:pt x="20073" y="76460"/>
                    </a:lnTo>
                    <a:lnTo>
                      <a:pt x="10984" y="66775"/>
                    </a:lnTo>
                    <a:lnTo>
                      <a:pt x="8303" y="58871"/>
                    </a:lnTo>
                    <a:lnTo>
                      <a:pt x="1720" y="57514"/>
                    </a:lnTo>
                    <a:lnTo>
                      <a:pt x="0" y="49599"/>
                    </a:lnTo>
                    <a:lnTo>
                      <a:pt x="33455" y="39948"/>
                    </a:lnTo>
                    <a:lnTo>
                      <a:pt x="45303" y="36702"/>
                    </a:lnTo>
                    <a:lnTo>
                      <a:pt x="63974" y="23597"/>
                    </a:lnTo>
                    <a:lnTo>
                      <a:pt x="59691" y="10287"/>
                    </a:lnTo>
                    <a:lnTo>
                      <a:pt x="67476" y="4140"/>
                    </a:lnTo>
                    <a:lnTo>
                      <a:pt x="8411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39" name="Freeform 246">
                <a:extLst>
                  <a:ext uri="{FF2B5EF4-FFF2-40B4-BE49-F238E27FC236}">
                    <a16:creationId xmlns:a16="http://schemas.microsoft.com/office/drawing/2014/main" id="{DF12E713-B3D8-7A40-1197-0F571F77D919}"/>
                  </a:ext>
                </a:extLst>
              </p:cNvPr>
              <p:cNvSpPr>
                <a:spLocks noChangeAspect="1"/>
              </p:cNvSpPr>
              <p:nvPr>
                <p:custDataLst>
                  <p:tags r:id="rId170"/>
                </p:custDataLst>
              </p:nvPr>
            </p:nvSpPr>
            <p:spPr>
              <a:xfrm>
                <a:off x="4812331" y="4232131"/>
                <a:ext cx="92855" cy="85889"/>
              </a:xfrm>
              <a:custGeom>
                <a:avLst/>
                <a:gdLst/>
                <a:ahLst/>
                <a:cxnLst/>
                <a:rect l="0" t="0" r="0" b="0"/>
                <a:pathLst>
                  <a:path w="95337" h="88185">
                    <a:moveTo>
                      <a:pt x="40005" y="102"/>
                    </a:moveTo>
                    <a:lnTo>
                      <a:pt x="52928" y="17694"/>
                    </a:lnTo>
                    <a:lnTo>
                      <a:pt x="62633" y="18973"/>
                    </a:lnTo>
                    <a:lnTo>
                      <a:pt x="72033" y="26214"/>
                    </a:lnTo>
                    <a:lnTo>
                      <a:pt x="82831" y="36398"/>
                    </a:lnTo>
                    <a:lnTo>
                      <a:pt x="91053" y="48872"/>
                    </a:lnTo>
                    <a:lnTo>
                      <a:pt x="95336" y="62182"/>
                    </a:lnTo>
                    <a:lnTo>
                      <a:pt x="76665" y="75287"/>
                    </a:lnTo>
                    <a:lnTo>
                      <a:pt x="64817" y="78533"/>
                    </a:lnTo>
                    <a:lnTo>
                      <a:pt x="31362" y="88184"/>
                    </a:lnTo>
                    <a:lnTo>
                      <a:pt x="28789" y="85351"/>
                    </a:lnTo>
                    <a:lnTo>
                      <a:pt x="29479" y="79077"/>
                    </a:lnTo>
                    <a:lnTo>
                      <a:pt x="26634" y="75104"/>
                    </a:lnTo>
                    <a:lnTo>
                      <a:pt x="25926" y="71189"/>
                    </a:lnTo>
                    <a:lnTo>
                      <a:pt x="21720" y="71488"/>
                    </a:lnTo>
                    <a:lnTo>
                      <a:pt x="18142" y="74953"/>
                    </a:lnTo>
                    <a:lnTo>
                      <a:pt x="14203" y="76075"/>
                    </a:lnTo>
                    <a:lnTo>
                      <a:pt x="9721" y="71933"/>
                    </a:lnTo>
                    <a:lnTo>
                      <a:pt x="6640" y="72305"/>
                    </a:lnTo>
                    <a:lnTo>
                      <a:pt x="4172" y="67788"/>
                    </a:lnTo>
                    <a:lnTo>
                      <a:pt x="2092" y="66899"/>
                    </a:lnTo>
                    <a:lnTo>
                      <a:pt x="2529" y="63573"/>
                    </a:lnTo>
                    <a:lnTo>
                      <a:pt x="0" y="55857"/>
                    </a:lnTo>
                    <a:lnTo>
                      <a:pt x="8459" y="44346"/>
                    </a:lnTo>
                    <a:lnTo>
                      <a:pt x="8385" y="30543"/>
                    </a:lnTo>
                    <a:lnTo>
                      <a:pt x="13898" y="23114"/>
                    </a:lnTo>
                    <a:lnTo>
                      <a:pt x="24695" y="17601"/>
                    </a:lnTo>
                    <a:lnTo>
                      <a:pt x="26889" y="14161"/>
                    </a:lnTo>
                    <a:lnTo>
                      <a:pt x="27835" y="8662"/>
                    </a:lnTo>
                    <a:lnTo>
                      <a:pt x="3436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0" name="Freeform 247">
                <a:extLst>
                  <a:ext uri="{FF2B5EF4-FFF2-40B4-BE49-F238E27FC236}">
                    <a16:creationId xmlns:a16="http://schemas.microsoft.com/office/drawing/2014/main" id="{98AA1545-AB5B-3346-6657-3465B303185F}"/>
                  </a:ext>
                </a:extLst>
              </p:cNvPr>
              <p:cNvSpPr>
                <a:spLocks noChangeAspect="1"/>
              </p:cNvSpPr>
              <p:nvPr>
                <p:custDataLst>
                  <p:tags r:id="rId171"/>
                </p:custDataLst>
              </p:nvPr>
            </p:nvSpPr>
            <p:spPr>
              <a:xfrm>
                <a:off x="4851295" y="4197053"/>
                <a:ext cx="77984" cy="82679"/>
              </a:xfrm>
              <a:custGeom>
                <a:avLst/>
                <a:gdLst/>
                <a:ahLst/>
                <a:cxnLst/>
                <a:rect l="0" t="0" r="0" b="0"/>
                <a:pathLst>
                  <a:path w="80069" h="84889">
                    <a:moveTo>
                      <a:pt x="29149" y="11788"/>
                    </a:moveTo>
                    <a:lnTo>
                      <a:pt x="31429" y="8468"/>
                    </a:lnTo>
                    <a:lnTo>
                      <a:pt x="39891" y="7099"/>
                    </a:lnTo>
                    <a:lnTo>
                      <a:pt x="44279" y="10077"/>
                    </a:lnTo>
                    <a:lnTo>
                      <a:pt x="47785" y="16019"/>
                    </a:lnTo>
                    <a:lnTo>
                      <a:pt x="52384" y="16897"/>
                    </a:lnTo>
                    <a:lnTo>
                      <a:pt x="55819" y="22127"/>
                    </a:lnTo>
                    <a:lnTo>
                      <a:pt x="68021" y="40512"/>
                    </a:lnTo>
                    <a:lnTo>
                      <a:pt x="68592" y="63598"/>
                    </a:lnTo>
                    <a:lnTo>
                      <a:pt x="80068" y="64798"/>
                    </a:lnTo>
                    <a:lnTo>
                      <a:pt x="75472" y="74601"/>
                    </a:lnTo>
                    <a:lnTo>
                      <a:pt x="58833" y="78741"/>
                    </a:lnTo>
                    <a:lnTo>
                      <a:pt x="51048" y="84888"/>
                    </a:lnTo>
                    <a:lnTo>
                      <a:pt x="42826" y="72414"/>
                    </a:lnTo>
                    <a:lnTo>
                      <a:pt x="32028" y="62230"/>
                    </a:lnTo>
                    <a:lnTo>
                      <a:pt x="22628" y="54989"/>
                    </a:lnTo>
                    <a:lnTo>
                      <a:pt x="12923" y="53710"/>
                    </a:lnTo>
                    <a:lnTo>
                      <a:pt x="0" y="36118"/>
                    </a:lnTo>
                    <a:lnTo>
                      <a:pt x="2576" y="33398"/>
                    </a:lnTo>
                    <a:lnTo>
                      <a:pt x="2912" y="25432"/>
                    </a:lnTo>
                    <a:lnTo>
                      <a:pt x="568" y="17836"/>
                    </a:lnTo>
                    <a:lnTo>
                      <a:pt x="5567" y="12103"/>
                    </a:lnTo>
                    <a:lnTo>
                      <a:pt x="4419" y="5018"/>
                    </a:lnTo>
                    <a:lnTo>
                      <a:pt x="6987" y="2219"/>
                    </a:lnTo>
                    <a:lnTo>
                      <a:pt x="16378" y="3064"/>
                    </a:lnTo>
                    <a:lnTo>
                      <a:pt x="21907" y="0"/>
                    </a:lnTo>
                    <a:lnTo>
                      <a:pt x="23285" y="848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1" name="Freeform 248">
                <a:extLst>
                  <a:ext uri="{FF2B5EF4-FFF2-40B4-BE49-F238E27FC236}">
                    <a16:creationId xmlns:a16="http://schemas.microsoft.com/office/drawing/2014/main" id="{1C276463-6928-C12F-D3CB-C723EA0B57D3}"/>
                  </a:ext>
                </a:extLst>
              </p:cNvPr>
              <p:cNvSpPr>
                <a:spLocks noChangeAspect="1"/>
              </p:cNvSpPr>
              <p:nvPr>
                <p:custDataLst>
                  <p:tags r:id="rId172"/>
                </p:custDataLst>
              </p:nvPr>
            </p:nvSpPr>
            <p:spPr>
              <a:xfrm>
                <a:off x="4905661" y="4200562"/>
                <a:ext cx="98365" cy="93883"/>
              </a:xfrm>
              <a:custGeom>
                <a:avLst/>
                <a:gdLst/>
                <a:ahLst/>
                <a:cxnLst/>
                <a:rect l="0" t="0" r="0" b="0"/>
                <a:pathLst>
                  <a:path w="100994" h="96393">
                    <a:moveTo>
                      <a:pt x="96794" y="78868"/>
                    </a:moveTo>
                    <a:lnTo>
                      <a:pt x="91492" y="86904"/>
                    </a:lnTo>
                    <a:lnTo>
                      <a:pt x="72797" y="96392"/>
                    </a:lnTo>
                    <a:lnTo>
                      <a:pt x="61210" y="92249"/>
                    </a:lnTo>
                    <a:lnTo>
                      <a:pt x="47044" y="90402"/>
                    </a:lnTo>
                    <a:lnTo>
                      <a:pt x="35241" y="94442"/>
                    </a:lnTo>
                    <a:lnTo>
                      <a:pt x="19653" y="70998"/>
                    </a:lnTo>
                    <a:lnTo>
                      <a:pt x="24249" y="61195"/>
                    </a:lnTo>
                    <a:lnTo>
                      <a:pt x="12773" y="59995"/>
                    </a:lnTo>
                    <a:lnTo>
                      <a:pt x="12202" y="36909"/>
                    </a:lnTo>
                    <a:lnTo>
                      <a:pt x="0" y="18524"/>
                    </a:lnTo>
                    <a:lnTo>
                      <a:pt x="7393" y="18878"/>
                    </a:lnTo>
                    <a:lnTo>
                      <a:pt x="19583" y="16340"/>
                    </a:lnTo>
                    <a:lnTo>
                      <a:pt x="32717" y="18431"/>
                    </a:lnTo>
                    <a:lnTo>
                      <a:pt x="39074" y="16505"/>
                    </a:lnTo>
                    <a:lnTo>
                      <a:pt x="40327" y="15267"/>
                    </a:lnTo>
                    <a:lnTo>
                      <a:pt x="40291" y="9104"/>
                    </a:lnTo>
                    <a:lnTo>
                      <a:pt x="43368" y="4991"/>
                    </a:lnTo>
                    <a:lnTo>
                      <a:pt x="47204" y="8384"/>
                    </a:lnTo>
                    <a:lnTo>
                      <a:pt x="49752" y="14182"/>
                    </a:lnTo>
                    <a:lnTo>
                      <a:pt x="61609" y="15631"/>
                    </a:lnTo>
                    <a:lnTo>
                      <a:pt x="66442" y="13717"/>
                    </a:lnTo>
                    <a:lnTo>
                      <a:pt x="68303" y="11411"/>
                    </a:lnTo>
                    <a:lnTo>
                      <a:pt x="68469" y="8443"/>
                    </a:lnTo>
                    <a:lnTo>
                      <a:pt x="76555" y="2462"/>
                    </a:lnTo>
                    <a:lnTo>
                      <a:pt x="88413" y="0"/>
                    </a:lnTo>
                    <a:lnTo>
                      <a:pt x="97512" y="7153"/>
                    </a:lnTo>
                    <a:lnTo>
                      <a:pt x="98256" y="11161"/>
                    </a:lnTo>
                    <a:lnTo>
                      <a:pt x="94797" y="19010"/>
                    </a:lnTo>
                    <a:lnTo>
                      <a:pt x="96007" y="25986"/>
                    </a:lnTo>
                    <a:lnTo>
                      <a:pt x="95685" y="31943"/>
                    </a:lnTo>
                    <a:lnTo>
                      <a:pt x="86954" y="32954"/>
                    </a:lnTo>
                    <a:lnTo>
                      <a:pt x="87588" y="35485"/>
                    </a:lnTo>
                    <a:lnTo>
                      <a:pt x="91222" y="37609"/>
                    </a:lnTo>
                    <a:lnTo>
                      <a:pt x="96220" y="47653"/>
                    </a:lnTo>
                    <a:lnTo>
                      <a:pt x="96057" y="58917"/>
                    </a:lnTo>
                    <a:lnTo>
                      <a:pt x="97433" y="62788"/>
                    </a:lnTo>
                    <a:lnTo>
                      <a:pt x="100543" y="66427"/>
                    </a:lnTo>
                    <a:lnTo>
                      <a:pt x="100993" y="70879"/>
                    </a:lnTo>
                    <a:lnTo>
                      <a:pt x="97273" y="7439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2" name="Freeform 249">
                <a:extLst>
                  <a:ext uri="{FF2B5EF4-FFF2-40B4-BE49-F238E27FC236}">
                    <a16:creationId xmlns:a16="http://schemas.microsoft.com/office/drawing/2014/main" id="{F622CA2E-560E-ADF9-0ACC-075AF7370E41}"/>
                  </a:ext>
                </a:extLst>
              </p:cNvPr>
              <p:cNvSpPr>
                <a:spLocks noChangeAspect="1"/>
              </p:cNvSpPr>
              <p:nvPr>
                <p:custDataLst>
                  <p:tags r:id="rId173"/>
                </p:custDataLst>
              </p:nvPr>
            </p:nvSpPr>
            <p:spPr>
              <a:xfrm>
                <a:off x="4931895" y="4277377"/>
                <a:ext cx="89442" cy="62779"/>
              </a:xfrm>
              <a:custGeom>
                <a:avLst/>
                <a:gdLst/>
                <a:ahLst/>
                <a:cxnLst/>
                <a:rect l="0" t="0" r="0" b="0"/>
                <a:pathLst>
                  <a:path w="91833" h="64457">
                    <a:moveTo>
                      <a:pt x="88630" y="44269"/>
                    </a:moveTo>
                    <a:lnTo>
                      <a:pt x="85878" y="53441"/>
                    </a:lnTo>
                    <a:lnTo>
                      <a:pt x="72071" y="61827"/>
                    </a:lnTo>
                    <a:lnTo>
                      <a:pt x="63141" y="60296"/>
                    </a:lnTo>
                    <a:lnTo>
                      <a:pt x="61167" y="55357"/>
                    </a:lnTo>
                    <a:lnTo>
                      <a:pt x="57644" y="53544"/>
                    </a:lnTo>
                    <a:lnTo>
                      <a:pt x="44965" y="55411"/>
                    </a:lnTo>
                    <a:lnTo>
                      <a:pt x="39432" y="53335"/>
                    </a:lnTo>
                    <a:lnTo>
                      <a:pt x="31146" y="56846"/>
                    </a:lnTo>
                    <a:lnTo>
                      <a:pt x="26888" y="55481"/>
                    </a:lnTo>
                    <a:lnTo>
                      <a:pt x="19732" y="56623"/>
                    </a:lnTo>
                    <a:lnTo>
                      <a:pt x="18207" y="56151"/>
                    </a:lnTo>
                    <a:lnTo>
                      <a:pt x="16603" y="52678"/>
                    </a:lnTo>
                    <a:lnTo>
                      <a:pt x="13872" y="51793"/>
                    </a:lnTo>
                    <a:lnTo>
                      <a:pt x="8608" y="55340"/>
                    </a:lnTo>
                    <a:lnTo>
                      <a:pt x="5179" y="64456"/>
                    </a:lnTo>
                    <a:lnTo>
                      <a:pt x="1744" y="52259"/>
                    </a:lnTo>
                    <a:lnTo>
                      <a:pt x="0" y="35911"/>
                    </a:lnTo>
                    <a:lnTo>
                      <a:pt x="6947" y="31259"/>
                    </a:lnTo>
                    <a:lnTo>
                      <a:pt x="8305" y="15574"/>
                    </a:lnTo>
                    <a:lnTo>
                      <a:pt x="20108" y="11534"/>
                    </a:lnTo>
                    <a:lnTo>
                      <a:pt x="34274" y="13381"/>
                    </a:lnTo>
                    <a:lnTo>
                      <a:pt x="45861" y="17524"/>
                    </a:lnTo>
                    <a:lnTo>
                      <a:pt x="64556" y="8036"/>
                    </a:lnTo>
                    <a:lnTo>
                      <a:pt x="69858" y="0"/>
                    </a:lnTo>
                    <a:lnTo>
                      <a:pt x="74055" y="71"/>
                    </a:lnTo>
                    <a:lnTo>
                      <a:pt x="80817" y="7409"/>
                    </a:lnTo>
                    <a:lnTo>
                      <a:pt x="89765" y="8298"/>
                    </a:lnTo>
                    <a:lnTo>
                      <a:pt x="91828" y="9932"/>
                    </a:lnTo>
                    <a:lnTo>
                      <a:pt x="91832" y="14178"/>
                    </a:lnTo>
                    <a:lnTo>
                      <a:pt x="88446" y="16083"/>
                    </a:lnTo>
                    <a:lnTo>
                      <a:pt x="84556" y="24798"/>
                    </a:lnTo>
                    <a:lnTo>
                      <a:pt x="84213" y="28108"/>
                    </a:lnTo>
                    <a:lnTo>
                      <a:pt x="84604" y="3872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3" name="Freeform 250">
                <a:extLst>
                  <a:ext uri="{FF2B5EF4-FFF2-40B4-BE49-F238E27FC236}">
                    <a16:creationId xmlns:a16="http://schemas.microsoft.com/office/drawing/2014/main" id="{66CC27C7-798E-5F5D-9F69-16E5EB9D23F9}"/>
                  </a:ext>
                </a:extLst>
              </p:cNvPr>
              <p:cNvSpPr>
                <a:spLocks noChangeAspect="1"/>
              </p:cNvSpPr>
              <p:nvPr>
                <p:custDataLst>
                  <p:tags r:id="rId174"/>
                </p:custDataLst>
              </p:nvPr>
            </p:nvSpPr>
            <p:spPr>
              <a:xfrm>
                <a:off x="4735812" y="4351437"/>
                <a:ext cx="47411" cy="50232"/>
              </a:xfrm>
              <a:custGeom>
                <a:avLst/>
                <a:gdLst/>
                <a:ahLst/>
                <a:cxnLst/>
                <a:rect l="0" t="0" r="0" b="0"/>
                <a:pathLst>
                  <a:path w="48678" h="51575">
                    <a:moveTo>
                      <a:pt x="31639" y="7191"/>
                    </a:moveTo>
                    <a:lnTo>
                      <a:pt x="39968" y="7064"/>
                    </a:lnTo>
                    <a:lnTo>
                      <a:pt x="47010" y="18495"/>
                    </a:lnTo>
                    <a:lnTo>
                      <a:pt x="48677" y="30835"/>
                    </a:lnTo>
                    <a:lnTo>
                      <a:pt x="43886" y="38331"/>
                    </a:lnTo>
                    <a:lnTo>
                      <a:pt x="33049" y="36025"/>
                    </a:lnTo>
                    <a:lnTo>
                      <a:pt x="23759" y="38635"/>
                    </a:lnTo>
                    <a:lnTo>
                      <a:pt x="15317" y="51574"/>
                    </a:lnTo>
                    <a:lnTo>
                      <a:pt x="6366" y="35130"/>
                    </a:lnTo>
                    <a:lnTo>
                      <a:pt x="2338" y="15022"/>
                    </a:lnTo>
                    <a:lnTo>
                      <a:pt x="0" y="6170"/>
                    </a:lnTo>
                    <a:lnTo>
                      <a:pt x="1585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4" name="Freeform 251">
                <a:extLst>
                  <a:ext uri="{FF2B5EF4-FFF2-40B4-BE49-F238E27FC236}">
                    <a16:creationId xmlns:a16="http://schemas.microsoft.com/office/drawing/2014/main" id="{34C6908C-F5F5-49AE-0B2B-5BE78FAC9409}"/>
                  </a:ext>
                </a:extLst>
              </p:cNvPr>
              <p:cNvSpPr>
                <a:spLocks noChangeAspect="1"/>
              </p:cNvSpPr>
              <p:nvPr>
                <p:custDataLst>
                  <p:tags r:id="rId175"/>
                </p:custDataLst>
              </p:nvPr>
            </p:nvSpPr>
            <p:spPr>
              <a:xfrm>
                <a:off x="4682681" y="4329814"/>
                <a:ext cx="59332" cy="65955"/>
              </a:xfrm>
              <a:custGeom>
                <a:avLst/>
                <a:gdLst/>
                <a:ahLst/>
                <a:cxnLst/>
                <a:rect l="0" t="0" r="0" b="0"/>
                <a:pathLst>
                  <a:path w="60918" h="67718">
                    <a:moveTo>
                      <a:pt x="43473" y="5226"/>
                    </a:moveTo>
                    <a:lnTo>
                      <a:pt x="52767" y="21613"/>
                    </a:lnTo>
                    <a:lnTo>
                      <a:pt x="54551" y="28371"/>
                    </a:lnTo>
                    <a:lnTo>
                      <a:pt x="56889" y="37223"/>
                    </a:lnTo>
                    <a:lnTo>
                      <a:pt x="60917" y="57331"/>
                    </a:lnTo>
                    <a:lnTo>
                      <a:pt x="52451" y="57343"/>
                    </a:lnTo>
                    <a:lnTo>
                      <a:pt x="48857" y="62800"/>
                    </a:lnTo>
                    <a:lnTo>
                      <a:pt x="42524" y="67717"/>
                    </a:lnTo>
                    <a:lnTo>
                      <a:pt x="38917" y="62172"/>
                    </a:lnTo>
                    <a:lnTo>
                      <a:pt x="34841" y="59140"/>
                    </a:lnTo>
                    <a:lnTo>
                      <a:pt x="33826" y="53741"/>
                    </a:lnTo>
                    <a:lnTo>
                      <a:pt x="23466" y="53858"/>
                    </a:lnTo>
                    <a:lnTo>
                      <a:pt x="17614" y="50743"/>
                    </a:lnTo>
                    <a:lnTo>
                      <a:pt x="14242" y="54274"/>
                    </a:lnTo>
                    <a:lnTo>
                      <a:pt x="0" y="39330"/>
                    </a:lnTo>
                    <a:lnTo>
                      <a:pt x="8788" y="32036"/>
                    </a:lnTo>
                    <a:lnTo>
                      <a:pt x="10722" y="24809"/>
                    </a:lnTo>
                    <a:lnTo>
                      <a:pt x="13321" y="20222"/>
                    </a:lnTo>
                    <a:lnTo>
                      <a:pt x="12382" y="14494"/>
                    </a:lnTo>
                    <a:lnTo>
                      <a:pt x="14491" y="5340"/>
                    </a:lnTo>
                    <a:lnTo>
                      <a:pt x="16500" y="4154"/>
                    </a:lnTo>
                    <a:lnTo>
                      <a:pt x="26179" y="2468"/>
                    </a:lnTo>
                    <a:lnTo>
                      <a:pt x="28875" y="6781"/>
                    </a:lnTo>
                    <a:lnTo>
                      <a:pt x="30510" y="6762"/>
                    </a:lnTo>
                    <a:lnTo>
                      <a:pt x="36356" y="0"/>
                    </a:lnTo>
                    <a:lnTo>
                      <a:pt x="39193" y="71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5" name="Freeform 252">
                <a:extLst>
                  <a:ext uri="{FF2B5EF4-FFF2-40B4-BE49-F238E27FC236}">
                    <a16:creationId xmlns:a16="http://schemas.microsoft.com/office/drawing/2014/main" id="{B2063CAC-1C7A-709F-8339-A4209C587EBC}"/>
                  </a:ext>
                </a:extLst>
              </p:cNvPr>
              <p:cNvSpPr>
                <a:spLocks noChangeAspect="1"/>
              </p:cNvSpPr>
              <p:nvPr>
                <p:custDataLst>
                  <p:tags r:id="rId176"/>
                </p:custDataLst>
              </p:nvPr>
            </p:nvSpPr>
            <p:spPr>
              <a:xfrm>
                <a:off x="4725022" y="4317792"/>
                <a:ext cx="49718" cy="40649"/>
              </a:xfrm>
              <a:custGeom>
                <a:avLst/>
                <a:gdLst/>
                <a:ahLst/>
                <a:cxnLst/>
                <a:rect l="0" t="0" r="0" b="0"/>
                <a:pathLst>
                  <a:path w="51047" h="41736">
                    <a:moveTo>
                      <a:pt x="41173" y="3323"/>
                    </a:moveTo>
                    <a:lnTo>
                      <a:pt x="44858" y="21091"/>
                    </a:lnTo>
                    <a:lnTo>
                      <a:pt x="51046" y="41608"/>
                    </a:lnTo>
                    <a:lnTo>
                      <a:pt x="42717" y="41735"/>
                    </a:lnTo>
                    <a:lnTo>
                      <a:pt x="26935" y="34544"/>
                    </a:lnTo>
                    <a:lnTo>
                      <a:pt x="11078" y="40714"/>
                    </a:lnTo>
                    <a:lnTo>
                      <a:pt x="9294" y="33956"/>
                    </a:lnTo>
                    <a:lnTo>
                      <a:pt x="0" y="17569"/>
                    </a:lnTo>
                    <a:lnTo>
                      <a:pt x="12212" y="6751"/>
                    </a:lnTo>
                    <a:lnTo>
                      <a:pt x="12269" y="6690"/>
                    </a:lnTo>
                    <a:lnTo>
                      <a:pt x="21472" y="7732"/>
                    </a:lnTo>
                    <a:lnTo>
                      <a:pt x="27976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6" name="Freeform 253">
                <a:extLst>
                  <a:ext uri="{FF2B5EF4-FFF2-40B4-BE49-F238E27FC236}">
                    <a16:creationId xmlns:a16="http://schemas.microsoft.com/office/drawing/2014/main" id="{5CDAF719-A30F-DDDF-BAD0-54FD9FEDD04B}"/>
                  </a:ext>
                </a:extLst>
              </p:cNvPr>
              <p:cNvSpPr>
                <a:spLocks noChangeAspect="1"/>
              </p:cNvSpPr>
              <p:nvPr>
                <p:custDataLst>
                  <p:tags r:id="rId177"/>
                </p:custDataLst>
              </p:nvPr>
            </p:nvSpPr>
            <p:spPr>
              <a:xfrm>
                <a:off x="4765123" y="4308953"/>
                <a:ext cx="28135" cy="60498"/>
              </a:xfrm>
              <a:custGeom>
                <a:avLst/>
                <a:gdLst/>
                <a:ahLst/>
                <a:cxnLst/>
                <a:rect l="0" t="0" r="0" b="0"/>
                <a:pathLst>
                  <a:path w="28887" h="62115">
                    <a:moveTo>
                      <a:pt x="10560" y="3518"/>
                    </a:moveTo>
                    <a:lnTo>
                      <a:pt x="18878" y="0"/>
                    </a:lnTo>
                    <a:lnTo>
                      <a:pt x="21659" y="478"/>
                    </a:lnTo>
                    <a:lnTo>
                      <a:pt x="23022" y="15217"/>
                    </a:lnTo>
                    <a:lnTo>
                      <a:pt x="26941" y="19922"/>
                    </a:lnTo>
                    <a:lnTo>
                      <a:pt x="28164" y="30600"/>
                    </a:lnTo>
                    <a:lnTo>
                      <a:pt x="28886" y="44605"/>
                    </a:lnTo>
                    <a:lnTo>
                      <a:pt x="22639" y="52128"/>
                    </a:lnTo>
                    <a:lnTo>
                      <a:pt x="16915" y="62114"/>
                    </a:lnTo>
                    <a:lnTo>
                      <a:pt x="9873" y="50683"/>
                    </a:lnTo>
                    <a:lnTo>
                      <a:pt x="3685" y="30166"/>
                    </a:lnTo>
                    <a:lnTo>
                      <a:pt x="0" y="12398"/>
                    </a:lnTo>
                    <a:lnTo>
                      <a:pt x="2541" y="9694"/>
                    </a:lnTo>
                    <a:lnTo>
                      <a:pt x="3575" y="6815"/>
                    </a:lnTo>
                    <a:lnTo>
                      <a:pt x="3378" y="2257"/>
                    </a:lnTo>
                    <a:lnTo>
                      <a:pt x="4319" y="998"/>
                    </a:lnTo>
                    <a:lnTo>
                      <a:pt x="4984" y="10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7" name="Freeform 254">
                <a:extLst>
                  <a:ext uri="{FF2B5EF4-FFF2-40B4-BE49-F238E27FC236}">
                    <a16:creationId xmlns:a16="http://schemas.microsoft.com/office/drawing/2014/main" id="{91C4149D-6755-8C11-E1A7-AD121E91F51A}"/>
                  </a:ext>
                </a:extLst>
              </p:cNvPr>
              <p:cNvSpPr>
                <a:spLocks noChangeAspect="1"/>
              </p:cNvSpPr>
              <p:nvPr>
                <p:custDataLst>
                  <p:tags r:id="rId178"/>
                </p:custDataLst>
              </p:nvPr>
            </p:nvSpPr>
            <p:spPr>
              <a:xfrm>
                <a:off x="4791363" y="4297288"/>
                <a:ext cx="59602" cy="63678"/>
              </a:xfrm>
              <a:custGeom>
                <a:avLst/>
                <a:gdLst/>
                <a:ahLst/>
                <a:cxnLst/>
                <a:rect l="0" t="0" r="0" b="0"/>
                <a:pathLst>
                  <a:path w="61195" h="65380">
                    <a:moveTo>
                      <a:pt x="28169" y="5406"/>
                    </a:moveTo>
                    <a:lnTo>
                      <a:pt x="31250" y="5034"/>
                    </a:lnTo>
                    <a:lnTo>
                      <a:pt x="35732" y="9176"/>
                    </a:lnTo>
                    <a:lnTo>
                      <a:pt x="39671" y="8054"/>
                    </a:lnTo>
                    <a:lnTo>
                      <a:pt x="43249" y="4589"/>
                    </a:lnTo>
                    <a:lnTo>
                      <a:pt x="47455" y="4290"/>
                    </a:lnTo>
                    <a:lnTo>
                      <a:pt x="48163" y="8205"/>
                    </a:lnTo>
                    <a:lnTo>
                      <a:pt x="51008" y="12178"/>
                    </a:lnTo>
                    <a:lnTo>
                      <a:pt x="50318" y="18452"/>
                    </a:lnTo>
                    <a:lnTo>
                      <a:pt x="52891" y="21285"/>
                    </a:lnTo>
                    <a:lnTo>
                      <a:pt x="54611" y="29200"/>
                    </a:lnTo>
                    <a:lnTo>
                      <a:pt x="61194" y="30557"/>
                    </a:lnTo>
                    <a:lnTo>
                      <a:pt x="36945" y="41942"/>
                    </a:lnTo>
                    <a:lnTo>
                      <a:pt x="24356" y="49595"/>
                    </a:lnTo>
                    <a:lnTo>
                      <a:pt x="17776" y="65379"/>
                    </a:lnTo>
                    <a:lnTo>
                      <a:pt x="1945" y="56582"/>
                    </a:lnTo>
                    <a:lnTo>
                      <a:pt x="1223" y="42577"/>
                    </a:lnTo>
                    <a:lnTo>
                      <a:pt x="0" y="31899"/>
                    </a:lnTo>
                    <a:lnTo>
                      <a:pt x="1536" y="29533"/>
                    </a:lnTo>
                    <a:lnTo>
                      <a:pt x="488" y="19263"/>
                    </a:lnTo>
                    <a:lnTo>
                      <a:pt x="2470" y="13818"/>
                    </a:lnTo>
                    <a:lnTo>
                      <a:pt x="6986" y="9594"/>
                    </a:lnTo>
                    <a:lnTo>
                      <a:pt x="23621" y="0"/>
                    </a:lnTo>
                    <a:lnTo>
                      <a:pt x="25701" y="8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8" name="Freeform 255">
                <a:extLst>
                  <a:ext uri="{FF2B5EF4-FFF2-40B4-BE49-F238E27FC236}">
                    <a16:creationId xmlns:a16="http://schemas.microsoft.com/office/drawing/2014/main" id="{807FB851-50A7-1422-595D-079CE072D4D4}"/>
                  </a:ext>
                </a:extLst>
              </p:cNvPr>
              <p:cNvSpPr>
                <a:spLocks noChangeAspect="1"/>
              </p:cNvSpPr>
              <p:nvPr>
                <p:custDataLst>
                  <p:tags r:id="rId179"/>
                </p:custDataLst>
              </p:nvPr>
            </p:nvSpPr>
            <p:spPr>
              <a:xfrm>
                <a:off x="4804221" y="4327050"/>
                <a:ext cx="67458" cy="54214"/>
              </a:xfrm>
              <a:custGeom>
                <a:avLst/>
                <a:gdLst/>
                <a:ahLst/>
                <a:cxnLst/>
                <a:rect l="0" t="0" r="0" b="0"/>
                <a:pathLst>
                  <a:path w="69261" h="55663">
                    <a:moveTo>
                      <a:pt x="69260" y="30756"/>
                    </a:moveTo>
                    <a:lnTo>
                      <a:pt x="66458" y="35595"/>
                    </a:lnTo>
                    <a:lnTo>
                      <a:pt x="64593" y="43181"/>
                    </a:lnTo>
                    <a:lnTo>
                      <a:pt x="61545" y="45161"/>
                    </a:lnTo>
                    <a:lnTo>
                      <a:pt x="54477" y="45725"/>
                    </a:lnTo>
                    <a:lnTo>
                      <a:pt x="51460" y="55662"/>
                    </a:lnTo>
                    <a:lnTo>
                      <a:pt x="38629" y="46551"/>
                    </a:lnTo>
                    <a:lnTo>
                      <a:pt x="22338" y="41094"/>
                    </a:lnTo>
                    <a:lnTo>
                      <a:pt x="9768" y="51218"/>
                    </a:lnTo>
                    <a:lnTo>
                      <a:pt x="0" y="53865"/>
                    </a:lnTo>
                    <a:lnTo>
                      <a:pt x="3248" y="43090"/>
                    </a:lnTo>
                    <a:lnTo>
                      <a:pt x="4574" y="34822"/>
                    </a:lnTo>
                    <a:lnTo>
                      <a:pt x="11154" y="19038"/>
                    </a:lnTo>
                    <a:lnTo>
                      <a:pt x="23743" y="11385"/>
                    </a:lnTo>
                    <a:lnTo>
                      <a:pt x="47992" y="0"/>
                    </a:lnTo>
                    <a:lnTo>
                      <a:pt x="50673" y="7904"/>
                    </a:lnTo>
                    <a:lnTo>
                      <a:pt x="59762" y="1758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49" name="Freeform 256">
                <a:extLst>
                  <a:ext uri="{FF2B5EF4-FFF2-40B4-BE49-F238E27FC236}">
                    <a16:creationId xmlns:a16="http://schemas.microsoft.com/office/drawing/2014/main" id="{3BEF967C-CC3E-A911-CC27-DC14053957BC}"/>
                  </a:ext>
                </a:extLst>
              </p:cNvPr>
              <p:cNvSpPr>
                <a:spLocks noChangeAspect="1"/>
              </p:cNvSpPr>
              <p:nvPr>
                <p:custDataLst>
                  <p:tags r:id="rId180"/>
                </p:custDataLst>
              </p:nvPr>
            </p:nvSpPr>
            <p:spPr>
              <a:xfrm>
                <a:off x="4799552" y="4367074"/>
                <a:ext cx="54790" cy="37008"/>
              </a:xfrm>
              <a:custGeom>
                <a:avLst/>
                <a:gdLst/>
                <a:ahLst/>
                <a:cxnLst/>
                <a:rect l="0" t="0" r="0" b="0"/>
                <a:pathLst>
                  <a:path w="56255" h="37997">
                    <a:moveTo>
                      <a:pt x="56254" y="14568"/>
                    </a:moveTo>
                    <a:lnTo>
                      <a:pt x="55379" y="24145"/>
                    </a:lnTo>
                    <a:lnTo>
                      <a:pt x="49436" y="30526"/>
                    </a:lnTo>
                    <a:lnTo>
                      <a:pt x="48593" y="33406"/>
                    </a:lnTo>
                    <a:lnTo>
                      <a:pt x="48968" y="36264"/>
                    </a:lnTo>
                    <a:lnTo>
                      <a:pt x="39139" y="37697"/>
                    </a:lnTo>
                    <a:lnTo>
                      <a:pt x="23415" y="37996"/>
                    </a:lnTo>
                    <a:lnTo>
                      <a:pt x="10509" y="30810"/>
                    </a:lnTo>
                    <a:lnTo>
                      <a:pt x="139" y="27691"/>
                    </a:lnTo>
                    <a:lnTo>
                      <a:pt x="0" y="19450"/>
                    </a:lnTo>
                    <a:lnTo>
                      <a:pt x="4794" y="12771"/>
                    </a:lnTo>
                    <a:lnTo>
                      <a:pt x="14562" y="10124"/>
                    </a:lnTo>
                    <a:lnTo>
                      <a:pt x="27132" y="0"/>
                    </a:lnTo>
                    <a:lnTo>
                      <a:pt x="43423" y="545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0" name="Freeform 257">
                <a:extLst>
                  <a:ext uri="{FF2B5EF4-FFF2-40B4-BE49-F238E27FC236}">
                    <a16:creationId xmlns:a16="http://schemas.microsoft.com/office/drawing/2014/main" id="{22E881FC-7311-DC4D-0DF2-7BE415782BE4}"/>
                  </a:ext>
                </a:extLst>
              </p:cNvPr>
              <p:cNvSpPr>
                <a:spLocks noChangeAspect="1"/>
              </p:cNvSpPr>
              <p:nvPr>
                <p:custDataLst>
                  <p:tags r:id="rId181"/>
                </p:custDataLst>
              </p:nvPr>
            </p:nvSpPr>
            <p:spPr>
              <a:xfrm>
                <a:off x="4791006" y="4394044"/>
                <a:ext cx="63069" cy="42872"/>
              </a:xfrm>
              <a:custGeom>
                <a:avLst/>
                <a:gdLst/>
                <a:ahLst/>
                <a:cxnLst/>
                <a:rect l="0" t="0" r="0" b="0"/>
                <a:pathLst>
                  <a:path w="64755" h="44018">
                    <a:moveTo>
                      <a:pt x="32189" y="10305"/>
                    </a:moveTo>
                    <a:lnTo>
                      <a:pt x="47913" y="10006"/>
                    </a:lnTo>
                    <a:lnTo>
                      <a:pt x="57742" y="8573"/>
                    </a:lnTo>
                    <a:lnTo>
                      <a:pt x="62608" y="10803"/>
                    </a:lnTo>
                    <a:lnTo>
                      <a:pt x="64754" y="13840"/>
                    </a:lnTo>
                    <a:lnTo>
                      <a:pt x="59688" y="23186"/>
                    </a:lnTo>
                    <a:lnTo>
                      <a:pt x="56913" y="24644"/>
                    </a:lnTo>
                    <a:lnTo>
                      <a:pt x="52704" y="25775"/>
                    </a:lnTo>
                    <a:lnTo>
                      <a:pt x="49591" y="31771"/>
                    </a:lnTo>
                    <a:lnTo>
                      <a:pt x="42373" y="28504"/>
                    </a:lnTo>
                    <a:lnTo>
                      <a:pt x="33453" y="29324"/>
                    </a:lnTo>
                    <a:lnTo>
                      <a:pt x="31092" y="32013"/>
                    </a:lnTo>
                    <a:lnTo>
                      <a:pt x="29047" y="41510"/>
                    </a:lnTo>
                    <a:lnTo>
                      <a:pt x="24710" y="44017"/>
                    </a:lnTo>
                    <a:lnTo>
                      <a:pt x="21226" y="40487"/>
                    </a:lnTo>
                    <a:lnTo>
                      <a:pt x="21680" y="37496"/>
                    </a:lnTo>
                    <a:lnTo>
                      <a:pt x="20749" y="34856"/>
                    </a:lnTo>
                    <a:lnTo>
                      <a:pt x="14424" y="31788"/>
                    </a:lnTo>
                    <a:lnTo>
                      <a:pt x="6491" y="31500"/>
                    </a:lnTo>
                    <a:lnTo>
                      <a:pt x="1550" y="35403"/>
                    </a:lnTo>
                    <a:lnTo>
                      <a:pt x="0" y="25708"/>
                    </a:lnTo>
                    <a:lnTo>
                      <a:pt x="7184" y="14046"/>
                    </a:lnTo>
                    <a:lnTo>
                      <a:pt x="8913" y="0"/>
                    </a:lnTo>
                    <a:lnTo>
                      <a:pt x="19283" y="311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1" name="Freeform 258">
                <a:extLst>
                  <a:ext uri="{FF2B5EF4-FFF2-40B4-BE49-F238E27FC236}">
                    <a16:creationId xmlns:a16="http://schemas.microsoft.com/office/drawing/2014/main" id="{A5457006-B3FB-40E7-C402-2817C74FB1B2}"/>
                  </a:ext>
                </a:extLst>
              </p:cNvPr>
              <p:cNvSpPr>
                <a:spLocks noChangeAspect="1"/>
              </p:cNvSpPr>
              <p:nvPr>
                <p:custDataLst>
                  <p:tags r:id="rId182"/>
                </p:custDataLst>
              </p:nvPr>
            </p:nvSpPr>
            <p:spPr>
              <a:xfrm>
                <a:off x="4776536" y="4352397"/>
                <a:ext cx="32141" cy="77242"/>
              </a:xfrm>
              <a:custGeom>
                <a:avLst/>
                <a:gdLst/>
                <a:ahLst/>
                <a:cxnLst/>
                <a:rect l="0" t="0" r="0" b="0"/>
                <a:pathLst>
                  <a:path w="33000" h="79307">
                    <a:moveTo>
                      <a:pt x="32999" y="8797"/>
                    </a:moveTo>
                    <a:lnTo>
                      <a:pt x="31673" y="17065"/>
                    </a:lnTo>
                    <a:lnTo>
                      <a:pt x="28425" y="27840"/>
                    </a:lnTo>
                    <a:lnTo>
                      <a:pt x="23631" y="34519"/>
                    </a:lnTo>
                    <a:lnTo>
                      <a:pt x="23770" y="42760"/>
                    </a:lnTo>
                    <a:lnTo>
                      <a:pt x="22041" y="56806"/>
                    </a:lnTo>
                    <a:lnTo>
                      <a:pt x="14857" y="68468"/>
                    </a:lnTo>
                    <a:lnTo>
                      <a:pt x="16407" y="78163"/>
                    </a:lnTo>
                    <a:lnTo>
                      <a:pt x="11167" y="79306"/>
                    </a:lnTo>
                    <a:lnTo>
                      <a:pt x="3457" y="72636"/>
                    </a:lnTo>
                    <a:lnTo>
                      <a:pt x="0" y="62110"/>
                    </a:lnTo>
                    <a:lnTo>
                      <a:pt x="3325" y="54639"/>
                    </a:lnTo>
                    <a:lnTo>
                      <a:pt x="6157" y="47174"/>
                    </a:lnTo>
                    <a:lnTo>
                      <a:pt x="2073" y="37345"/>
                    </a:lnTo>
                    <a:lnTo>
                      <a:pt x="6864" y="29849"/>
                    </a:lnTo>
                    <a:lnTo>
                      <a:pt x="5197" y="17509"/>
                    </a:lnTo>
                    <a:lnTo>
                      <a:pt x="10921" y="7523"/>
                    </a:lnTo>
                    <a:lnTo>
                      <a:pt x="17168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2" name="Freeform 259">
                <a:extLst>
                  <a:ext uri="{FF2B5EF4-FFF2-40B4-BE49-F238E27FC236}">
                    <a16:creationId xmlns:a16="http://schemas.microsoft.com/office/drawing/2014/main" id="{B10D1CD7-FDD0-D2B1-62F2-B837A122D302}"/>
                  </a:ext>
                </a:extLst>
              </p:cNvPr>
              <p:cNvSpPr>
                <a:spLocks noChangeAspect="1"/>
              </p:cNvSpPr>
              <p:nvPr>
                <p:custDataLst>
                  <p:tags r:id="rId183"/>
                </p:custDataLst>
              </p:nvPr>
            </p:nvSpPr>
            <p:spPr>
              <a:xfrm>
                <a:off x="4747807" y="4386524"/>
                <a:ext cx="34727" cy="36619"/>
              </a:xfrm>
              <a:custGeom>
                <a:avLst/>
                <a:gdLst/>
                <a:ahLst/>
                <a:cxnLst/>
                <a:rect l="0" t="0" r="0" b="0"/>
                <a:pathLst>
                  <a:path w="35655" h="37598">
                    <a:moveTo>
                      <a:pt x="31570" y="2306"/>
                    </a:moveTo>
                    <a:lnTo>
                      <a:pt x="35654" y="12135"/>
                    </a:lnTo>
                    <a:lnTo>
                      <a:pt x="32822" y="19600"/>
                    </a:lnTo>
                    <a:lnTo>
                      <a:pt x="29497" y="27071"/>
                    </a:lnTo>
                    <a:lnTo>
                      <a:pt x="32954" y="37597"/>
                    </a:lnTo>
                    <a:lnTo>
                      <a:pt x="21981" y="36819"/>
                    </a:lnTo>
                    <a:lnTo>
                      <a:pt x="15014" y="32676"/>
                    </a:lnTo>
                    <a:lnTo>
                      <a:pt x="7285" y="30192"/>
                    </a:lnTo>
                    <a:lnTo>
                      <a:pt x="1079" y="28196"/>
                    </a:lnTo>
                    <a:lnTo>
                      <a:pt x="0" y="27261"/>
                    </a:lnTo>
                    <a:lnTo>
                      <a:pt x="3569" y="19985"/>
                    </a:lnTo>
                    <a:lnTo>
                      <a:pt x="3001" y="15549"/>
                    </a:lnTo>
                    <a:lnTo>
                      <a:pt x="11443" y="2610"/>
                    </a:lnTo>
                    <a:lnTo>
                      <a:pt x="2073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3" name="Freeform 260">
                <a:extLst>
                  <a:ext uri="{FF2B5EF4-FFF2-40B4-BE49-F238E27FC236}">
                    <a16:creationId xmlns:a16="http://schemas.microsoft.com/office/drawing/2014/main" id="{A48B096C-0773-81E0-5E44-EF673958B600}"/>
                  </a:ext>
                </a:extLst>
              </p:cNvPr>
              <p:cNvSpPr>
                <a:spLocks noChangeAspect="1"/>
              </p:cNvSpPr>
              <p:nvPr>
                <p:custDataLst>
                  <p:tags r:id="rId184"/>
                </p:custDataLst>
              </p:nvPr>
            </p:nvSpPr>
            <p:spPr>
              <a:xfrm>
                <a:off x="4981232" y="4374280"/>
                <a:ext cx="65796" cy="69007"/>
              </a:xfrm>
              <a:custGeom>
                <a:avLst/>
                <a:gdLst/>
                <a:ahLst/>
                <a:cxnLst/>
                <a:rect l="0" t="0" r="0" b="0"/>
                <a:pathLst>
                  <a:path w="67555" h="70852">
                    <a:moveTo>
                      <a:pt x="66333" y="36423"/>
                    </a:moveTo>
                    <a:lnTo>
                      <a:pt x="67554" y="44977"/>
                    </a:lnTo>
                    <a:lnTo>
                      <a:pt x="66054" y="49066"/>
                    </a:lnTo>
                    <a:lnTo>
                      <a:pt x="60758" y="52213"/>
                    </a:lnTo>
                    <a:lnTo>
                      <a:pt x="63121" y="56699"/>
                    </a:lnTo>
                    <a:lnTo>
                      <a:pt x="56261" y="64360"/>
                    </a:lnTo>
                    <a:lnTo>
                      <a:pt x="54165" y="69554"/>
                    </a:lnTo>
                    <a:lnTo>
                      <a:pt x="39006" y="70851"/>
                    </a:lnTo>
                    <a:lnTo>
                      <a:pt x="34603" y="68014"/>
                    </a:lnTo>
                    <a:lnTo>
                      <a:pt x="29893" y="67843"/>
                    </a:lnTo>
                    <a:lnTo>
                      <a:pt x="30818" y="62501"/>
                    </a:lnTo>
                    <a:lnTo>
                      <a:pt x="28624" y="61184"/>
                    </a:lnTo>
                    <a:lnTo>
                      <a:pt x="23016" y="62520"/>
                    </a:lnTo>
                    <a:lnTo>
                      <a:pt x="20678" y="67054"/>
                    </a:lnTo>
                    <a:lnTo>
                      <a:pt x="18368" y="68408"/>
                    </a:lnTo>
                    <a:lnTo>
                      <a:pt x="12265" y="68054"/>
                    </a:lnTo>
                    <a:lnTo>
                      <a:pt x="7243" y="65652"/>
                    </a:lnTo>
                    <a:lnTo>
                      <a:pt x="6639" y="60041"/>
                    </a:lnTo>
                    <a:lnTo>
                      <a:pt x="4124" y="58730"/>
                    </a:lnTo>
                    <a:lnTo>
                      <a:pt x="3201" y="36602"/>
                    </a:lnTo>
                    <a:lnTo>
                      <a:pt x="363" y="26047"/>
                    </a:lnTo>
                    <a:lnTo>
                      <a:pt x="0" y="13292"/>
                    </a:lnTo>
                    <a:lnTo>
                      <a:pt x="7953" y="3488"/>
                    </a:lnTo>
                    <a:lnTo>
                      <a:pt x="17982" y="0"/>
                    </a:lnTo>
                    <a:lnTo>
                      <a:pt x="33261" y="2728"/>
                    </a:lnTo>
                    <a:lnTo>
                      <a:pt x="37483" y="16427"/>
                    </a:lnTo>
                    <a:lnTo>
                      <a:pt x="51817" y="2874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4" name="Freeform 261">
                <a:extLst>
                  <a:ext uri="{FF2B5EF4-FFF2-40B4-BE49-F238E27FC236}">
                    <a16:creationId xmlns:a16="http://schemas.microsoft.com/office/drawing/2014/main" id="{7A732C35-A1DB-C4CE-C542-F2D48C91D9CC}"/>
                  </a:ext>
                </a:extLst>
              </p:cNvPr>
              <p:cNvSpPr>
                <a:spLocks noChangeAspect="1"/>
              </p:cNvSpPr>
              <p:nvPr>
                <p:custDataLst>
                  <p:tags r:id="rId185"/>
                </p:custDataLst>
              </p:nvPr>
            </p:nvSpPr>
            <p:spPr>
              <a:xfrm>
                <a:off x="4889753" y="4362910"/>
                <a:ext cx="95497" cy="82654"/>
              </a:xfrm>
              <a:custGeom>
                <a:avLst/>
                <a:gdLst/>
                <a:ahLst/>
                <a:cxnLst/>
                <a:rect l="0" t="0" r="0" b="0"/>
                <a:pathLst>
                  <a:path w="98050" h="84863">
                    <a:moveTo>
                      <a:pt x="69637" y="17136"/>
                    </a:moveTo>
                    <a:lnTo>
                      <a:pt x="80365" y="15777"/>
                    </a:lnTo>
                    <a:lnTo>
                      <a:pt x="84576" y="30552"/>
                    </a:lnTo>
                    <a:lnTo>
                      <a:pt x="89219" y="37866"/>
                    </a:lnTo>
                    <a:lnTo>
                      <a:pt x="94288" y="37721"/>
                    </a:lnTo>
                    <a:lnTo>
                      <a:pt x="97126" y="48276"/>
                    </a:lnTo>
                    <a:lnTo>
                      <a:pt x="98049" y="70404"/>
                    </a:lnTo>
                    <a:lnTo>
                      <a:pt x="89324" y="71287"/>
                    </a:lnTo>
                    <a:lnTo>
                      <a:pt x="83352" y="77835"/>
                    </a:lnTo>
                    <a:lnTo>
                      <a:pt x="66978" y="84862"/>
                    </a:lnTo>
                    <a:lnTo>
                      <a:pt x="57881" y="79268"/>
                    </a:lnTo>
                    <a:lnTo>
                      <a:pt x="54045" y="80425"/>
                    </a:lnTo>
                    <a:lnTo>
                      <a:pt x="48866" y="79178"/>
                    </a:lnTo>
                    <a:lnTo>
                      <a:pt x="47771" y="78356"/>
                    </a:lnTo>
                    <a:lnTo>
                      <a:pt x="48777" y="75684"/>
                    </a:lnTo>
                    <a:lnTo>
                      <a:pt x="54885" y="71159"/>
                    </a:lnTo>
                    <a:lnTo>
                      <a:pt x="55041" y="69674"/>
                    </a:lnTo>
                    <a:lnTo>
                      <a:pt x="52556" y="66875"/>
                    </a:lnTo>
                    <a:lnTo>
                      <a:pt x="39249" y="61804"/>
                    </a:lnTo>
                    <a:lnTo>
                      <a:pt x="38408" y="59061"/>
                    </a:lnTo>
                    <a:lnTo>
                      <a:pt x="40085" y="55206"/>
                    </a:lnTo>
                    <a:lnTo>
                      <a:pt x="39890" y="52348"/>
                    </a:lnTo>
                    <a:lnTo>
                      <a:pt x="33078" y="48488"/>
                    </a:lnTo>
                    <a:lnTo>
                      <a:pt x="29720" y="48454"/>
                    </a:lnTo>
                    <a:lnTo>
                      <a:pt x="27033" y="42358"/>
                    </a:lnTo>
                    <a:lnTo>
                      <a:pt x="19570" y="39774"/>
                    </a:lnTo>
                    <a:lnTo>
                      <a:pt x="18836" y="35664"/>
                    </a:lnTo>
                    <a:lnTo>
                      <a:pt x="19989" y="28209"/>
                    </a:lnTo>
                    <a:lnTo>
                      <a:pt x="6981" y="17991"/>
                    </a:lnTo>
                    <a:lnTo>
                      <a:pt x="5572" y="14527"/>
                    </a:lnTo>
                    <a:lnTo>
                      <a:pt x="4828" y="7217"/>
                    </a:lnTo>
                    <a:lnTo>
                      <a:pt x="0" y="0"/>
                    </a:lnTo>
                    <a:lnTo>
                      <a:pt x="51616" y="5917"/>
                    </a:lnTo>
                    <a:lnTo>
                      <a:pt x="58852" y="1636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5" name="Freeform 262">
                <a:extLst>
                  <a:ext uri="{FF2B5EF4-FFF2-40B4-BE49-F238E27FC236}">
                    <a16:creationId xmlns:a16="http://schemas.microsoft.com/office/drawing/2014/main" id="{77FB0F72-1C27-2888-322A-56467EAE2F8A}"/>
                  </a:ext>
                </a:extLst>
              </p:cNvPr>
              <p:cNvSpPr>
                <a:spLocks noChangeAspect="1"/>
              </p:cNvSpPr>
              <p:nvPr>
                <p:custDataLst>
                  <p:tags r:id="rId186"/>
                </p:custDataLst>
              </p:nvPr>
            </p:nvSpPr>
            <p:spPr>
              <a:xfrm>
                <a:off x="4889753" y="4327821"/>
                <a:ext cx="115367" cy="71970"/>
              </a:xfrm>
              <a:custGeom>
                <a:avLst/>
                <a:gdLst/>
                <a:ahLst/>
                <a:cxnLst/>
                <a:rect l="0" t="0" r="0" b="0"/>
                <a:pathLst>
                  <a:path w="118451" h="73894">
                    <a:moveTo>
                      <a:pt x="63001" y="4830"/>
                    </a:moveTo>
                    <a:lnTo>
                      <a:pt x="70157" y="3688"/>
                    </a:lnTo>
                    <a:lnTo>
                      <a:pt x="74415" y="5053"/>
                    </a:lnTo>
                    <a:lnTo>
                      <a:pt x="82701" y="1542"/>
                    </a:lnTo>
                    <a:lnTo>
                      <a:pt x="88234" y="3618"/>
                    </a:lnTo>
                    <a:lnTo>
                      <a:pt x="100913" y="1751"/>
                    </a:lnTo>
                    <a:lnTo>
                      <a:pt x="104436" y="3564"/>
                    </a:lnTo>
                    <a:lnTo>
                      <a:pt x="106410" y="8503"/>
                    </a:lnTo>
                    <a:lnTo>
                      <a:pt x="111183" y="23256"/>
                    </a:lnTo>
                    <a:lnTo>
                      <a:pt x="118450" y="33675"/>
                    </a:lnTo>
                    <a:lnTo>
                      <a:pt x="111907" y="47701"/>
                    </a:lnTo>
                    <a:lnTo>
                      <a:pt x="101878" y="51189"/>
                    </a:lnTo>
                    <a:lnTo>
                      <a:pt x="93925" y="60993"/>
                    </a:lnTo>
                    <a:lnTo>
                      <a:pt x="94288" y="73748"/>
                    </a:lnTo>
                    <a:lnTo>
                      <a:pt x="89219" y="73893"/>
                    </a:lnTo>
                    <a:lnTo>
                      <a:pt x="84576" y="66579"/>
                    </a:lnTo>
                    <a:lnTo>
                      <a:pt x="80365" y="51804"/>
                    </a:lnTo>
                    <a:lnTo>
                      <a:pt x="69637" y="53163"/>
                    </a:lnTo>
                    <a:lnTo>
                      <a:pt x="58852" y="52390"/>
                    </a:lnTo>
                    <a:lnTo>
                      <a:pt x="51616" y="41944"/>
                    </a:lnTo>
                    <a:lnTo>
                      <a:pt x="0" y="36027"/>
                    </a:lnTo>
                    <a:lnTo>
                      <a:pt x="1998" y="29938"/>
                    </a:lnTo>
                    <a:lnTo>
                      <a:pt x="9924" y="28470"/>
                    </a:lnTo>
                    <a:lnTo>
                      <a:pt x="22675" y="20738"/>
                    </a:lnTo>
                    <a:lnTo>
                      <a:pt x="31861" y="22309"/>
                    </a:lnTo>
                    <a:lnTo>
                      <a:pt x="45154" y="16877"/>
                    </a:lnTo>
                    <a:lnTo>
                      <a:pt x="48448" y="12663"/>
                    </a:lnTo>
                    <a:lnTo>
                      <a:pt x="51877" y="3547"/>
                    </a:lnTo>
                    <a:lnTo>
                      <a:pt x="57141" y="0"/>
                    </a:lnTo>
                    <a:lnTo>
                      <a:pt x="59872" y="885"/>
                    </a:lnTo>
                    <a:lnTo>
                      <a:pt x="61476" y="435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6" name="Freeform 263">
                <a:extLst>
                  <a:ext uri="{FF2B5EF4-FFF2-40B4-BE49-F238E27FC236}">
                    <a16:creationId xmlns:a16="http://schemas.microsoft.com/office/drawing/2014/main" id="{EDAEF78D-FD5A-6991-F268-C2DD3C6EA6BA}"/>
                  </a:ext>
                </a:extLst>
              </p:cNvPr>
              <p:cNvSpPr>
                <a:spLocks noChangeAspect="1"/>
              </p:cNvSpPr>
              <p:nvPr>
                <p:custDataLst>
                  <p:tags r:id="rId187"/>
                </p:custDataLst>
              </p:nvPr>
            </p:nvSpPr>
            <p:spPr>
              <a:xfrm>
                <a:off x="4993392" y="4304179"/>
                <a:ext cx="107790" cy="105577"/>
              </a:xfrm>
              <a:custGeom>
                <a:avLst/>
                <a:gdLst/>
                <a:ahLst/>
                <a:cxnLst/>
                <a:rect l="0" t="0" r="0" b="0"/>
                <a:pathLst>
                  <a:path w="110671" h="108399">
                    <a:moveTo>
                      <a:pt x="109245" y="17052"/>
                    </a:moveTo>
                    <a:lnTo>
                      <a:pt x="110670" y="22415"/>
                    </a:lnTo>
                    <a:lnTo>
                      <a:pt x="109630" y="28834"/>
                    </a:lnTo>
                    <a:lnTo>
                      <a:pt x="107924" y="30161"/>
                    </a:lnTo>
                    <a:lnTo>
                      <a:pt x="104991" y="29320"/>
                    </a:lnTo>
                    <a:lnTo>
                      <a:pt x="99884" y="33001"/>
                    </a:lnTo>
                    <a:lnTo>
                      <a:pt x="102559" y="35453"/>
                    </a:lnTo>
                    <a:lnTo>
                      <a:pt x="103517" y="39450"/>
                    </a:lnTo>
                    <a:lnTo>
                      <a:pt x="107417" y="42609"/>
                    </a:lnTo>
                    <a:lnTo>
                      <a:pt x="107822" y="48325"/>
                    </a:lnTo>
                    <a:lnTo>
                      <a:pt x="105773" y="49465"/>
                    </a:lnTo>
                    <a:lnTo>
                      <a:pt x="98074" y="47826"/>
                    </a:lnTo>
                    <a:lnTo>
                      <a:pt x="91789" y="53789"/>
                    </a:lnTo>
                    <a:lnTo>
                      <a:pt x="97646" y="65268"/>
                    </a:lnTo>
                    <a:lnTo>
                      <a:pt x="86515" y="75008"/>
                    </a:lnTo>
                    <a:lnTo>
                      <a:pt x="85129" y="86003"/>
                    </a:lnTo>
                    <a:lnTo>
                      <a:pt x="79229" y="94692"/>
                    </a:lnTo>
                    <a:lnTo>
                      <a:pt x="77379" y="96248"/>
                    </a:lnTo>
                    <a:lnTo>
                      <a:pt x="73643" y="94242"/>
                    </a:lnTo>
                    <a:lnTo>
                      <a:pt x="65178" y="94845"/>
                    </a:lnTo>
                    <a:lnTo>
                      <a:pt x="60496" y="98932"/>
                    </a:lnTo>
                    <a:lnTo>
                      <a:pt x="53848" y="108398"/>
                    </a:lnTo>
                    <a:lnTo>
                      <a:pt x="39332" y="100716"/>
                    </a:lnTo>
                    <a:lnTo>
                      <a:pt x="24998" y="88402"/>
                    </a:lnTo>
                    <a:lnTo>
                      <a:pt x="20776" y="74703"/>
                    </a:lnTo>
                    <a:lnTo>
                      <a:pt x="5497" y="71975"/>
                    </a:lnTo>
                    <a:lnTo>
                      <a:pt x="12040" y="57949"/>
                    </a:lnTo>
                    <a:lnTo>
                      <a:pt x="4773" y="47530"/>
                    </a:lnTo>
                    <a:lnTo>
                      <a:pt x="0" y="32777"/>
                    </a:lnTo>
                    <a:lnTo>
                      <a:pt x="8930" y="34308"/>
                    </a:lnTo>
                    <a:lnTo>
                      <a:pt x="22737" y="25922"/>
                    </a:lnTo>
                    <a:lnTo>
                      <a:pt x="25489" y="16750"/>
                    </a:lnTo>
                    <a:lnTo>
                      <a:pt x="28946" y="16918"/>
                    </a:lnTo>
                    <a:lnTo>
                      <a:pt x="32181" y="9704"/>
                    </a:lnTo>
                    <a:lnTo>
                      <a:pt x="42845" y="8394"/>
                    </a:lnTo>
                    <a:lnTo>
                      <a:pt x="45759" y="10848"/>
                    </a:lnTo>
                    <a:lnTo>
                      <a:pt x="48780" y="10967"/>
                    </a:lnTo>
                    <a:lnTo>
                      <a:pt x="51993" y="7147"/>
                    </a:lnTo>
                    <a:lnTo>
                      <a:pt x="60493" y="5283"/>
                    </a:lnTo>
                    <a:lnTo>
                      <a:pt x="77880" y="0"/>
                    </a:lnTo>
                    <a:lnTo>
                      <a:pt x="90369" y="738"/>
                    </a:lnTo>
                    <a:lnTo>
                      <a:pt x="109126" y="9409"/>
                    </a:lnTo>
                    <a:lnTo>
                      <a:pt x="108552" y="1442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7" name="Freeform 264">
                <a:extLst>
                  <a:ext uri="{FF2B5EF4-FFF2-40B4-BE49-F238E27FC236}">
                    <a16:creationId xmlns:a16="http://schemas.microsoft.com/office/drawing/2014/main" id="{502A1A84-26E8-CD11-74AD-54414FDB13D0}"/>
                  </a:ext>
                </a:extLst>
              </p:cNvPr>
              <p:cNvSpPr>
                <a:spLocks noChangeAspect="1"/>
              </p:cNvSpPr>
              <p:nvPr>
                <p:custDataLst>
                  <p:tags r:id="rId188"/>
                </p:custDataLst>
              </p:nvPr>
            </p:nvSpPr>
            <p:spPr>
              <a:xfrm>
                <a:off x="4850166" y="4707133"/>
                <a:ext cx="66772" cy="80201"/>
              </a:xfrm>
              <a:custGeom>
                <a:avLst/>
                <a:gdLst/>
                <a:ahLst/>
                <a:cxnLst/>
                <a:rect l="0" t="0" r="0" b="0"/>
                <a:pathLst>
                  <a:path w="68557" h="82345">
                    <a:moveTo>
                      <a:pt x="57685" y="5701"/>
                    </a:moveTo>
                    <a:lnTo>
                      <a:pt x="59320" y="10480"/>
                    </a:lnTo>
                    <a:lnTo>
                      <a:pt x="63665" y="16540"/>
                    </a:lnTo>
                    <a:lnTo>
                      <a:pt x="63697" y="21001"/>
                    </a:lnTo>
                    <a:lnTo>
                      <a:pt x="68556" y="29793"/>
                    </a:lnTo>
                    <a:lnTo>
                      <a:pt x="66880" y="35244"/>
                    </a:lnTo>
                    <a:lnTo>
                      <a:pt x="55496" y="37054"/>
                    </a:lnTo>
                    <a:lnTo>
                      <a:pt x="55916" y="43386"/>
                    </a:lnTo>
                    <a:lnTo>
                      <a:pt x="61282" y="48695"/>
                    </a:lnTo>
                    <a:lnTo>
                      <a:pt x="60576" y="65920"/>
                    </a:lnTo>
                    <a:lnTo>
                      <a:pt x="52065" y="68383"/>
                    </a:lnTo>
                    <a:lnTo>
                      <a:pt x="45953" y="80404"/>
                    </a:lnTo>
                    <a:lnTo>
                      <a:pt x="43799" y="79302"/>
                    </a:lnTo>
                    <a:lnTo>
                      <a:pt x="30641" y="76096"/>
                    </a:lnTo>
                    <a:lnTo>
                      <a:pt x="25124" y="79187"/>
                    </a:lnTo>
                    <a:lnTo>
                      <a:pt x="18052" y="78596"/>
                    </a:lnTo>
                    <a:lnTo>
                      <a:pt x="11520" y="82344"/>
                    </a:lnTo>
                    <a:lnTo>
                      <a:pt x="8532" y="81871"/>
                    </a:lnTo>
                    <a:lnTo>
                      <a:pt x="6998" y="76591"/>
                    </a:lnTo>
                    <a:lnTo>
                      <a:pt x="11075" y="69815"/>
                    </a:lnTo>
                    <a:lnTo>
                      <a:pt x="11210" y="66947"/>
                    </a:lnTo>
                    <a:lnTo>
                      <a:pt x="5633" y="63350"/>
                    </a:lnTo>
                    <a:lnTo>
                      <a:pt x="2163" y="64584"/>
                    </a:lnTo>
                    <a:lnTo>
                      <a:pt x="0" y="59849"/>
                    </a:lnTo>
                    <a:lnTo>
                      <a:pt x="848" y="49552"/>
                    </a:lnTo>
                    <a:lnTo>
                      <a:pt x="8058" y="51220"/>
                    </a:lnTo>
                    <a:lnTo>
                      <a:pt x="15481" y="49709"/>
                    </a:lnTo>
                    <a:lnTo>
                      <a:pt x="19461" y="41926"/>
                    </a:lnTo>
                    <a:lnTo>
                      <a:pt x="14956" y="37491"/>
                    </a:lnTo>
                    <a:lnTo>
                      <a:pt x="19428" y="26983"/>
                    </a:lnTo>
                    <a:lnTo>
                      <a:pt x="26269" y="24574"/>
                    </a:lnTo>
                    <a:lnTo>
                      <a:pt x="28869" y="17272"/>
                    </a:lnTo>
                    <a:lnTo>
                      <a:pt x="35931" y="12589"/>
                    </a:lnTo>
                    <a:lnTo>
                      <a:pt x="39600" y="6054"/>
                    </a:lnTo>
                    <a:lnTo>
                      <a:pt x="45046" y="1252"/>
                    </a:lnTo>
                    <a:lnTo>
                      <a:pt x="48882" y="0"/>
                    </a:lnTo>
                    <a:lnTo>
                      <a:pt x="54785" y="124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8" name="Freeform 265">
                <a:extLst>
                  <a:ext uri="{FF2B5EF4-FFF2-40B4-BE49-F238E27FC236}">
                    <a16:creationId xmlns:a16="http://schemas.microsoft.com/office/drawing/2014/main" id="{4A916D67-F0A7-223A-7496-B4457AAB6920}"/>
                  </a:ext>
                </a:extLst>
              </p:cNvPr>
              <p:cNvSpPr>
                <a:spLocks noChangeAspect="1"/>
              </p:cNvSpPr>
              <p:nvPr>
                <p:custDataLst>
                  <p:tags r:id="rId189"/>
                </p:custDataLst>
              </p:nvPr>
            </p:nvSpPr>
            <p:spPr>
              <a:xfrm>
                <a:off x="4836308" y="4716730"/>
                <a:ext cx="41977" cy="40291"/>
              </a:xfrm>
              <a:custGeom>
                <a:avLst/>
                <a:gdLst/>
                <a:ahLst/>
                <a:cxnLst/>
                <a:rect l="0" t="0" r="0" b="0"/>
                <a:pathLst>
                  <a:path w="43099" h="41368">
                    <a:moveTo>
                      <a:pt x="10825" y="5367"/>
                    </a:moveTo>
                    <a:lnTo>
                      <a:pt x="22850" y="598"/>
                    </a:lnTo>
                    <a:lnTo>
                      <a:pt x="38588" y="2533"/>
                    </a:lnTo>
                    <a:lnTo>
                      <a:pt x="43098" y="7419"/>
                    </a:lnTo>
                    <a:lnTo>
                      <a:pt x="40498" y="14721"/>
                    </a:lnTo>
                    <a:lnTo>
                      <a:pt x="33657" y="17130"/>
                    </a:lnTo>
                    <a:lnTo>
                      <a:pt x="29185" y="27638"/>
                    </a:lnTo>
                    <a:lnTo>
                      <a:pt x="33690" y="32073"/>
                    </a:lnTo>
                    <a:lnTo>
                      <a:pt x="29710" y="39856"/>
                    </a:lnTo>
                    <a:lnTo>
                      <a:pt x="22287" y="41367"/>
                    </a:lnTo>
                    <a:lnTo>
                      <a:pt x="15077" y="39699"/>
                    </a:lnTo>
                    <a:lnTo>
                      <a:pt x="11920" y="33421"/>
                    </a:lnTo>
                    <a:lnTo>
                      <a:pt x="3386" y="34493"/>
                    </a:lnTo>
                    <a:lnTo>
                      <a:pt x="0" y="30482"/>
                    </a:lnTo>
                    <a:lnTo>
                      <a:pt x="5309" y="19513"/>
                    </a:lnTo>
                    <a:lnTo>
                      <a:pt x="2074" y="8705"/>
                    </a:lnTo>
                    <a:lnTo>
                      <a:pt x="2264" y="4175"/>
                    </a:lnTo>
                    <a:lnTo>
                      <a:pt x="7417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59" name="Freeform 266">
                <a:extLst>
                  <a:ext uri="{FF2B5EF4-FFF2-40B4-BE49-F238E27FC236}">
                    <a16:creationId xmlns:a16="http://schemas.microsoft.com/office/drawing/2014/main" id="{E626576D-1B1F-FAE1-3C81-700877CDF427}"/>
                  </a:ext>
                </a:extLst>
              </p:cNvPr>
              <p:cNvSpPr>
                <a:spLocks noChangeAspect="1"/>
              </p:cNvSpPr>
              <p:nvPr>
                <p:custDataLst>
                  <p:tags r:id="rId190"/>
                </p:custDataLst>
              </p:nvPr>
            </p:nvSpPr>
            <p:spPr>
              <a:xfrm>
                <a:off x="4816403" y="4718241"/>
                <a:ext cx="34590" cy="53045"/>
              </a:xfrm>
              <a:custGeom>
                <a:avLst/>
                <a:gdLst/>
                <a:ahLst/>
                <a:cxnLst/>
                <a:rect l="0" t="0" r="0" b="0"/>
                <a:pathLst>
                  <a:path w="35515" h="54463">
                    <a:moveTo>
                      <a:pt x="22701" y="2623"/>
                    </a:moveTo>
                    <a:lnTo>
                      <a:pt x="22511" y="7153"/>
                    </a:lnTo>
                    <a:lnTo>
                      <a:pt x="25746" y="17961"/>
                    </a:lnTo>
                    <a:lnTo>
                      <a:pt x="20437" y="28930"/>
                    </a:lnTo>
                    <a:lnTo>
                      <a:pt x="23823" y="32941"/>
                    </a:lnTo>
                    <a:lnTo>
                      <a:pt x="32357" y="31869"/>
                    </a:lnTo>
                    <a:lnTo>
                      <a:pt x="35514" y="38147"/>
                    </a:lnTo>
                    <a:lnTo>
                      <a:pt x="34666" y="48444"/>
                    </a:lnTo>
                    <a:lnTo>
                      <a:pt x="30731" y="49587"/>
                    </a:lnTo>
                    <a:lnTo>
                      <a:pt x="28294" y="54097"/>
                    </a:lnTo>
                    <a:lnTo>
                      <a:pt x="22501" y="49015"/>
                    </a:lnTo>
                    <a:lnTo>
                      <a:pt x="14188" y="54462"/>
                    </a:lnTo>
                    <a:lnTo>
                      <a:pt x="6036" y="54315"/>
                    </a:lnTo>
                    <a:lnTo>
                      <a:pt x="4487" y="33532"/>
                    </a:lnTo>
                    <a:lnTo>
                      <a:pt x="0" y="24578"/>
                    </a:lnTo>
                    <a:lnTo>
                      <a:pt x="9916" y="18990"/>
                    </a:lnTo>
                    <a:lnTo>
                      <a:pt x="10013" y="13371"/>
                    </a:lnTo>
                    <a:lnTo>
                      <a:pt x="11655" y="7810"/>
                    </a:lnTo>
                    <a:lnTo>
                      <a:pt x="13598" y="1888"/>
                    </a:lnTo>
                    <a:lnTo>
                      <a:pt x="17695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0" name="Freeform 267">
                <a:extLst>
                  <a:ext uri="{FF2B5EF4-FFF2-40B4-BE49-F238E27FC236}">
                    <a16:creationId xmlns:a16="http://schemas.microsoft.com/office/drawing/2014/main" id="{55A1F751-6F7A-CF1F-EEF5-0BEBCE12BB5B}"/>
                  </a:ext>
                </a:extLst>
              </p:cNvPr>
              <p:cNvSpPr>
                <a:spLocks noChangeAspect="1"/>
              </p:cNvSpPr>
              <p:nvPr>
                <p:custDataLst>
                  <p:tags r:id="rId191"/>
                </p:custDataLst>
              </p:nvPr>
            </p:nvSpPr>
            <p:spPr>
              <a:xfrm>
                <a:off x="4810683" y="4692353"/>
                <a:ext cx="37547" cy="33497"/>
              </a:xfrm>
              <a:custGeom>
                <a:avLst/>
                <a:gdLst/>
                <a:ahLst/>
                <a:cxnLst/>
                <a:rect l="0" t="0" r="0" b="0"/>
                <a:pathLst>
                  <a:path w="38551" h="34392">
                    <a:moveTo>
                      <a:pt x="30943" y="9831"/>
                    </a:moveTo>
                    <a:lnTo>
                      <a:pt x="34483" y="6159"/>
                    </a:lnTo>
                    <a:lnTo>
                      <a:pt x="38550" y="18140"/>
                    </a:lnTo>
                    <a:lnTo>
                      <a:pt x="33727" y="25029"/>
                    </a:lnTo>
                    <a:lnTo>
                      <a:pt x="28574" y="29204"/>
                    </a:lnTo>
                    <a:lnTo>
                      <a:pt x="23568" y="26581"/>
                    </a:lnTo>
                    <a:lnTo>
                      <a:pt x="19471" y="28469"/>
                    </a:lnTo>
                    <a:lnTo>
                      <a:pt x="17528" y="34391"/>
                    </a:lnTo>
                    <a:lnTo>
                      <a:pt x="15436" y="32949"/>
                    </a:lnTo>
                    <a:lnTo>
                      <a:pt x="10219" y="33776"/>
                    </a:lnTo>
                    <a:lnTo>
                      <a:pt x="6139" y="25792"/>
                    </a:lnTo>
                    <a:lnTo>
                      <a:pt x="0" y="21338"/>
                    </a:lnTo>
                    <a:lnTo>
                      <a:pt x="3224" y="17570"/>
                    </a:lnTo>
                    <a:lnTo>
                      <a:pt x="4507" y="13401"/>
                    </a:lnTo>
                    <a:lnTo>
                      <a:pt x="12869" y="8364"/>
                    </a:lnTo>
                    <a:lnTo>
                      <a:pt x="13816" y="3676"/>
                    </a:lnTo>
                    <a:lnTo>
                      <a:pt x="15782" y="1942"/>
                    </a:lnTo>
                    <a:lnTo>
                      <a:pt x="23539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1" name="Freeform 268">
                <a:extLst>
                  <a:ext uri="{FF2B5EF4-FFF2-40B4-BE49-F238E27FC236}">
                    <a16:creationId xmlns:a16="http://schemas.microsoft.com/office/drawing/2014/main" id="{71AC9BEF-D345-BF81-C82E-0921B5CB0551}"/>
                  </a:ext>
                </a:extLst>
              </p:cNvPr>
              <p:cNvSpPr>
                <a:spLocks noChangeAspect="1"/>
              </p:cNvSpPr>
              <p:nvPr>
                <p:custDataLst>
                  <p:tags r:id="rId192"/>
                </p:custDataLst>
              </p:nvPr>
            </p:nvSpPr>
            <p:spPr>
              <a:xfrm>
                <a:off x="4843531" y="4680044"/>
                <a:ext cx="45205" cy="43913"/>
              </a:xfrm>
              <a:custGeom>
                <a:avLst/>
                <a:gdLst/>
                <a:ahLst/>
                <a:cxnLst/>
                <a:rect l="0" t="0" r="0" b="0"/>
                <a:pathLst>
                  <a:path w="46413" h="45087">
                    <a:moveTo>
                      <a:pt x="46412" y="33868"/>
                    </a:moveTo>
                    <a:lnTo>
                      <a:pt x="42743" y="40403"/>
                    </a:lnTo>
                    <a:lnTo>
                      <a:pt x="35681" y="45086"/>
                    </a:lnTo>
                    <a:lnTo>
                      <a:pt x="31171" y="40200"/>
                    </a:lnTo>
                    <a:lnTo>
                      <a:pt x="15433" y="38265"/>
                    </a:lnTo>
                    <a:lnTo>
                      <a:pt x="3408" y="43034"/>
                    </a:lnTo>
                    <a:lnTo>
                      <a:pt x="0" y="37667"/>
                    </a:lnTo>
                    <a:lnTo>
                      <a:pt x="4823" y="30778"/>
                    </a:lnTo>
                    <a:lnTo>
                      <a:pt x="756" y="18797"/>
                    </a:lnTo>
                    <a:lnTo>
                      <a:pt x="6563" y="19206"/>
                    </a:lnTo>
                    <a:lnTo>
                      <a:pt x="23413" y="10688"/>
                    </a:lnTo>
                    <a:lnTo>
                      <a:pt x="24915" y="8543"/>
                    </a:lnTo>
                    <a:lnTo>
                      <a:pt x="24532" y="2498"/>
                    </a:lnTo>
                    <a:lnTo>
                      <a:pt x="25829" y="32"/>
                    </a:lnTo>
                    <a:lnTo>
                      <a:pt x="27380" y="0"/>
                    </a:lnTo>
                    <a:lnTo>
                      <a:pt x="36143" y="5856"/>
                    </a:lnTo>
                    <a:lnTo>
                      <a:pt x="36590" y="18059"/>
                    </a:lnTo>
                    <a:lnTo>
                      <a:pt x="40436" y="22853"/>
                    </a:lnTo>
                    <a:lnTo>
                      <a:pt x="41744" y="29825"/>
                    </a:lnTo>
                    <a:lnTo>
                      <a:pt x="45045" y="33366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2" name="Freeform 269">
                <a:extLst>
                  <a:ext uri="{FF2B5EF4-FFF2-40B4-BE49-F238E27FC236}">
                    <a16:creationId xmlns:a16="http://schemas.microsoft.com/office/drawing/2014/main" id="{64F70A75-EE95-E366-513B-0043C63ECDCF}"/>
                  </a:ext>
                </a:extLst>
              </p:cNvPr>
              <p:cNvSpPr>
                <a:spLocks noChangeAspect="1"/>
              </p:cNvSpPr>
              <p:nvPr>
                <p:custDataLst>
                  <p:tags r:id="rId193"/>
                </p:custDataLst>
              </p:nvPr>
            </p:nvSpPr>
            <p:spPr>
              <a:xfrm>
                <a:off x="4894923" y="4741460"/>
                <a:ext cx="48446" cy="59728"/>
              </a:xfrm>
              <a:custGeom>
                <a:avLst/>
                <a:gdLst/>
                <a:ahLst/>
                <a:cxnLst/>
                <a:rect l="0" t="0" r="0" b="0"/>
                <a:pathLst>
                  <a:path w="49741" h="61325">
                    <a:moveTo>
                      <a:pt x="40088" y="27356"/>
                    </a:moveTo>
                    <a:lnTo>
                      <a:pt x="49740" y="19568"/>
                    </a:lnTo>
                    <a:lnTo>
                      <a:pt x="45835" y="55442"/>
                    </a:lnTo>
                    <a:lnTo>
                      <a:pt x="38533" y="56366"/>
                    </a:lnTo>
                    <a:lnTo>
                      <a:pt x="35999" y="58878"/>
                    </a:lnTo>
                    <a:lnTo>
                      <a:pt x="28361" y="54187"/>
                    </a:lnTo>
                    <a:lnTo>
                      <a:pt x="19807" y="57355"/>
                    </a:lnTo>
                    <a:lnTo>
                      <a:pt x="18144" y="61324"/>
                    </a:lnTo>
                    <a:lnTo>
                      <a:pt x="9200" y="55805"/>
                    </a:lnTo>
                    <a:lnTo>
                      <a:pt x="4953" y="51539"/>
                    </a:lnTo>
                    <a:lnTo>
                      <a:pt x="3024" y="46705"/>
                    </a:lnTo>
                    <a:lnTo>
                      <a:pt x="0" y="45160"/>
                    </a:lnTo>
                    <a:lnTo>
                      <a:pt x="6112" y="33139"/>
                    </a:lnTo>
                    <a:lnTo>
                      <a:pt x="14623" y="30676"/>
                    </a:lnTo>
                    <a:lnTo>
                      <a:pt x="15329" y="13451"/>
                    </a:lnTo>
                    <a:lnTo>
                      <a:pt x="9963" y="8142"/>
                    </a:lnTo>
                    <a:lnTo>
                      <a:pt x="9543" y="1810"/>
                    </a:lnTo>
                    <a:lnTo>
                      <a:pt x="20927" y="0"/>
                    </a:lnTo>
                    <a:lnTo>
                      <a:pt x="35096" y="2174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3" name="Freeform 270">
                <a:extLst>
                  <a:ext uri="{FF2B5EF4-FFF2-40B4-BE49-F238E27FC236}">
                    <a16:creationId xmlns:a16="http://schemas.microsoft.com/office/drawing/2014/main" id="{C1D6547F-1441-CE4E-E514-C99815A50B30}"/>
                  </a:ext>
                </a:extLst>
              </p:cNvPr>
              <p:cNvSpPr>
                <a:spLocks noChangeAspect="1"/>
              </p:cNvSpPr>
              <p:nvPr>
                <p:custDataLst>
                  <p:tags r:id="rId194"/>
                </p:custDataLst>
              </p:nvPr>
            </p:nvSpPr>
            <p:spPr>
              <a:xfrm>
                <a:off x="4939564" y="4760518"/>
                <a:ext cx="47022" cy="34941"/>
              </a:xfrm>
              <a:custGeom>
                <a:avLst/>
                <a:gdLst/>
                <a:ahLst/>
                <a:cxnLst/>
                <a:rect l="0" t="0" r="0" b="0"/>
                <a:pathLst>
                  <a:path w="48279" h="35875">
                    <a:moveTo>
                      <a:pt x="41210" y="29042"/>
                    </a:moveTo>
                    <a:lnTo>
                      <a:pt x="29975" y="28718"/>
                    </a:lnTo>
                    <a:lnTo>
                      <a:pt x="24010" y="33343"/>
                    </a:lnTo>
                    <a:lnTo>
                      <a:pt x="17819" y="27246"/>
                    </a:lnTo>
                    <a:lnTo>
                      <a:pt x="11577" y="26561"/>
                    </a:lnTo>
                    <a:lnTo>
                      <a:pt x="8914" y="31409"/>
                    </a:lnTo>
                    <a:lnTo>
                      <a:pt x="0" y="35874"/>
                    </a:lnTo>
                    <a:lnTo>
                      <a:pt x="3905" y="0"/>
                    </a:lnTo>
                    <a:lnTo>
                      <a:pt x="42266" y="1421"/>
                    </a:lnTo>
                    <a:lnTo>
                      <a:pt x="45142" y="2408"/>
                    </a:lnTo>
                    <a:lnTo>
                      <a:pt x="46299" y="4606"/>
                    </a:lnTo>
                    <a:lnTo>
                      <a:pt x="48278" y="2205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4" name="Freeform 271">
                <a:extLst>
                  <a:ext uri="{FF2B5EF4-FFF2-40B4-BE49-F238E27FC236}">
                    <a16:creationId xmlns:a16="http://schemas.microsoft.com/office/drawing/2014/main" id="{4895F821-D5D2-2A2C-82AE-CBA64223D9E6}"/>
                  </a:ext>
                </a:extLst>
              </p:cNvPr>
              <p:cNvSpPr>
                <a:spLocks noChangeAspect="1"/>
              </p:cNvSpPr>
              <p:nvPr>
                <p:custDataLst>
                  <p:tags r:id="rId195"/>
                </p:custDataLst>
              </p:nvPr>
            </p:nvSpPr>
            <p:spPr>
              <a:xfrm>
                <a:off x="5162262" y="4843437"/>
                <a:ext cx="124201" cy="147608"/>
              </a:xfrm>
              <a:custGeom>
                <a:avLst/>
                <a:gdLst/>
                <a:ahLst/>
                <a:cxnLst/>
                <a:rect l="0" t="0" r="0" b="0"/>
                <a:pathLst>
                  <a:path w="127521" h="151554">
                    <a:moveTo>
                      <a:pt x="118139" y="22869"/>
                    </a:moveTo>
                    <a:lnTo>
                      <a:pt x="126978" y="20966"/>
                    </a:lnTo>
                    <a:lnTo>
                      <a:pt x="127520" y="25625"/>
                    </a:lnTo>
                    <a:lnTo>
                      <a:pt x="124780" y="45507"/>
                    </a:lnTo>
                    <a:lnTo>
                      <a:pt x="122215" y="50834"/>
                    </a:lnTo>
                    <a:lnTo>
                      <a:pt x="116051" y="54734"/>
                    </a:lnTo>
                    <a:lnTo>
                      <a:pt x="111702" y="61200"/>
                    </a:lnTo>
                    <a:lnTo>
                      <a:pt x="112959" y="68889"/>
                    </a:lnTo>
                    <a:lnTo>
                      <a:pt x="104707" y="74481"/>
                    </a:lnTo>
                    <a:lnTo>
                      <a:pt x="100820" y="81435"/>
                    </a:lnTo>
                    <a:lnTo>
                      <a:pt x="98046" y="80927"/>
                    </a:lnTo>
                    <a:lnTo>
                      <a:pt x="92276" y="76085"/>
                    </a:lnTo>
                    <a:lnTo>
                      <a:pt x="87413" y="80016"/>
                    </a:lnTo>
                    <a:lnTo>
                      <a:pt x="78892" y="81359"/>
                    </a:lnTo>
                    <a:lnTo>
                      <a:pt x="77884" y="83843"/>
                    </a:lnTo>
                    <a:lnTo>
                      <a:pt x="80037" y="88314"/>
                    </a:lnTo>
                    <a:lnTo>
                      <a:pt x="76270" y="93685"/>
                    </a:lnTo>
                    <a:lnTo>
                      <a:pt x="74644" y="93853"/>
                    </a:lnTo>
                    <a:lnTo>
                      <a:pt x="73690" y="91465"/>
                    </a:lnTo>
                    <a:lnTo>
                      <a:pt x="72547" y="82899"/>
                    </a:lnTo>
                    <a:lnTo>
                      <a:pt x="69973" y="85668"/>
                    </a:lnTo>
                    <a:lnTo>
                      <a:pt x="67367" y="92054"/>
                    </a:lnTo>
                    <a:lnTo>
                      <a:pt x="67550" y="99584"/>
                    </a:lnTo>
                    <a:lnTo>
                      <a:pt x="71071" y="104738"/>
                    </a:lnTo>
                    <a:lnTo>
                      <a:pt x="66920" y="107070"/>
                    </a:lnTo>
                    <a:lnTo>
                      <a:pt x="57174" y="108177"/>
                    </a:lnTo>
                    <a:lnTo>
                      <a:pt x="52500" y="108373"/>
                    </a:lnTo>
                    <a:lnTo>
                      <a:pt x="50943" y="111897"/>
                    </a:lnTo>
                    <a:lnTo>
                      <a:pt x="49890" y="117453"/>
                    </a:lnTo>
                    <a:lnTo>
                      <a:pt x="50088" y="122266"/>
                    </a:lnTo>
                    <a:lnTo>
                      <a:pt x="51537" y="126354"/>
                    </a:lnTo>
                    <a:lnTo>
                      <a:pt x="55619" y="132387"/>
                    </a:lnTo>
                    <a:lnTo>
                      <a:pt x="56337" y="133522"/>
                    </a:lnTo>
                    <a:lnTo>
                      <a:pt x="53564" y="133955"/>
                    </a:lnTo>
                    <a:lnTo>
                      <a:pt x="49567" y="138796"/>
                    </a:lnTo>
                    <a:lnTo>
                      <a:pt x="47699" y="146312"/>
                    </a:lnTo>
                    <a:lnTo>
                      <a:pt x="43976" y="151553"/>
                    </a:lnTo>
                    <a:lnTo>
                      <a:pt x="42330" y="151513"/>
                    </a:lnTo>
                    <a:lnTo>
                      <a:pt x="37669" y="145027"/>
                    </a:lnTo>
                    <a:lnTo>
                      <a:pt x="37420" y="142162"/>
                    </a:lnTo>
                    <a:lnTo>
                      <a:pt x="33298" y="137777"/>
                    </a:lnTo>
                    <a:lnTo>
                      <a:pt x="30643" y="131820"/>
                    </a:lnTo>
                    <a:lnTo>
                      <a:pt x="20379" y="122571"/>
                    </a:lnTo>
                    <a:lnTo>
                      <a:pt x="15114" y="124165"/>
                    </a:lnTo>
                    <a:lnTo>
                      <a:pt x="6432" y="116860"/>
                    </a:lnTo>
                    <a:lnTo>
                      <a:pt x="0" y="114661"/>
                    </a:lnTo>
                    <a:lnTo>
                      <a:pt x="3696" y="101775"/>
                    </a:lnTo>
                    <a:lnTo>
                      <a:pt x="6606" y="97138"/>
                    </a:lnTo>
                    <a:lnTo>
                      <a:pt x="10043" y="91647"/>
                    </a:lnTo>
                    <a:lnTo>
                      <a:pt x="6728" y="81801"/>
                    </a:lnTo>
                    <a:lnTo>
                      <a:pt x="11122" y="75365"/>
                    </a:lnTo>
                    <a:lnTo>
                      <a:pt x="11812" y="66190"/>
                    </a:lnTo>
                    <a:lnTo>
                      <a:pt x="9785" y="62991"/>
                    </a:lnTo>
                    <a:lnTo>
                      <a:pt x="4997" y="62428"/>
                    </a:lnTo>
                    <a:lnTo>
                      <a:pt x="9061" y="55788"/>
                    </a:lnTo>
                    <a:lnTo>
                      <a:pt x="14826" y="52912"/>
                    </a:lnTo>
                    <a:lnTo>
                      <a:pt x="13061" y="49584"/>
                    </a:lnTo>
                    <a:lnTo>
                      <a:pt x="13873" y="48584"/>
                    </a:lnTo>
                    <a:lnTo>
                      <a:pt x="24025" y="39581"/>
                    </a:lnTo>
                    <a:lnTo>
                      <a:pt x="40872" y="48308"/>
                    </a:lnTo>
                    <a:lnTo>
                      <a:pt x="51114" y="45778"/>
                    </a:lnTo>
                    <a:lnTo>
                      <a:pt x="66782" y="49318"/>
                    </a:lnTo>
                    <a:lnTo>
                      <a:pt x="79063" y="34062"/>
                    </a:lnTo>
                    <a:lnTo>
                      <a:pt x="77142" y="19422"/>
                    </a:lnTo>
                    <a:lnTo>
                      <a:pt x="81063" y="5578"/>
                    </a:lnTo>
                    <a:lnTo>
                      <a:pt x="97619" y="0"/>
                    </a:lnTo>
                    <a:lnTo>
                      <a:pt x="101865" y="4592"/>
                    </a:lnTo>
                    <a:lnTo>
                      <a:pt x="102426" y="7115"/>
                    </a:lnTo>
                    <a:lnTo>
                      <a:pt x="99072" y="10784"/>
                    </a:lnTo>
                    <a:lnTo>
                      <a:pt x="99578" y="11928"/>
                    </a:lnTo>
                    <a:lnTo>
                      <a:pt x="109122" y="15309"/>
                    </a:lnTo>
                    <a:lnTo>
                      <a:pt x="106121" y="21186"/>
                    </a:lnTo>
                    <a:lnTo>
                      <a:pt x="107150" y="2219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5" name="Freeform 272">
                <a:extLst>
                  <a:ext uri="{FF2B5EF4-FFF2-40B4-BE49-F238E27FC236}">
                    <a16:creationId xmlns:a16="http://schemas.microsoft.com/office/drawing/2014/main" id="{13110468-455B-3BF1-471A-2670C9607BC4}"/>
                  </a:ext>
                </a:extLst>
              </p:cNvPr>
              <p:cNvSpPr>
                <a:spLocks noChangeAspect="1"/>
              </p:cNvSpPr>
              <p:nvPr>
                <p:custDataLst>
                  <p:tags r:id="rId196"/>
                </p:custDataLst>
              </p:nvPr>
            </p:nvSpPr>
            <p:spPr>
              <a:xfrm>
                <a:off x="5165811" y="4802029"/>
                <a:ext cx="91529" cy="89443"/>
              </a:xfrm>
              <a:custGeom>
                <a:avLst/>
                <a:gdLst/>
                <a:ahLst/>
                <a:cxnLst/>
                <a:rect l="0" t="0" r="0" b="0"/>
                <a:pathLst>
                  <a:path w="93976" h="91834">
                    <a:moveTo>
                      <a:pt x="71725" y="31190"/>
                    </a:moveTo>
                    <a:lnTo>
                      <a:pt x="74954" y="29132"/>
                    </a:lnTo>
                    <a:lnTo>
                      <a:pt x="84011" y="30649"/>
                    </a:lnTo>
                    <a:lnTo>
                      <a:pt x="84694" y="38800"/>
                    </a:lnTo>
                    <a:lnTo>
                      <a:pt x="93975" y="42515"/>
                    </a:lnTo>
                    <a:lnTo>
                      <a:pt x="77419" y="48093"/>
                    </a:lnTo>
                    <a:lnTo>
                      <a:pt x="73498" y="61937"/>
                    </a:lnTo>
                    <a:lnTo>
                      <a:pt x="75419" y="76577"/>
                    </a:lnTo>
                    <a:lnTo>
                      <a:pt x="63138" y="91833"/>
                    </a:lnTo>
                    <a:lnTo>
                      <a:pt x="47470" y="88293"/>
                    </a:lnTo>
                    <a:lnTo>
                      <a:pt x="37228" y="90823"/>
                    </a:lnTo>
                    <a:lnTo>
                      <a:pt x="20381" y="82096"/>
                    </a:lnTo>
                    <a:lnTo>
                      <a:pt x="16675" y="74067"/>
                    </a:lnTo>
                    <a:lnTo>
                      <a:pt x="6043" y="63615"/>
                    </a:lnTo>
                    <a:lnTo>
                      <a:pt x="8054" y="52678"/>
                    </a:lnTo>
                    <a:lnTo>
                      <a:pt x="0" y="46258"/>
                    </a:lnTo>
                    <a:lnTo>
                      <a:pt x="4338" y="37078"/>
                    </a:lnTo>
                    <a:lnTo>
                      <a:pt x="3555" y="28603"/>
                    </a:lnTo>
                    <a:lnTo>
                      <a:pt x="1589" y="23475"/>
                    </a:lnTo>
                    <a:lnTo>
                      <a:pt x="2080" y="20710"/>
                    </a:lnTo>
                    <a:lnTo>
                      <a:pt x="13849" y="17573"/>
                    </a:lnTo>
                    <a:lnTo>
                      <a:pt x="16943" y="18417"/>
                    </a:lnTo>
                    <a:lnTo>
                      <a:pt x="21595" y="24164"/>
                    </a:lnTo>
                    <a:lnTo>
                      <a:pt x="25712" y="24847"/>
                    </a:lnTo>
                    <a:lnTo>
                      <a:pt x="27803" y="23269"/>
                    </a:lnTo>
                    <a:lnTo>
                      <a:pt x="29201" y="19083"/>
                    </a:lnTo>
                    <a:lnTo>
                      <a:pt x="28849" y="10383"/>
                    </a:lnTo>
                    <a:lnTo>
                      <a:pt x="33733" y="2633"/>
                    </a:lnTo>
                    <a:lnTo>
                      <a:pt x="43983" y="0"/>
                    </a:lnTo>
                    <a:lnTo>
                      <a:pt x="50998" y="4042"/>
                    </a:lnTo>
                    <a:lnTo>
                      <a:pt x="53783" y="11354"/>
                    </a:lnTo>
                    <a:lnTo>
                      <a:pt x="65111" y="14798"/>
                    </a:lnTo>
                    <a:lnTo>
                      <a:pt x="66178" y="24634"/>
                    </a:lnTo>
                    <a:lnTo>
                      <a:pt x="69469" y="3012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6" name="Freeform 273">
                <a:extLst>
                  <a:ext uri="{FF2B5EF4-FFF2-40B4-BE49-F238E27FC236}">
                    <a16:creationId xmlns:a16="http://schemas.microsoft.com/office/drawing/2014/main" id="{3C7F20DC-C429-0487-C440-67F410149AF1}"/>
                  </a:ext>
                </a:extLst>
              </p:cNvPr>
              <p:cNvSpPr>
                <a:spLocks noChangeAspect="1"/>
              </p:cNvSpPr>
              <p:nvPr>
                <p:custDataLst>
                  <p:tags r:id="rId197"/>
                </p:custDataLst>
              </p:nvPr>
            </p:nvSpPr>
            <p:spPr>
              <a:xfrm>
                <a:off x="5077037" y="5112161"/>
                <a:ext cx="27448" cy="28483"/>
              </a:xfrm>
              <a:custGeom>
                <a:avLst/>
                <a:gdLst/>
                <a:ahLst/>
                <a:cxnLst/>
                <a:rect l="0" t="0" r="0" b="0"/>
                <a:pathLst>
                  <a:path w="28182" h="29244">
                    <a:moveTo>
                      <a:pt x="22801" y="12994"/>
                    </a:moveTo>
                    <a:lnTo>
                      <a:pt x="28181" y="12196"/>
                    </a:lnTo>
                    <a:lnTo>
                      <a:pt x="23776" y="24485"/>
                    </a:lnTo>
                    <a:lnTo>
                      <a:pt x="14087" y="29022"/>
                    </a:lnTo>
                    <a:lnTo>
                      <a:pt x="7533" y="29243"/>
                    </a:lnTo>
                    <a:lnTo>
                      <a:pt x="52" y="21083"/>
                    </a:lnTo>
                    <a:lnTo>
                      <a:pt x="0" y="0"/>
                    </a:lnTo>
                    <a:lnTo>
                      <a:pt x="5304" y="535"/>
                    </a:lnTo>
                    <a:lnTo>
                      <a:pt x="9492" y="2329"/>
                    </a:lnTo>
                    <a:lnTo>
                      <a:pt x="18816" y="1076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7" name="Freeform 274">
                <a:extLst>
                  <a:ext uri="{FF2B5EF4-FFF2-40B4-BE49-F238E27FC236}">
                    <a16:creationId xmlns:a16="http://schemas.microsoft.com/office/drawing/2014/main" id="{3ADB2194-7A10-C238-BC75-A7C86AF3F6F5}"/>
                  </a:ext>
                </a:extLst>
              </p:cNvPr>
              <p:cNvSpPr>
                <a:spLocks noChangeAspect="1"/>
              </p:cNvSpPr>
              <p:nvPr>
                <p:custDataLst>
                  <p:tags r:id="rId198"/>
                </p:custDataLst>
              </p:nvPr>
            </p:nvSpPr>
            <p:spPr>
              <a:xfrm>
                <a:off x="4960115" y="5089949"/>
                <a:ext cx="129965" cy="83319"/>
              </a:xfrm>
              <a:custGeom>
                <a:avLst/>
                <a:gdLst/>
                <a:ahLst/>
                <a:cxnLst/>
                <a:rect l="0" t="0" r="0" b="0"/>
                <a:pathLst>
                  <a:path w="133439" h="85546">
                    <a:moveTo>
                      <a:pt x="75940" y="7663"/>
                    </a:moveTo>
                    <a:lnTo>
                      <a:pt x="84847" y="7053"/>
                    </a:lnTo>
                    <a:lnTo>
                      <a:pt x="90614" y="10269"/>
                    </a:lnTo>
                    <a:lnTo>
                      <a:pt x="95120" y="10659"/>
                    </a:lnTo>
                    <a:lnTo>
                      <a:pt x="103979" y="7502"/>
                    </a:lnTo>
                    <a:lnTo>
                      <a:pt x="106193" y="13544"/>
                    </a:lnTo>
                    <a:lnTo>
                      <a:pt x="109877" y="17789"/>
                    </a:lnTo>
                    <a:lnTo>
                      <a:pt x="114689" y="20910"/>
                    </a:lnTo>
                    <a:lnTo>
                      <a:pt x="120048" y="22806"/>
                    </a:lnTo>
                    <a:lnTo>
                      <a:pt x="120100" y="43889"/>
                    </a:lnTo>
                    <a:lnTo>
                      <a:pt x="127581" y="52049"/>
                    </a:lnTo>
                    <a:lnTo>
                      <a:pt x="131860" y="62415"/>
                    </a:lnTo>
                    <a:lnTo>
                      <a:pt x="133438" y="73725"/>
                    </a:lnTo>
                    <a:lnTo>
                      <a:pt x="128971" y="71131"/>
                    </a:lnTo>
                    <a:lnTo>
                      <a:pt x="126449" y="66871"/>
                    </a:lnTo>
                    <a:lnTo>
                      <a:pt x="122301" y="65824"/>
                    </a:lnTo>
                    <a:lnTo>
                      <a:pt x="114345" y="68002"/>
                    </a:lnTo>
                    <a:lnTo>
                      <a:pt x="114650" y="73304"/>
                    </a:lnTo>
                    <a:lnTo>
                      <a:pt x="112427" y="74424"/>
                    </a:lnTo>
                    <a:lnTo>
                      <a:pt x="82374" y="69965"/>
                    </a:lnTo>
                    <a:lnTo>
                      <a:pt x="45576" y="70429"/>
                    </a:lnTo>
                    <a:lnTo>
                      <a:pt x="36883" y="77586"/>
                    </a:lnTo>
                    <a:lnTo>
                      <a:pt x="39195" y="82180"/>
                    </a:lnTo>
                    <a:lnTo>
                      <a:pt x="37933" y="84338"/>
                    </a:lnTo>
                    <a:lnTo>
                      <a:pt x="25081" y="85545"/>
                    </a:lnTo>
                    <a:lnTo>
                      <a:pt x="25242" y="81187"/>
                    </a:lnTo>
                    <a:lnTo>
                      <a:pt x="22482" y="77234"/>
                    </a:lnTo>
                    <a:lnTo>
                      <a:pt x="22086" y="72783"/>
                    </a:lnTo>
                    <a:lnTo>
                      <a:pt x="13557" y="68669"/>
                    </a:lnTo>
                    <a:lnTo>
                      <a:pt x="6067" y="55600"/>
                    </a:lnTo>
                    <a:lnTo>
                      <a:pt x="8383" y="52459"/>
                    </a:lnTo>
                    <a:lnTo>
                      <a:pt x="15796" y="50148"/>
                    </a:lnTo>
                    <a:lnTo>
                      <a:pt x="15909" y="46947"/>
                    </a:lnTo>
                    <a:lnTo>
                      <a:pt x="14013" y="40423"/>
                    </a:lnTo>
                    <a:lnTo>
                      <a:pt x="8622" y="36735"/>
                    </a:lnTo>
                    <a:lnTo>
                      <a:pt x="2208" y="26401"/>
                    </a:lnTo>
                    <a:lnTo>
                      <a:pt x="1111" y="21019"/>
                    </a:lnTo>
                    <a:lnTo>
                      <a:pt x="0" y="15559"/>
                    </a:lnTo>
                    <a:lnTo>
                      <a:pt x="2102" y="6668"/>
                    </a:lnTo>
                    <a:lnTo>
                      <a:pt x="3763" y="4600"/>
                    </a:lnTo>
                    <a:lnTo>
                      <a:pt x="11632" y="2594"/>
                    </a:lnTo>
                    <a:lnTo>
                      <a:pt x="22960" y="3670"/>
                    </a:lnTo>
                    <a:lnTo>
                      <a:pt x="32090" y="8828"/>
                    </a:lnTo>
                    <a:lnTo>
                      <a:pt x="39271" y="5762"/>
                    </a:lnTo>
                    <a:lnTo>
                      <a:pt x="46513" y="7155"/>
                    </a:lnTo>
                    <a:lnTo>
                      <a:pt x="51759" y="3596"/>
                    </a:lnTo>
                    <a:lnTo>
                      <a:pt x="58181" y="6380"/>
                    </a:lnTo>
                    <a:lnTo>
                      <a:pt x="62068" y="1377"/>
                    </a:lnTo>
                    <a:lnTo>
                      <a:pt x="65529" y="0"/>
                    </a:lnTo>
                    <a:lnTo>
                      <a:pt x="69745" y="167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8" name="Freeform 275">
                <a:extLst>
                  <a:ext uri="{FF2B5EF4-FFF2-40B4-BE49-F238E27FC236}">
                    <a16:creationId xmlns:a16="http://schemas.microsoft.com/office/drawing/2014/main" id="{F6F7C2C1-D205-EA38-1A5B-30C7A5A9D58C}"/>
                  </a:ext>
                </a:extLst>
              </p:cNvPr>
              <p:cNvSpPr>
                <a:spLocks noChangeAspect="1"/>
              </p:cNvSpPr>
              <p:nvPr>
                <p:custDataLst>
                  <p:tags r:id="rId199"/>
                </p:custDataLst>
              </p:nvPr>
            </p:nvSpPr>
            <p:spPr>
              <a:xfrm>
                <a:off x="5084374" y="5087541"/>
                <a:ext cx="55836" cy="74471"/>
              </a:xfrm>
              <a:custGeom>
                <a:avLst/>
                <a:gdLst/>
                <a:ahLst/>
                <a:cxnLst/>
                <a:rect l="0" t="0" r="0" b="0"/>
                <a:pathLst>
                  <a:path w="57329" h="76462">
                    <a:moveTo>
                      <a:pt x="47593" y="2956"/>
                    </a:moveTo>
                    <a:lnTo>
                      <a:pt x="51802" y="16963"/>
                    </a:lnTo>
                    <a:lnTo>
                      <a:pt x="52946" y="30587"/>
                    </a:lnTo>
                    <a:lnTo>
                      <a:pt x="57328" y="43039"/>
                    </a:lnTo>
                    <a:lnTo>
                      <a:pt x="57204" y="57760"/>
                    </a:lnTo>
                    <a:lnTo>
                      <a:pt x="51024" y="68500"/>
                    </a:lnTo>
                    <a:lnTo>
                      <a:pt x="48644" y="76461"/>
                    </a:lnTo>
                    <a:lnTo>
                      <a:pt x="40628" y="76268"/>
                    </a:lnTo>
                    <a:lnTo>
                      <a:pt x="32693" y="73155"/>
                    </a:lnTo>
                    <a:lnTo>
                      <a:pt x="21391" y="74718"/>
                    </a:lnTo>
                    <a:lnTo>
                      <a:pt x="14244" y="73058"/>
                    </a:lnTo>
                    <a:lnTo>
                      <a:pt x="5857" y="76198"/>
                    </a:lnTo>
                    <a:lnTo>
                      <a:pt x="4279" y="64888"/>
                    </a:lnTo>
                    <a:lnTo>
                      <a:pt x="0" y="54522"/>
                    </a:lnTo>
                    <a:lnTo>
                      <a:pt x="6554" y="54301"/>
                    </a:lnTo>
                    <a:lnTo>
                      <a:pt x="16243" y="49764"/>
                    </a:lnTo>
                    <a:lnTo>
                      <a:pt x="20648" y="37475"/>
                    </a:lnTo>
                    <a:lnTo>
                      <a:pt x="28384" y="31417"/>
                    </a:lnTo>
                    <a:lnTo>
                      <a:pt x="34088" y="28686"/>
                    </a:lnTo>
                    <a:lnTo>
                      <a:pt x="38612" y="22895"/>
                    </a:lnTo>
                    <a:lnTo>
                      <a:pt x="40083" y="20432"/>
                    </a:lnTo>
                    <a:lnTo>
                      <a:pt x="41668" y="16553"/>
                    </a:lnTo>
                    <a:lnTo>
                      <a:pt x="41399" y="14498"/>
                    </a:lnTo>
                    <a:lnTo>
                      <a:pt x="40184" y="12498"/>
                    </a:lnTo>
                    <a:lnTo>
                      <a:pt x="38933" y="8732"/>
                    </a:lnTo>
                    <a:lnTo>
                      <a:pt x="37837" y="1166"/>
                    </a:lnTo>
                    <a:lnTo>
                      <a:pt x="38951" y="0"/>
                    </a:lnTo>
                    <a:lnTo>
                      <a:pt x="42215" y="1769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69" name="Freeform 276">
                <a:extLst>
                  <a:ext uri="{FF2B5EF4-FFF2-40B4-BE49-F238E27FC236}">
                    <a16:creationId xmlns:a16="http://schemas.microsoft.com/office/drawing/2014/main" id="{1AE88B4F-866B-CB0D-E075-FCE59A63D85C}"/>
                  </a:ext>
                </a:extLst>
              </p:cNvPr>
              <p:cNvSpPr>
                <a:spLocks noChangeAspect="1"/>
              </p:cNvSpPr>
              <p:nvPr>
                <p:custDataLst>
                  <p:tags r:id="rId200"/>
                </p:custDataLst>
              </p:nvPr>
            </p:nvSpPr>
            <p:spPr>
              <a:xfrm>
                <a:off x="5131752" y="5117331"/>
                <a:ext cx="39543" cy="50894"/>
              </a:xfrm>
              <a:custGeom>
                <a:avLst/>
                <a:gdLst/>
                <a:ahLst/>
                <a:cxnLst/>
                <a:rect l="0" t="0" r="0" b="0"/>
                <a:pathLst>
                  <a:path w="40600" h="52254">
                    <a:moveTo>
                      <a:pt x="36559" y="38077"/>
                    </a:moveTo>
                    <a:lnTo>
                      <a:pt x="31309" y="39444"/>
                    </a:lnTo>
                    <a:lnTo>
                      <a:pt x="21165" y="52253"/>
                    </a:lnTo>
                    <a:lnTo>
                      <a:pt x="12970" y="49696"/>
                    </a:lnTo>
                    <a:lnTo>
                      <a:pt x="7930" y="46059"/>
                    </a:lnTo>
                    <a:lnTo>
                      <a:pt x="0" y="45874"/>
                    </a:lnTo>
                    <a:lnTo>
                      <a:pt x="2380" y="37913"/>
                    </a:lnTo>
                    <a:lnTo>
                      <a:pt x="8560" y="27173"/>
                    </a:lnTo>
                    <a:lnTo>
                      <a:pt x="8684" y="12452"/>
                    </a:lnTo>
                    <a:lnTo>
                      <a:pt x="4302" y="0"/>
                    </a:lnTo>
                    <a:lnTo>
                      <a:pt x="16814" y="1637"/>
                    </a:lnTo>
                    <a:lnTo>
                      <a:pt x="32025" y="5265"/>
                    </a:lnTo>
                    <a:lnTo>
                      <a:pt x="39545" y="13386"/>
                    </a:lnTo>
                    <a:lnTo>
                      <a:pt x="40599" y="23857"/>
                    </a:lnTo>
                    <a:lnTo>
                      <a:pt x="32236" y="28385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0" name="Freeform 277">
                <a:extLst>
                  <a:ext uri="{FF2B5EF4-FFF2-40B4-BE49-F238E27FC236}">
                    <a16:creationId xmlns:a16="http://schemas.microsoft.com/office/drawing/2014/main" id="{ACB3774F-F56B-1C19-2BBA-9A62A483A087}"/>
                  </a:ext>
                </a:extLst>
              </p:cNvPr>
              <p:cNvSpPr>
                <a:spLocks noChangeAspect="1"/>
              </p:cNvSpPr>
              <p:nvPr>
                <p:custDataLst>
                  <p:tags r:id="rId201"/>
                </p:custDataLst>
              </p:nvPr>
            </p:nvSpPr>
            <p:spPr>
              <a:xfrm>
                <a:off x="5130728" y="5081565"/>
                <a:ext cx="64033" cy="72853"/>
              </a:xfrm>
              <a:custGeom>
                <a:avLst/>
                <a:gdLst/>
                <a:ahLst/>
                <a:cxnLst/>
                <a:rect l="0" t="0" r="0" b="0"/>
                <a:pathLst>
                  <a:path w="65745" h="74800">
                    <a:moveTo>
                      <a:pt x="44608" y="26862"/>
                    </a:moveTo>
                    <a:lnTo>
                      <a:pt x="50642" y="25814"/>
                    </a:lnTo>
                    <a:lnTo>
                      <a:pt x="58388" y="25361"/>
                    </a:lnTo>
                    <a:lnTo>
                      <a:pt x="61605" y="27815"/>
                    </a:lnTo>
                    <a:lnTo>
                      <a:pt x="64493" y="32209"/>
                    </a:lnTo>
                    <a:lnTo>
                      <a:pt x="65744" y="43584"/>
                    </a:lnTo>
                    <a:lnTo>
                      <a:pt x="62564" y="51100"/>
                    </a:lnTo>
                    <a:lnTo>
                      <a:pt x="60848" y="59870"/>
                    </a:lnTo>
                    <a:lnTo>
                      <a:pt x="56121" y="66113"/>
                    </a:lnTo>
                    <a:lnTo>
                      <a:pt x="47067" y="68584"/>
                    </a:lnTo>
                    <a:lnTo>
                      <a:pt x="37610" y="74799"/>
                    </a:lnTo>
                    <a:lnTo>
                      <a:pt x="33287" y="65107"/>
                    </a:lnTo>
                    <a:lnTo>
                      <a:pt x="41650" y="60579"/>
                    </a:lnTo>
                    <a:lnTo>
                      <a:pt x="40596" y="50108"/>
                    </a:lnTo>
                    <a:lnTo>
                      <a:pt x="33076" y="41987"/>
                    </a:lnTo>
                    <a:lnTo>
                      <a:pt x="17865" y="38359"/>
                    </a:lnTo>
                    <a:lnTo>
                      <a:pt x="5353" y="36722"/>
                    </a:lnTo>
                    <a:lnTo>
                      <a:pt x="4209" y="23098"/>
                    </a:lnTo>
                    <a:lnTo>
                      <a:pt x="0" y="9091"/>
                    </a:lnTo>
                    <a:lnTo>
                      <a:pt x="16914" y="3013"/>
                    </a:lnTo>
                    <a:lnTo>
                      <a:pt x="20160" y="3365"/>
                    </a:lnTo>
                    <a:lnTo>
                      <a:pt x="24228" y="723"/>
                    </a:lnTo>
                    <a:lnTo>
                      <a:pt x="29958" y="0"/>
                    </a:lnTo>
                    <a:lnTo>
                      <a:pt x="35276" y="1387"/>
                    </a:lnTo>
                    <a:lnTo>
                      <a:pt x="38088" y="5050"/>
                    </a:lnTo>
                    <a:lnTo>
                      <a:pt x="37592" y="12556"/>
                    </a:lnTo>
                    <a:lnTo>
                      <a:pt x="35254" y="17387"/>
                    </a:lnTo>
                    <a:lnTo>
                      <a:pt x="34958" y="21290"/>
                    </a:lnTo>
                    <a:lnTo>
                      <a:pt x="40516" y="2607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1" name="Freeform 278">
                <a:extLst>
                  <a:ext uri="{FF2B5EF4-FFF2-40B4-BE49-F238E27FC236}">
                    <a16:creationId xmlns:a16="http://schemas.microsoft.com/office/drawing/2014/main" id="{82402CCD-3F75-B58D-B329-47A499643179}"/>
                  </a:ext>
                </a:extLst>
              </p:cNvPr>
              <p:cNvSpPr>
                <a:spLocks noChangeAspect="1"/>
              </p:cNvSpPr>
              <p:nvPr>
                <p:custDataLst>
                  <p:tags r:id="rId202"/>
                </p:custDataLst>
              </p:nvPr>
            </p:nvSpPr>
            <p:spPr>
              <a:xfrm>
                <a:off x="5176535" y="5092965"/>
                <a:ext cx="32363" cy="35091"/>
              </a:xfrm>
              <a:custGeom>
                <a:avLst/>
                <a:gdLst/>
                <a:ahLst/>
                <a:cxnLst/>
                <a:rect l="0" t="0" r="0" b="0"/>
                <a:pathLst>
                  <a:path w="33228" h="36029">
                    <a:moveTo>
                      <a:pt x="15241" y="3413"/>
                    </a:moveTo>
                    <a:lnTo>
                      <a:pt x="16541" y="1128"/>
                    </a:lnTo>
                    <a:lnTo>
                      <a:pt x="19168" y="707"/>
                    </a:lnTo>
                    <a:lnTo>
                      <a:pt x="20961" y="2649"/>
                    </a:lnTo>
                    <a:lnTo>
                      <a:pt x="22151" y="9387"/>
                    </a:lnTo>
                    <a:lnTo>
                      <a:pt x="30189" y="8219"/>
                    </a:lnTo>
                    <a:lnTo>
                      <a:pt x="31343" y="10601"/>
                    </a:lnTo>
                    <a:lnTo>
                      <a:pt x="31128" y="15194"/>
                    </a:lnTo>
                    <a:lnTo>
                      <a:pt x="33227" y="19770"/>
                    </a:lnTo>
                    <a:lnTo>
                      <a:pt x="31634" y="29605"/>
                    </a:lnTo>
                    <a:lnTo>
                      <a:pt x="32464" y="33709"/>
                    </a:lnTo>
                    <a:lnTo>
                      <a:pt x="29389" y="36028"/>
                    </a:lnTo>
                    <a:lnTo>
                      <a:pt x="18713" y="31879"/>
                    </a:lnTo>
                    <a:lnTo>
                      <a:pt x="17462" y="20504"/>
                    </a:lnTo>
                    <a:lnTo>
                      <a:pt x="14574" y="16110"/>
                    </a:lnTo>
                    <a:lnTo>
                      <a:pt x="11357" y="13656"/>
                    </a:lnTo>
                    <a:lnTo>
                      <a:pt x="3611" y="14109"/>
                    </a:lnTo>
                    <a:lnTo>
                      <a:pt x="1756" y="10528"/>
                    </a:lnTo>
                    <a:lnTo>
                      <a:pt x="0" y="4217"/>
                    </a:lnTo>
                    <a:lnTo>
                      <a:pt x="1166" y="1740"/>
                    </a:lnTo>
                    <a:lnTo>
                      <a:pt x="770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2" name="Freeform 279">
                <a:extLst>
                  <a:ext uri="{FF2B5EF4-FFF2-40B4-BE49-F238E27FC236}">
                    <a16:creationId xmlns:a16="http://schemas.microsoft.com/office/drawing/2014/main" id="{2A02A777-FF23-23F2-A072-35D565A180FE}"/>
                  </a:ext>
                </a:extLst>
              </p:cNvPr>
              <p:cNvSpPr>
                <a:spLocks noChangeAspect="1"/>
              </p:cNvSpPr>
              <p:nvPr>
                <p:custDataLst>
                  <p:tags r:id="rId203"/>
                </p:custDataLst>
              </p:nvPr>
            </p:nvSpPr>
            <p:spPr>
              <a:xfrm>
                <a:off x="5257055" y="5036019"/>
                <a:ext cx="40258" cy="44967"/>
              </a:xfrm>
              <a:custGeom>
                <a:avLst/>
                <a:gdLst/>
                <a:ahLst/>
                <a:cxnLst/>
                <a:rect l="0" t="0" r="0" b="0"/>
                <a:pathLst>
                  <a:path w="41334" h="46169">
                    <a:moveTo>
                      <a:pt x="17766" y="7141"/>
                    </a:moveTo>
                    <a:lnTo>
                      <a:pt x="21644" y="3882"/>
                    </a:lnTo>
                    <a:lnTo>
                      <a:pt x="28017" y="1999"/>
                    </a:lnTo>
                    <a:lnTo>
                      <a:pt x="29815" y="0"/>
                    </a:lnTo>
                    <a:lnTo>
                      <a:pt x="30026" y="7626"/>
                    </a:lnTo>
                    <a:lnTo>
                      <a:pt x="41333" y="16090"/>
                    </a:lnTo>
                    <a:lnTo>
                      <a:pt x="39183" y="23871"/>
                    </a:lnTo>
                    <a:lnTo>
                      <a:pt x="39070" y="24499"/>
                    </a:lnTo>
                    <a:lnTo>
                      <a:pt x="38695" y="25426"/>
                    </a:lnTo>
                    <a:lnTo>
                      <a:pt x="38634" y="25705"/>
                    </a:lnTo>
                    <a:lnTo>
                      <a:pt x="38527" y="27271"/>
                    </a:lnTo>
                    <a:lnTo>
                      <a:pt x="38110" y="28239"/>
                    </a:lnTo>
                    <a:lnTo>
                      <a:pt x="37859" y="28508"/>
                    </a:lnTo>
                    <a:lnTo>
                      <a:pt x="37505" y="28702"/>
                    </a:lnTo>
                    <a:lnTo>
                      <a:pt x="37160" y="28678"/>
                    </a:lnTo>
                    <a:lnTo>
                      <a:pt x="36890" y="28552"/>
                    </a:lnTo>
                    <a:lnTo>
                      <a:pt x="36511" y="28036"/>
                    </a:lnTo>
                    <a:lnTo>
                      <a:pt x="36284" y="27376"/>
                    </a:lnTo>
                    <a:lnTo>
                      <a:pt x="35902" y="26682"/>
                    </a:lnTo>
                    <a:lnTo>
                      <a:pt x="35756" y="26570"/>
                    </a:lnTo>
                    <a:lnTo>
                      <a:pt x="35633" y="26556"/>
                    </a:lnTo>
                    <a:lnTo>
                      <a:pt x="35505" y="26582"/>
                    </a:lnTo>
                    <a:lnTo>
                      <a:pt x="35363" y="26706"/>
                    </a:lnTo>
                    <a:lnTo>
                      <a:pt x="35085" y="27353"/>
                    </a:lnTo>
                    <a:lnTo>
                      <a:pt x="35000" y="27771"/>
                    </a:lnTo>
                    <a:lnTo>
                      <a:pt x="34989" y="27929"/>
                    </a:lnTo>
                    <a:lnTo>
                      <a:pt x="35003" y="28106"/>
                    </a:lnTo>
                    <a:lnTo>
                      <a:pt x="35875" y="31900"/>
                    </a:lnTo>
                    <a:lnTo>
                      <a:pt x="35860" y="32374"/>
                    </a:lnTo>
                    <a:lnTo>
                      <a:pt x="35644" y="33294"/>
                    </a:lnTo>
                    <a:lnTo>
                      <a:pt x="35525" y="33507"/>
                    </a:lnTo>
                    <a:lnTo>
                      <a:pt x="34794" y="34183"/>
                    </a:lnTo>
                    <a:lnTo>
                      <a:pt x="33180" y="34910"/>
                    </a:lnTo>
                    <a:lnTo>
                      <a:pt x="32890" y="35299"/>
                    </a:lnTo>
                    <a:lnTo>
                      <a:pt x="32826" y="35510"/>
                    </a:lnTo>
                    <a:lnTo>
                      <a:pt x="32269" y="40031"/>
                    </a:lnTo>
                    <a:lnTo>
                      <a:pt x="29575" y="41499"/>
                    </a:lnTo>
                    <a:lnTo>
                      <a:pt x="28673" y="42627"/>
                    </a:lnTo>
                    <a:lnTo>
                      <a:pt x="28019" y="43922"/>
                    </a:lnTo>
                    <a:lnTo>
                      <a:pt x="27006" y="45055"/>
                    </a:lnTo>
                    <a:lnTo>
                      <a:pt x="22544" y="46168"/>
                    </a:lnTo>
                    <a:lnTo>
                      <a:pt x="17302" y="40518"/>
                    </a:lnTo>
                    <a:lnTo>
                      <a:pt x="16937" y="40317"/>
                    </a:lnTo>
                    <a:lnTo>
                      <a:pt x="16776" y="40295"/>
                    </a:lnTo>
                    <a:lnTo>
                      <a:pt x="16309" y="40444"/>
                    </a:lnTo>
                    <a:lnTo>
                      <a:pt x="15712" y="40985"/>
                    </a:lnTo>
                    <a:lnTo>
                      <a:pt x="15281" y="41104"/>
                    </a:lnTo>
                    <a:lnTo>
                      <a:pt x="14853" y="41013"/>
                    </a:lnTo>
                    <a:lnTo>
                      <a:pt x="13548" y="39700"/>
                    </a:lnTo>
                    <a:lnTo>
                      <a:pt x="12930" y="38364"/>
                    </a:lnTo>
                    <a:lnTo>
                      <a:pt x="12658" y="36805"/>
                    </a:lnTo>
                    <a:lnTo>
                      <a:pt x="12586" y="35159"/>
                    </a:lnTo>
                    <a:lnTo>
                      <a:pt x="12538" y="34904"/>
                    </a:lnTo>
                    <a:lnTo>
                      <a:pt x="12347" y="34339"/>
                    </a:lnTo>
                    <a:lnTo>
                      <a:pt x="6981" y="27940"/>
                    </a:lnTo>
                    <a:lnTo>
                      <a:pt x="435" y="17483"/>
                    </a:lnTo>
                    <a:lnTo>
                      <a:pt x="0" y="13965"/>
                    </a:lnTo>
                    <a:lnTo>
                      <a:pt x="9248" y="11340"/>
                    </a:lnTo>
                    <a:lnTo>
                      <a:pt x="10955" y="2351"/>
                    </a:lnTo>
                    <a:lnTo>
                      <a:pt x="12521" y="462"/>
                    </a:lnTo>
                    <a:lnTo>
                      <a:pt x="14816" y="1741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3" name="Freeform 280">
                <a:extLst>
                  <a:ext uri="{FF2B5EF4-FFF2-40B4-BE49-F238E27FC236}">
                    <a16:creationId xmlns:a16="http://schemas.microsoft.com/office/drawing/2014/main" id="{D4BE859A-C766-8473-65BA-5DD2CDBDEEC0}"/>
                  </a:ext>
                </a:extLst>
              </p:cNvPr>
              <p:cNvSpPr>
                <a:spLocks noChangeAspect="1"/>
              </p:cNvSpPr>
              <p:nvPr>
                <p:custDataLst>
                  <p:tags r:id="rId204"/>
                </p:custDataLst>
              </p:nvPr>
            </p:nvSpPr>
            <p:spPr>
              <a:xfrm>
                <a:off x="4703228" y="4415930"/>
                <a:ext cx="154467" cy="161478"/>
              </a:xfrm>
              <a:custGeom>
                <a:avLst/>
                <a:gdLst/>
                <a:ahLst/>
                <a:cxnLst/>
                <a:rect l="0" t="0" r="0" b="0"/>
                <a:pathLst>
                  <a:path w="158596" h="165795">
                    <a:moveTo>
                      <a:pt x="78725" y="7405"/>
                    </a:moveTo>
                    <a:lnTo>
                      <a:pt x="86435" y="14075"/>
                    </a:lnTo>
                    <a:lnTo>
                      <a:pt x="91675" y="12932"/>
                    </a:lnTo>
                    <a:lnTo>
                      <a:pt x="96616" y="9029"/>
                    </a:lnTo>
                    <a:lnTo>
                      <a:pt x="104549" y="9317"/>
                    </a:lnTo>
                    <a:lnTo>
                      <a:pt x="110874" y="12385"/>
                    </a:lnTo>
                    <a:lnTo>
                      <a:pt x="111805" y="15025"/>
                    </a:lnTo>
                    <a:lnTo>
                      <a:pt x="111351" y="18016"/>
                    </a:lnTo>
                    <a:lnTo>
                      <a:pt x="114835" y="21546"/>
                    </a:lnTo>
                    <a:lnTo>
                      <a:pt x="119172" y="19039"/>
                    </a:lnTo>
                    <a:lnTo>
                      <a:pt x="121217" y="9542"/>
                    </a:lnTo>
                    <a:lnTo>
                      <a:pt x="123578" y="6853"/>
                    </a:lnTo>
                    <a:lnTo>
                      <a:pt x="132498" y="6033"/>
                    </a:lnTo>
                    <a:lnTo>
                      <a:pt x="139716" y="9300"/>
                    </a:lnTo>
                    <a:lnTo>
                      <a:pt x="142829" y="3304"/>
                    </a:lnTo>
                    <a:lnTo>
                      <a:pt x="147038" y="2173"/>
                    </a:lnTo>
                    <a:lnTo>
                      <a:pt x="146667" y="4905"/>
                    </a:lnTo>
                    <a:lnTo>
                      <a:pt x="150779" y="10985"/>
                    </a:lnTo>
                    <a:lnTo>
                      <a:pt x="151568" y="15334"/>
                    </a:lnTo>
                    <a:lnTo>
                      <a:pt x="152685" y="42702"/>
                    </a:lnTo>
                    <a:lnTo>
                      <a:pt x="154004" y="51267"/>
                    </a:lnTo>
                    <a:lnTo>
                      <a:pt x="158595" y="55537"/>
                    </a:lnTo>
                    <a:lnTo>
                      <a:pt x="157402" y="64310"/>
                    </a:lnTo>
                    <a:lnTo>
                      <a:pt x="150995" y="72556"/>
                    </a:lnTo>
                    <a:lnTo>
                      <a:pt x="145285" y="73204"/>
                    </a:lnTo>
                    <a:lnTo>
                      <a:pt x="136774" y="80599"/>
                    </a:lnTo>
                    <a:lnTo>
                      <a:pt x="129139" y="80744"/>
                    </a:lnTo>
                    <a:lnTo>
                      <a:pt x="123718" y="77331"/>
                    </a:lnTo>
                    <a:lnTo>
                      <a:pt x="120743" y="77820"/>
                    </a:lnTo>
                    <a:lnTo>
                      <a:pt x="120321" y="79308"/>
                    </a:lnTo>
                    <a:lnTo>
                      <a:pt x="122500" y="83929"/>
                    </a:lnTo>
                    <a:lnTo>
                      <a:pt x="121664" y="86807"/>
                    </a:lnTo>
                    <a:lnTo>
                      <a:pt x="116402" y="87970"/>
                    </a:lnTo>
                    <a:lnTo>
                      <a:pt x="105829" y="101091"/>
                    </a:lnTo>
                    <a:lnTo>
                      <a:pt x="97122" y="111844"/>
                    </a:lnTo>
                    <a:lnTo>
                      <a:pt x="96494" y="112625"/>
                    </a:lnTo>
                    <a:lnTo>
                      <a:pt x="90609" y="115171"/>
                    </a:lnTo>
                    <a:lnTo>
                      <a:pt x="82948" y="114652"/>
                    </a:lnTo>
                    <a:lnTo>
                      <a:pt x="76197" y="123576"/>
                    </a:lnTo>
                    <a:lnTo>
                      <a:pt x="69264" y="125162"/>
                    </a:lnTo>
                    <a:lnTo>
                      <a:pt x="67503" y="130914"/>
                    </a:lnTo>
                    <a:lnTo>
                      <a:pt x="69434" y="145004"/>
                    </a:lnTo>
                    <a:lnTo>
                      <a:pt x="66642" y="149124"/>
                    </a:lnTo>
                    <a:lnTo>
                      <a:pt x="56395" y="153468"/>
                    </a:lnTo>
                    <a:lnTo>
                      <a:pt x="54803" y="158705"/>
                    </a:lnTo>
                    <a:lnTo>
                      <a:pt x="50563" y="161844"/>
                    </a:lnTo>
                    <a:lnTo>
                      <a:pt x="43797" y="163002"/>
                    </a:lnTo>
                    <a:lnTo>
                      <a:pt x="35955" y="160224"/>
                    </a:lnTo>
                    <a:lnTo>
                      <a:pt x="32706" y="165794"/>
                    </a:lnTo>
                    <a:lnTo>
                      <a:pt x="25554" y="162389"/>
                    </a:lnTo>
                    <a:lnTo>
                      <a:pt x="21027" y="163490"/>
                    </a:lnTo>
                    <a:lnTo>
                      <a:pt x="18234" y="154618"/>
                    </a:lnTo>
                    <a:lnTo>
                      <a:pt x="10532" y="151311"/>
                    </a:lnTo>
                    <a:lnTo>
                      <a:pt x="11195" y="141429"/>
                    </a:lnTo>
                    <a:lnTo>
                      <a:pt x="11122" y="134951"/>
                    </a:lnTo>
                    <a:lnTo>
                      <a:pt x="5241" y="131777"/>
                    </a:lnTo>
                    <a:lnTo>
                      <a:pt x="0" y="127515"/>
                    </a:lnTo>
                    <a:lnTo>
                      <a:pt x="3070" y="111285"/>
                    </a:lnTo>
                    <a:lnTo>
                      <a:pt x="12076" y="104704"/>
                    </a:lnTo>
                    <a:lnTo>
                      <a:pt x="26895" y="96968"/>
                    </a:lnTo>
                    <a:lnTo>
                      <a:pt x="40403" y="89234"/>
                    </a:lnTo>
                    <a:lnTo>
                      <a:pt x="39643" y="80607"/>
                    </a:lnTo>
                    <a:lnTo>
                      <a:pt x="40852" y="74110"/>
                    </a:lnTo>
                    <a:lnTo>
                      <a:pt x="49294" y="76155"/>
                    </a:lnTo>
                    <a:lnTo>
                      <a:pt x="53041" y="66385"/>
                    </a:lnTo>
                    <a:lnTo>
                      <a:pt x="58077" y="56593"/>
                    </a:lnTo>
                    <a:lnTo>
                      <a:pt x="55354" y="46913"/>
                    </a:lnTo>
                    <a:lnTo>
                      <a:pt x="42950" y="37367"/>
                    </a:lnTo>
                    <a:lnTo>
                      <a:pt x="35008" y="19153"/>
                    </a:lnTo>
                    <a:lnTo>
                      <a:pt x="49026" y="9741"/>
                    </a:lnTo>
                    <a:lnTo>
                      <a:pt x="51872" y="2929"/>
                    </a:lnTo>
                    <a:lnTo>
                      <a:pt x="53056" y="0"/>
                    </a:lnTo>
                    <a:lnTo>
                      <a:pt x="60785" y="2484"/>
                    </a:lnTo>
                    <a:lnTo>
                      <a:pt x="67752" y="6627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4" name="Freeform 281">
                <a:extLst>
                  <a:ext uri="{FF2B5EF4-FFF2-40B4-BE49-F238E27FC236}">
                    <a16:creationId xmlns:a16="http://schemas.microsoft.com/office/drawing/2014/main" id="{956C57C5-CDAA-187E-E2B7-9AD93656DA6B}"/>
                  </a:ext>
                </a:extLst>
              </p:cNvPr>
              <p:cNvSpPr>
                <a:spLocks noChangeAspect="1"/>
              </p:cNvSpPr>
              <p:nvPr>
                <p:custDataLst>
                  <p:tags r:id="rId205"/>
                </p:custDataLst>
              </p:nvPr>
            </p:nvSpPr>
            <p:spPr>
              <a:xfrm>
                <a:off x="4606948" y="4434584"/>
                <a:ext cx="152846" cy="136120"/>
              </a:xfrm>
              <a:custGeom>
                <a:avLst/>
                <a:gdLst/>
                <a:ahLst/>
                <a:cxnLst/>
                <a:rect l="0" t="0" r="0" b="0"/>
                <a:pathLst>
                  <a:path w="156932" h="139759">
                    <a:moveTo>
                      <a:pt x="148148" y="57002"/>
                    </a:moveTo>
                    <a:lnTo>
                      <a:pt x="139706" y="54957"/>
                    </a:lnTo>
                    <a:lnTo>
                      <a:pt x="138497" y="61454"/>
                    </a:lnTo>
                    <a:lnTo>
                      <a:pt x="139257" y="70081"/>
                    </a:lnTo>
                    <a:lnTo>
                      <a:pt x="125749" y="77815"/>
                    </a:lnTo>
                    <a:lnTo>
                      <a:pt x="110930" y="85551"/>
                    </a:lnTo>
                    <a:lnTo>
                      <a:pt x="101924" y="92132"/>
                    </a:lnTo>
                    <a:lnTo>
                      <a:pt x="98854" y="108362"/>
                    </a:lnTo>
                    <a:lnTo>
                      <a:pt x="104095" y="112624"/>
                    </a:lnTo>
                    <a:lnTo>
                      <a:pt x="109976" y="115798"/>
                    </a:lnTo>
                    <a:lnTo>
                      <a:pt x="110049" y="122276"/>
                    </a:lnTo>
                    <a:lnTo>
                      <a:pt x="109386" y="132158"/>
                    </a:lnTo>
                    <a:lnTo>
                      <a:pt x="85319" y="139758"/>
                    </a:lnTo>
                    <a:lnTo>
                      <a:pt x="75851" y="134115"/>
                    </a:lnTo>
                    <a:lnTo>
                      <a:pt x="67201" y="132890"/>
                    </a:lnTo>
                    <a:lnTo>
                      <a:pt x="65525" y="132185"/>
                    </a:lnTo>
                    <a:lnTo>
                      <a:pt x="64387" y="131188"/>
                    </a:lnTo>
                    <a:lnTo>
                      <a:pt x="62647" y="127195"/>
                    </a:lnTo>
                    <a:lnTo>
                      <a:pt x="56895" y="120667"/>
                    </a:lnTo>
                    <a:lnTo>
                      <a:pt x="55826" y="118505"/>
                    </a:lnTo>
                    <a:lnTo>
                      <a:pt x="55300" y="116584"/>
                    </a:lnTo>
                    <a:lnTo>
                      <a:pt x="55365" y="115063"/>
                    </a:lnTo>
                    <a:lnTo>
                      <a:pt x="55241" y="113662"/>
                    </a:lnTo>
                    <a:lnTo>
                      <a:pt x="53680" y="106942"/>
                    </a:lnTo>
                    <a:lnTo>
                      <a:pt x="52057" y="101948"/>
                    </a:lnTo>
                    <a:lnTo>
                      <a:pt x="45891" y="88254"/>
                    </a:lnTo>
                    <a:lnTo>
                      <a:pt x="44669" y="86555"/>
                    </a:lnTo>
                    <a:lnTo>
                      <a:pt x="33384" y="74522"/>
                    </a:lnTo>
                    <a:lnTo>
                      <a:pt x="32180" y="72468"/>
                    </a:lnTo>
                    <a:lnTo>
                      <a:pt x="32147" y="72165"/>
                    </a:lnTo>
                    <a:lnTo>
                      <a:pt x="32041" y="71195"/>
                    </a:lnTo>
                    <a:lnTo>
                      <a:pt x="32359" y="69890"/>
                    </a:lnTo>
                    <a:lnTo>
                      <a:pt x="33134" y="68995"/>
                    </a:lnTo>
                    <a:lnTo>
                      <a:pt x="41599" y="63486"/>
                    </a:lnTo>
                    <a:lnTo>
                      <a:pt x="42218" y="62338"/>
                    </a:lnTo>
                    <a:lnTo>
                      <a:pt x="42460" y="60589"/>
                    </a:lnTo>
                    <a:lnTo>
                      <a:pt x="41951" y="57265"/>
                    </a:lnTo>
                    <a:lnTo>
                      <a:pt x="40923" y="55040"/>
                    </a:lnTo>
                    <a:lnTo>
                      <a:pt x="39894" y="53439"/>
                    </a:lnTo>
                    <a:lnTo>
                      <a:pt x="32254" y="45072"/>
                    </a:lnTo>
                    <a:lnTo>
                      <a:pt x="17493" y="33247"/>
                    </a:lnTo>
                    <a:lnTo>
                      <a:pt x="15379" y="32361"/>
                    </a:lnTo>
                    <a:lnTo>
                      <a:pt x="6751" y="30808"/>
                    </a:lnTo>
                    <a:lnTo>
                      <a:pt x="2657" y="28788"/>
                    </a:lnTo>
                    <a:lnTo>
                      <a:pt x="2626" y="22337"/>
                    </a:lnTo>
                    <a:lnTo>
                      <a:pt x="2" y="17888"/>
                    </a:lnTo>
                    <a:lnTo>
                      <a:pt x="0" y="17885"/>
                    </a:lnTo>
                    <a:lnTo>
                      <a:pt x="6650" y="10847"/>
                    </a:lnTo>
                    <a:lnTo>
                      <a:pt x="16128" y="15356"/>
                    </a:lnTo>
                    <a:lnTo>
                      <a:pt x="27718" y="14121"/>
                    </a:lnTo>
                    <a:lnTo>
                      <a:pt x="34470" y="16842"/>
                    </a:lnTo>
                    <a:lnTo>
                      <a:pt x="36751" y="15434"/>
                    </a:lnTo>
                    <a:lnTo>
                      <a:pt x="38255" y="11938"/>
                    </a:lnTo>
                    <a:lnTo>
                      <a:pt x="38679" y="10918"/>
                    </a:lnTo>
                    <a:lnTo>
                      <a:pt x="38683" y="10906"/>
                    </a:lnTo>
                    <a:lnTo>
                      <a:pt x="42328" y="14121"/>
                    </a:lnTo>
                    <a:lnTo>
                      <a:pt x="48987" y="17102"/>
                    </a:lnTo>
                    <a:lnTo>
                      <a:pt x="56049" y="16766"/>
                    </a:lnTo>
                    <a:lnTo>
                      <a:pt x="56266" y="15971"/>
                    </a:lnTo>
                    <a:lnTo>
                      <a:pt x="56531" y="14306"/>
                    </a:lnTo>
                    <a:lnTo>
                      <a:pt x="57298" y="12558"/>
                    </a:lnTo>
                    <a:lnTo>
                      <a:pt x="58981" y="11518"/>
                    </a:lnTo>
                    <a:lnTo>
                      <a:pt x="61026" y="11640"/>
                    </a:lnTo>
                    <a:lnTo>
                      <a:pt x="64517" y="13399"/>
                    </a:lnTo>
                    <a:lnTo>
                      <a:pt x="66175" y="13835"/>
                    </a:lnTo>
                    <a:lnTo>
                      <a:pt x="69908" y="13475"/>
                    </a:lnTo>
                    <a:lnTo>
                      <a:pt x="73161" y="12512"/>
                    </a:lnTo>
                    <a:lnTo>
                      <a:pt x="82372" y="15667"/>
                    </a:lnTo>
                    <a:lnTo>
                      <a:pt x="91387" y="13417"/>
                    </a:lnTo>
                    <a:lnTo>
                      <a:pt x="106890" y="14327"/>
                    </a:lnTo>
                    <a:lnTo>
                      <a:pt x="120161" y="7260"/>
                    </a:lnTo>
                    <a:lnTo>
                      <a:pt x="123470" y="7220"/>
                    </a:lnTo>
                    <a:lnTo>
                      <a:pt x="128768" y="4380"/>
                    </a:lnTo>
                    <a:lnTo>
                      <a:pt x="133862" y="0"/>
                    </a:lnTo>
                    <a:lnTo>
                      <a:pt x="141804" y="18214"/>
                    </a:lnTo>
                    <a:lnTo>
                      <a:pt x="154208" y="27760"/>
                    </a:lnTo>
                    <a:lnTo>
                      <a:pt x="156931" y="37440"/>
                    </a:lnTo>
                    <a:lnTo>
                      <a:pt x="151895" y="47232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5" name="Freeform 282">
                <a:extLst>
                  <a:ext uri="{FF2B5EF4-FFF2-40B4-BE49-F238E27FC236}">
                    <a16:creationId xmlns:a16="http://schemas.microsoft.com/office/drawing/2014/main" id="{BE9C13F2-2C65-E7AB-9211-3E8240C62946}"/>
                  </a:ext>
                </a:extLst>
              </p:cNvPr>
              <p:cNvSpPr>
                <a:spLocks noChangeAspect="1"/>
              </p:cNvSpPr>
              <p:nvPr>
                <p:custDataLst>
                  <p:tags r:id="rId206"/>
                </p:custDataLst>
              </p:nvPr>
            </p:nvSpPr>
            <p:spPr>
              <a:xfrm>
                <a:off x="4670388" y="4413806"/>
                <a:ext cx="53593" cy="36039"/>
              </a:xfrm>
              <a:custGeom>
                <a:avLst/>
                <a:gdLst/>
                <a:ahLst/>
                <a:cxnLst/>
                <a:rect l="0" t="0" r="0" b="0"/>
                <a:pathLst>
                  <a:path w="55026" h="37002">
                    <a:moveTo>
                      <a:pt x="29387" y="3473"/>
                    </a:moveTo>
                    <a:lnTo>
                      <a:pt x="33515" y="11604"/>
                    </a:lnTo>
                    <a:lnTo>
                      <a:pt x="41289" y="17363"/>
                    </a:lnTo>
                    <a:lnTo>
                      <a:pt x="44791" y="17934"/>
                    </a:lnTo>
                    <a:lnTo>
                      <a:pt x="46641" y="18841"/>
                    </a:lnTo>
                    <a:lnTo>
                      <a:pt x="50183" y="23726"/>
                    </a:lnTo>
                    <a:lnTo>
                      <a:pt x="52439" y="27391"/>
                    </a:lnTo>
                    <a:lnTo>
                      <a:pt x="55025" y="28594"/>
                    </a:lnTo>
                    <a:lnTo>
                      <a:pt x="41754" y="35661"/>
                    </a:lnTo>
                    <a:lnTo>
                      <a:pt x="26251" y="34751"/>
                    </a:lnTo>
                    <a:lnTo>
                      <a:pt x="17236" y="37001"/>
                    </a:lnTo>
                    <a:lnTo>
                      <a:pt x="8025" y="33846"/>
                    </a:lnTo>
                    <a:lnTo>
                      <a:pt x="14244" y="30056"/>
                    </a:lnTo>
                    <a:lnTo>
                      <a:pt x="12934" y="25171"/>
                    </a:lnTo>
                    <a:lnTo>
                      <a:pt x="13532" y="21668"/>
                    </a:lnTo>
                    <a:lnTo>
                      <a:pt x="15271" y="19008"/>
                    </a:lnTo>
                    <a:lnTo>
                      <a:pt x="17227" y="16734"/>
                    </a:lnTo>
                    <a:lnTo>
                      <a:pt x="19139" y="17648"/>
                    </a:lnTo>
                    <a:lnTo>
                      <a:pt x="21123" y="17349"/>
                    </a:lnTo>
                    <a:lnTo>
                      <a:pt x="23124" y="16022"/>
                    </a:lnTo>
                    <a:lnTo>
                      <a:pt x="25117" y="13842"/>
                    </a:lnTo>
                    <a:lnTo>
                      <a:pt x="21847" y="13656"/>
                    </a:lnTo>
                    <a:lnTo>
                      <a:pt x="10401" y="16520"/>
                    </a:lnTo>
                    <a:lnTo>
                      <a:pt x="7910" y="18129"/>
                    </a:lnTo>
                    <a:lnTo>
                      <a:pt x="6363" y="23740"/>
                    </a:lnTo>
                    <a:lnTo>
                      <a:pt x="2406" y="25814"/>
                    </a:lnTo>
                    <a:lnTo>
                      <a:pt x="0" y="25570"/>
                    </a:lnTo>
                    <a:lnTo>
                      <a:pt x="405" y="23005"/>
                    </a:lnTo>
                    <a:lnTo>
                      <a:pt x="1510" y="17113"/>
                    </a:lnTo>
                    <a:lnTo>
                      <a:pt x="5278" y="19843"/>
                    </a:lnTo>
                    <a:lnTo>
                      <a:pt x="6718" y="17882"/>
                    </a:lnTo>
                    <a:lnTo>
                      <a:pt x="8674" y="15112"/>
                    </a:lnTo>
                    <a:lnTo>
                      <a:pt x="7989" y="10676"/>
                    </a:lnTo>
                    <a:lnTo>
                      <a:pt x="8544" y="8972"/>
                    </a:lnTo>
                    <a:lnTo>
                      <a:pt x="12493" y="3918"/>
                    </a:lnTo>
                    <a:lnTo>
                      <a:pt x="15553" y="0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6" name="Freeform 283">
                <a:extLst>
                  <a:ext uri="{FF2B5EF4-FFF2-40B4-BE49-F238E27FC236}">
                    <a16:creationId xmlns:a16="http://schemas.microsoft.com/office/drawing/2014/main" id="{610A0770-1E05-66C5-B3DA-9E416F9D1590}"/>
                  </a:ext>
                </a:extLst>
              </p:cNvPr>
              <p:cNvSpPr>
                <a:spLocks noChangeAspect="1"/>
              </p:cNvSpPr>
              <p:nvPr>
                <p:custDataLst>
                  <p:tags r:id="rId207"/>
                </p:custDataLst>
              </p:nvPr>
            </p:nvSpPr>
            <p:spPr>
              <a:xfrm>
                <a:off x="3833266" y="5673817"/>
                <a:ext cx="14907" cy="20839"/>
              </a:xfrm>
              <a:custGeom>
                <a:avLst/>
                <a:gdLst/>
                <a:ahLst/>
                <a:cxnLst/>
                <a:rect l="l" t="t" r="r" b="b"/>
                <a:pathLst>
                  <a:path w="15305" h="21396">
                    <a:moveTo>
                      <a:pt x="11891" y="11508"/>
                    </a:moveTo>
                    <a:lnTo>
                      <a:pt x="13461" y="12878"/>
                    </a:lnTo>
                    <a:lnTo>
                      <a:pt x="15305" y="16513"/>
                    </a:lnTo>
                    <a:lnTo>
                      <a:pt x="14354" y="19816"/>
                    </a:lnTo>
                    <a:lnTo>
                      <a:pt x="11885" y="21396"/>
                    </a:lnTo>
                    <a:lnTo>
                      <a:pt x="9021" y="19740"/>
                    </a:lnTo>
                    <a:lnTo>
                      <a:pt x="9649" y="14495"/>
                    </a:lnTo>
                    <a:close/>
                    <a:moveTo>
                      <a:pt x="0" y="0"/>
                    </a:moveTo>
                    <a:lnTo>
                      <a:pt x="1749" y="352"/>
                    </a:lnTo>
                    <a:lnTo>
                      <a:pt x="2929" y="1426"/>
                    </a:lnTo>
                    <a:lnTo>
                      <a:pt x="3690" y="1924"/>
                    </a:lnTo>
                    <a:lnTo>
                      <a:pt x="5024" y="3160"/>
                    </a:lnTo>
                    <a:lnTo>
                      <a:pt x="5293" y="6001"/>
                    </a:lnTo>
                    <a:lnTo>
                      <a:pt x="3698" y="8796"/>
                    </a:lnTo>
                    <a:lnTo>
                      <a:pt x="1603" y="7544"/>
                    </a:lnTo>
                    <a:lnTo>
                      <a:pt x="96" y="3113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7" name="Freeform 285">
                <a:extLst>
                  <a:ext uri="{FF2B5EF4-FFF2-40B4-BE49-F238E27FC236}">
                    <a16:creationId xmlns:a16="http://schemas.microsoft.com/office/drawing/2014/main" id="{54D2598C-7F11-4F1E-F57F-3E6342AAB09C}"/>
                  </a:ext>
                </a:extLst>
              </p:cNvPr>
              <p:cNvSpPr>
                <a:spLocks noChangeAspect="1"/>
              </p:cNvSpPr>
              <p:nvPr>
                <p:custDataLst>
                  <p:tags r:id="rId208"/>
                </p:custDataLst>
              </p:nvPr>
            </p:nvSpPr>
            <p:spPr>
              <a:xfrm>
                <a:off x="4235564" y="4029577"/>
                <a:ext cx="105491" cy="133925"/>
              </a:xfrm>
              <a:custGeom>
                <a:avLst/>
                <a:gdLst/>
                <a:ahLst/>
                <a:cxnLst/>
                <a:rect l="0" t="0" r="0" b="0"/>
                <a:pathLst>
                  <a:path w="108311" h="137505">
                    <a:moveTo>
                      <a:pt x="44842" y="124557"/>
                    </a:moveTo>
                    <a:lnTo>
                      <a:pt x="43001" y="127263"/>
                    </a:lnTo>
                    <a:lnTo>
                      <a:pt x="39873" y="137504"/>
                    </a:lnTo>
                    <a:lnTo>
                      <a:pt x="38020" y="132621"/>
                    </a:lnTo>
                    <a:lnTo>
                      <a:pt x="35673" y="132207"/>
                    </a:lnTo>
                    <a:lnTo>
                      <a:pt x="32964" y="133700"/>
                    </a:lnTo>
                    <a:lnTo>
                      <a:pt x="29990" y="134721"/>
                    </a:lnTo>
                    <a:lnTo>
                      <a:pt x="26736" y="133420"/>
                    </a:lnTo>
                    <a:lnTo>
                      <a:pt x="22648" y="127811"/>
                    </a:lnTo>
                    <a:lnTo>
                      <a:pt x="19351" y="126476"/>
                    </a:lnTo>
                    <a:lnTo>
                      <a:pt x="14495" y="128626"/>
                    </a:lnTo>
                    <a:lnTo>
                      <a:pt x="10016" y="132990"/>
                    </a:lnTo>
                    <a:lnTo>
                      <a:pt x="5332" y="136011"/>
                    </a:lnTo>
                    <a:lnTo>
                      <a:pt x="0" y="134166"/>
                    </a:lnTo>
                    <a:lnTo>
                      <a:pt x="55" y="131321"/>
                    </a:lnTo>
                    <a:lnTo>
                      <a:pt x="1264" y="130644"/>
                    </a:lnTo>
                    <a:lnTo>
                      <a:pt x="2061" y="130007"/>
                    </a:lnTo>
                    <a:lnTo>
                      <a:pt x="3020" y="129465"/>
                    </a:lnTo>
                    <a:lnTo>
                      <a:pt x="4689" y="129031"/>
                    </a:lnTo>
                    <a:lnTo>
                      <a:pt x="4565" y="121627"/>
                    </a:lnTo>
                    <a:lnTo>
                      <a:pt x="12313" y="111043"/>
                    </a:lnTo>
                    <a:lnTo>
                      <a:pt x="14461" y="104335"/>
                    </a:lnTo>
                    <a:lnTo>
                      <a:pt x="14782" y="92864"/>
                    </a:lnTo>
                    <a:lnTo>
                      <a:pt x="15737" y="87967"/>
                    </a:lnTo>
                    <a:lnTo>
                      <a:pt x="17924" y="82316"/>
                    </a:lnTo>
                    <a:lnTo>
                      <a:pt x="18746" y="78676"/>
                    </a:lnTo>
                    <a:lnTo>
                      <a:pt x="18529" y="76106"/>
                    </a:lnTo>
                    <a:lnTo>
                      <a:pt x="19003" y="74575"/>
                    </a:lnTo>
                    <a:lnTo>
                      <a:pt x="23968" y="73469"/>
                    </a:lnTo>
                    <a:lnTo>
                      <a:pt x="29433" y="69834"/>
                    </a:lnTo>
                    <a:lnTo>
                      <a:pt x="34208" y="63853"/>
                    </a:lnTo>
                    <a:lnTo>
                      <a:pt x="41142" y="57845"/>
                    </a:lnTo>
                    <a:lnTo>
                      <a:pt x="44354" y="53639"/>
                    </a:lnTo>
                    <a:lnTo>
                      <a:pt x="54505" y="29888"/>
                    </a:lnTo>
                    <a:lnTo>
                      <a:pt x="59924" y="19680"/>
                    </a:lnTo>
                    <a:lnTo>
                      <a:pt x="67973" y="12248"/>
                    </a:lnTo>
                    <a:lnTo>
                      <a:pt x="79944" y="5366"/>
                    </a:lnTo>
                    <a:lnTo>
                      <a:pt x="88324" y="3465"/>
                    </a:lnTo>
                    <a:lnTo>
                      <a:pt x="92518" y="1205"/>
                    </a:lnTo>
                    <a:lnTo>
                      <a:pt x="96525" y="0"/>
                    </a:lnTo>
                    <a:lnTo>
                      <a:pt x="100162" y="2040"/>
                    </a:lnTo>
                    <a:lnTo>
                      <a:pt x="98805" y="7526"/>
                    </a:lnTo>
                    <a:lnTo>
                      <a:pt x="94058" y="21799"/>
                    </a:lnTo>
                    <a:lnTo>
                      <a:pt x="94423" y="26982"/>
                    </a:lnTo>
                    <a:lnTo>
                      <a:pt x="95581" y="29843"/>
                    </a:lnTo>
                    <a:lnTo>
                      <a:pt x="96937" y="36205"/>
                    </a:lnTo>
                    <a:lnTo>
                      <a:pt x="98136" y="38773"/>
                    </a:lnTo>
                    <a:lnTo>
                      <a:pt x="99845" y="39883"/>
                    </a:lnTo>
                    <a:lnTo>
                      <a:pt x="103920" y="40449"/>
                    </a:lnTo>
                    <a:lnTo>
                      <a:pt x="105573" y="41700"/>
                    </a:lnTo>
                    <a:lnTo>
                      <a:pt x="106725" y="43860"/>
                    </a:lnTo>
                    <a:lnTo>
                      <a:pt x="108060" y="47313"/>
                    </a:lnTo>
                    <a:lnTo>
                      <a:pt x="108310" y="50535"/>
                    </a:lnTo>
                    <a:lnTo>
                      <a:pt x="106277" y="51909"/>
                    </a:lnTo>
                    <a:lnTo>
                      <a:pt x="104973" y="53105"/>
                    </a:lnTo>
                    <a:lnTo>
                      <a:pt x="101746" y="59687"/>
                    </a:lnTo>
                    <a:lnTo>
                      <a:pt x="100067" y="61003"/>
                    </a:lnTo>
                    <a:lnTo>
                      <a:pt x="98665" y="64031"/>
                    </a:lnTo>
                    <a:lnTo>
                      <a:pt x="97409" y="67560"/>
                    </a:lnTo>
                    <a:lnTo>
                      <a:pt x="96064" y="70294"/>
                    </a:lnTo>
                    <a:lnTo>
                      <a:pt x="94664" y="71721"/>
                    </a:lnTo>
                    <a:lnTo>
                      <a:pt x="88508" y="75152"/>
                    </a:lnTo>
                    <a:lnTo>
                      <a:pt x="90238" y="85625"/>
                    </a:lnTo>
                    <a:lnTo>
                      <a:pt x="85284" y="91154"/>
                    </a:lnTo>
                    <a:lnTo>
                      <a:pt x="77553" y="95226"/>
                    </a:lnTo>
                    <a:lnTo>
                      <a:pt x="71064" y="101241"/>
                    </a:lnTo>
                    <a:lnTo>
                      <a:pt x="71194" y="105955"/>
                    </a:lnTo>
                    <a:lnTo>
                      <a:pt x="58824" y="114068"/>
                    </a:lnTo>
                    <a:lnTo>
                      <a:pt x="55516" y="118074"/>
                    </a:lnTo>
                    <a:lnTo>
                      <a:pt x="54119" y="121038"/>
                    </a:lnTo>
                    <a:lnTo>
                      <a:pt x="50951" y="122449"/>
                    </a:lnTo>
                    <a:lnTo>
                      <a:pt x="47407" y="123308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8" name="Freeform 286">
                <a:extLst>
                  <a:ext uri="{FF2B5EF4-FFF2-40B4-BE49-F238E27FC236}">
                    <a16:creationId xmlns:a16="http://schemas.microsoft.com/office/drawing/2014/main" id="{830458E1-46E3-5338-BDB9-1C5B34B705F0}"/>
                  </a:ext>
                </a:extLst>
              </p:cNvPr>
              <p:cNvSpPr>
                <a:spLocks noChangeAspect="1"/>
              </p:cNvSpPr>
              <p:nvPr>
                <p:custDataLst>
                  <p:tags r:id="rId209"/>
                </p:custDataLst>
              </p:nvPr>
            </p:nvSpPr>
            <p:spPr>
              <a:xfrm>
                <a:off x="4821481" y="5944698"/>
                <a:ext cx="57098" cy="34987"/>
              </a:xfrm>
              <a:custGeom>
                <a:avLst/>
                <a:gdLst/>
                <a:ahLst/>
                <a:cxnLst/>
                <a:rect l="0" t="0" r="0" b="0"/>
                <a:pathLst>
                  <a:path w="58624" h="35922">
                    <a:moveTo>
                      <a:pt x="39705" y="2277"/>
                    </a:moveTo>
                    <a:lnTo>
                      <a:pt x="43469" y="5855"/>
                    </a:lnTo>
                    <a:lnTo>
                      <a:pt x="55367" y="11511"/>
                    </a:lnTo>
                    <a:lnTo>
                      <a:pt x="55112" y="15244"/>
                    </a:lnTo>
                    <a:lnTo>
                      <a:pt x="56301" y="16789"/>
                    </a:lnTo>
                    <a:lnTo>
                      <a:pt x="57708" y="19090"/>
                    </a:lnTo>
                    <a:lnTo>
                      <a:pt x="58623" y="20144"/>
                    </a:lnTo>
                    <a:lnTo>
                      <a:pt x="56485" y="22190"/>
                    </a:lnTo>
                    <a:lnTo>
                      <a:pt x="55536" y="24678"/>
                    </a:lnTo>
                    <a:lnTo>
                      <a:pt x="55331" y="27851"/>
                    </a:lnTo>
                    <a:lnTo>
                      <a:pt x="55432" y="32075"/>
                    </a:lnTo>
                    <a:lnTo>
                      <a:pt x="54864" y="35921"/>
                    </a:lnTo>
                    <a:lnTo>
                      <a:pt x="53204" y="35907"/>
                    </a:lnTo>
                    <a:lnTo>
                      <a:pt x="50955" y="34320"/>
                    </a:lnTo>
                    <a:lnTo>
                      <a:pt x="48637" y="33386"/>
                    </a:lnTo>
                    <a:lnTo>
                      <a:pt x="40942" y="33379"/>
                    </a:lnTo>
                    <a:lnTo>
                      <a:pt x="36654" y="31564"/>
                    </a:lnTo>
                    <a:lnTo>
                      <a:pt x="30740" y="25756"/>
                    </a:lnTo>
                    <a:lnTo>
                      <a:pt x="28548" y="24305"/>
                    </a:lnTo>
                    <a:lnTo>
                      <a:pt x="26273" y="23368"/>
                    </a:lnTo>
                    <a:lnTo>
                      <a:pt x="24544" y="23399"/>
                    </a:lnTo>
                    <a:lnTo>
                      <a:pt x="22558" y="25610"/>
                    </a:lnTo>
                    <a:lnTo>
                      <a:pt x="20696" y="29152"/>
                    </a:lnTo>
                    <a:lnTo>
                      <a:pt x="18762" y="33939"/>
                    </a:lnTo>
                    <a:lnTo>
                      <a:pt x="16633" y="33263"/>
                    </a:lnTo>
                    <a:lnTo>
                      <a:pt x="13442" y="29901"/>
                    </a:lnTo>
                    <a:lnTo>
                      <a:pt x="10820" y="28859"/>
                    </a:lnTo>
                    <a:lnTo>
                      <a:pt x="10118" y="29462"/>
                    </a:lnTo>
                    <a:lnTo>
                      <a:pt x="5046" y="31722"/>
                    </a:lnTo>
                    <a:lnTo>
                      <a:pt x="2484" y="31842"/>
                    </a:lnTo>
                    <a:lnTo>
                      <a:pt x="4141" y="23614"/>
                    </a:lnTo>
                    <a:lnTo>
                      <a:pt x="2314" y="15057"/>
                    </a:lnTo>
                    <a:lnTo>
                      <a:pt x="0" y="7671"/>
                    </a:lnTo>
                    <a:lnTo>
                      <a:pt x="148" y="2979"/>
                    </a:lnTo>
                    <a:lnTo>
                      <a:pt x="3067" y="1873"/>
                    </a:lnTo>
                    <a:lnTo>
                      <a:pt x="6619" y="2870"/>
                    </a:lnTo>
                    <a:lnTo>
                      <a:pt x="11386" y="5398"/>
                    </a:lnTo>
                    <a:lnTo>
                      <a:pt x="14765" y="5090"/>
                    </a:lnTo>
                    <a:lnTo>
                      <a:pt x="17342" y="4206"/>
                    </a:lnTo>
                    <a:lnTo>
                      <a:pt x="19722" y="2580"/>
                    </a:lnTo>
                    <a:lnTo>
                      <a:pt x="22432" y="0"/>
                    </a:lnTo>
                    <a:lnTo>
                      <a:pt x="24436" y="1937"/>
                    </a:lnTo>
                    <a:lnTo>
                      <a:pt x="29905" y="3205"/>
                    </a:lnTo>
                    <a:lnTo>
                      <a:pt x="32762" y="5016"/>
                    </a:lnTo>
                    <a:lnTo>
                      <a:pt x="34426" y="3152"/>
                    </a:lnTo>
                    <a:lnTo>
                      <a:pt x="35990" y="256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1779" name="Freeform 288">
                <a:extLst>
                  <a:ext uri="{FF2B5EF4-FFF2-40B4-BE49-F238E27FC236}">
                    <a16:creationId xmlns:a16="http://schemas.microsoft.com/office/drawing/2014/main" id="{12C8B59E-5064-C933-1AE7-5377D663FE44}"/>
                  </a:ext>
                </a:extLst>
              </p:cNvPr>
              <p:cNvSpPr>
                <a:spLocks noChangeAspect="1"/>
              </p:cNvSpPr>
              <p:nvPr>
                <p:custDataLst>
                  <p:tags r:id="rId210"/>
                </p:custDataLst>
              </p:nvPr>
            </p:nvSpPr>
            <p:spPr>
              <a:xfrm>
                <a:off x="4715840" y="5772199"/>
                <a:ext cx="120070" cy="119659"/>
              </a:xfrm>
              <a:custGeom>
                <a:avLst/>
                <a:gdLst/>
                <a:ahLst/>
                <a:cxnLst/>
                <a:rect l="l" t="t" r="r" b="b"/>
                <a:pathLst>
                  <a:path w="123280" h="122858">
                    <a:moveTo>
                      <a:pt x="76970" y="109359"/>
                    </a:moveTo>
                    <a:lnTo>
                      <a:pt x="78848" y="111801"/>
                    </a:lnTo>
                    <a:lnTo>
                      <a:pt x="79404" y="116592"/>
                    </a:lnTo>
                    <a:lnTo>
                      <a:pt x="76907" y="120419"/>
                    </a:lnTo>
                    <a:lnTo>
                      <a:pt x="74734" y="122858"/>
                    </a:lnTo>
                    <a:lnTo>
                      <a:pt x="73593" y="122426"/>
                    </a:lnTo>
                    <a:lnTo>
                      <a:pt x="74368" y="119961"/>
                    </a:lnTo>
                    <a:lnTo>
                      <a:pt x="74766" y="118012"/>
                    </a:lnTo>
                    <a:lnTo>
                      <a:pt x="74044" y="115678"/>
                    </a:lnTo>
                    <a:lnTo>
                      <a:pt x="74118" y="113751"/>
                    </a:lnTo>
                    <a:lnTo>
                      <a:pt x="74812" y="112746"/>
                    </a:lnTo>
                    <a:lnTo>
                      <a:pt x="75479" y="111199"/>
                    </a:lnTo>
                    <a:lnTo>
                      <a:pt x="76389" y="109787"/>
                    </a:lnTo>
                    <a:close/>
                    <a:moveTo>
                      <a:pt x="55876" y="95496"/>
                    </a:moveTo>
                    <a:lnTo>
                      <a:pt x="56570" y="99060"/>
                    </a:lnTo>
                    <a:lnTo>
                      <a:pt x="54610" y="103839"/>
                    </a:lnTo>
                    <a:lnTo>
                      <a:pt x="54307" y="102321"/>
                    </a:lnTo>
                    <a:lnTo>
                      <a:pt x="54120" y="98922"/>
                    </a:lnTo>
                    <a:lnTo>
                      <a:pt x="54430" y="96308"/>
                    </a:lnTo>
                    <a:close/>
                    <a:moveTo>
                      <a:pt x="38233" y="83677"/>
                    </a:moveTo>
                    <a:lnTo>
                      <a:pt x="42379" y="87009"/>
                    </a:lnTo>
                    <a:lnTo>
                      <a:pt x="41409" y="90331"/>
                    </a:lnTo>
                    <a:lnTo>
                      <a:pt x="37430" y="97263"/>
                    </a:lnTo>
                    <a:lnTo>
                      <a:pt x="36387" y="105477"/>
                    </a:lnTo>
                    <a:lnTo>
                      <a:pt x="34911" y="111460"/>
                    </a:lnTo>
                    <a:lnTo>
                      <a:pt x="34970" y="112964"/>
                    </a:lnTo>
                    <a:lnTo>
                      <a:pt x="34658" y="113993"/>
                    </a:lnTo>
                    <a:lnTo>
                      <a:pt x="32719" y="116053"/>
                    </a:lnTo>
                    <a:lnTo>
                      <a:pt x="30227" y="117683"/>
                    </a:lnTo>
                    <a:lnTo>
                      <a:pt x="28575" y="117517"/>
                    </a:lnTo>
                    <a:lnTo>
                      <a:pt x="27036" y="116650"/>
                    </a:lnTo>
                    <a:lnTo>
                      <a:pt x="24975" y="116148"/>
                    </a:lnTo>
                    <a:lnTo>
                      <a:pt x="1033" y="116418"/>
                    </a:lnTo>
                    <a:lnTo>
                      <a:pt x="0" y="115434"/>
                    </a:lnTo>
                    <a:lnTo>
                      <a:pt x="648" y="113408"/>
                    </a:lnTo>
                    <a:lnTo>
                      <a:pt x="2571" y="111477"/>
                    </a:lnTo>
                    <a:lnTo>
                      <a:pt x="5328" y="110905"/>
                    </a:lnTo>
                    <a:lnTo>
                      <a:pt x="4098" y="105497"/>
                    </a:lnTo>
                    <a:lnTo>
                      <a:pt x="5649" y="103849"/>
                    </a:lnTo>
                    <a:lnTo>
                      <a:pt x="8714" y="103755"/>
                    </a:lnTo>
                    <a:lnTo>
                      <a:pt x="12014" y="103003"/>
                    </a:lnTo>
                    <a:lnTo>
                      <a:pt x="22929" y="92237"/>
                    </a:lnTo>
                    <a:lnTo>
                      <a:pt x="28039" y="89986"/>
                    </a:lnTo>
                    <a:lnTo>
                      <a:pt x="33298" y="85913"/>
                    </a:lnTo>
                    <a:close/>
                    <a:moveTo>
                      <a:pt x="122200" y="0"/>
                    </a:moveTo>
                    <a:lnTo>
                      <a:pt x="123244" y="992"/>
                    </a:lnTo>
                    <a:lnTo>
                      <a:pt x="123280" y="3103"/>
                    </a:lnTo>
                    <a:lnTo>
                      <a:pt x="119014" y="7978"/>
                    </a:lnTo>
                    <a:lnTo>
                      <a:pt x="115845" y="9913"/>
                    </a:lnTo>
                    <a:lnTo>
                      <a:pt x="111897" y="11006"/>
                    </a:lnTo>
                    <a:lnTo>
                      <a:pt x="109552" y="9212"/>
                    </a:lnTo>
                    <a:lnTo>
                      <a:pt x="111396" y="5033"/>
                    </a:lnTo>
                    <a:lnTo>
                      <a:pt x="114772" y="2910"/>
                    </a:lnTo>
                    <a:lnTo>
                      <a:pt x="117213" y="2603"/>
                    </a:lnTo>
                    <a:lnTo>
                      <a:pt x="121177" y="204"/>
                    </a:lnTo>
                    <a:close/>
                  </a:path>
                </a:pathLst>
              </a:custGeom>
              <a:grpFill/>
              <a:ln w="3175" cap="rnd" cmpd="sng" algn="ctr">
                <a:solidFill>
                  <a:srgbClr val="FFFFFF">
                    <a:lumMod val="85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58500" tIns="58500" rIns="58500" bIns="585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74295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300" kern="0" dirty="0">
                  <a:solidFill>
                    <a:srgbClr val="000000"/>
                  </a:solidFill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52668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7708B-590D-0B9E-7D72-8DD9184F7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83A513F2-E01A-3323-6BCB-4F52815E5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5BFF551A-A3AE-9C4D-08D9-EC76FB419E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91CD989-9FBC-06CE-70E7-A0C7ECAFB6A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912128"/>
            <a:ext cx="6075113" cy="2007279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o-live at MARI since November 2024</a:t>
            </a:r>
          </a:p>
          <a:p>
            <a:pPr lvl="1"/>
            <a:r>
              <a:rPr lang="en-US" b="1" dirty="0"/>
              <a:t>November</a:t>
            </a:r>
            <a:r>
              <a:rPr lang="en-US" dirty="0"/>
              <a:t>  </a:t>
            </a:r>
          </a:p>
          <a:p>
            <a:pPr lvl="2"/>
            <a:r>
              <a:rPr lang="en-US" dirty="0"/>
              <a:t>Portuguese REN (</a:t>
            </a:r>
            <a:r>
              <a:rPr lang="en-US" dirty="0">
                <a:hlinkClick r:id="rId3"/>
              </a:rPr>
              <a:t>Link</a:t>
            </a:r>
            <a:r>
              <a:rPr lang="en-US" dirty="0"/>
              <a:t> to communication)</a:t>
            </a:r>
          </a:p>
          <a:p>
            <a:pPr lvl="1"/>
            <a:r>
              <a:rPr lang="en-US" b="1" dirty="0"/>
              <a:t>December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Slovakian SEPS (</a:t>
            </a:r>
            <a:r>
              <a:rPr lang="en-US" dirty="0">
                <a:hlinkClick r:id="rId4"/>
              </a:rPr>
              <a:t>Link</a:t>
            </a:r>
            <a:r>
              <a:rPr lang="en-US" dirty="0"/>
              <a:t> to communication) </a:t>
            </a:r>
          </a:p>
          <a:p>
            <a:pPr lvl="2"/>
            <a:r>
              <a:rPr lang="en-US" dirty="0"/>
              <a:t>Spanish RE (</a:t>
            </a:r>
            <a:r>
              <a:rPr lang="en-US" dirty="0">
                <a:hlinkClick r:id="rId5"/>
              </a:rPr>
              <a:t>Link</a:t>
            </a:r>
            <a:r>
              <a:rPr lang="en-US" dirty="0"/>
              <a:t> to communication) </a:t>
            </a:r>
          </a:p>
          <a:p>
            <a:pPr lvl="1"/>
            <a:r>
              <a:rPr lang="en-US" b="1" noProof="0" dirty="0"/>
              <a:t>May 2025</a:t>
            </a:r>
          </a:p>
          <a:p>
            <a:pPr lvl="2"/>
            <a:r>
              <a:rPr lang="en-US" i="1" dirty="0"/>
              <a:t>Elia</a:t>
            </a:r>
            <a:r>
              <a:rPr lang="en-US" dirty="0"/>
              <a:t> (</a:t>
            </a:r>
            <a:r>
              <a:rPr lang="en-US" dirty="0">
                <a:hlinkClick r:id="rId6"/>
              </a:rPr>
              <a:t>Li</a:t>
            </a:r>
            <a:r>
              <a:rPr lang="en-US" noProof="0" dirty="0" err="1">
                <a:hlinkClick r:id="rId6"/>
              </a:rPr>
              <a:t>nk</a:t>
            </a:r>
            <a:r>
              <a:rPr lang="en-US" noProof="0" dirty="0"/>
              <a:t> to communication)</a:t>
            </a:r>
            <a:endParaRPr lang="en-US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77940D-00D8-E52C-D50F-70AAF0084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590" name="Picture 589">
            <a:extLst>
              <a:ext uri="{FF2B5EF4-FFF2-40B4-BE49-F238E27FC236}">
                <a16:creationId xmlns:a16="http://schemas.microsoft.com/office/drawing/2014/main" id="{F1A8B707-ECD9-B490-33F3-8C12A50FC8B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60627" y="827895"/>
            <a:ext cx="2880000" cy="2881675"/>
          </a:xfrm>
          <a:prstGeom prst="rect">
            <a:avLst/>
          </a:prstGeom>
        </p:spPr>
      </p:pic>
      <p:sp>
        <p:nvSpPr>
          <p:cNvPr id="593" name="Content Placeholder 6">
            <a:extLst>
              <a:ext uri="{FF2B5EF4-FFF2-40B4-BE49-F238E27FC236}">
                <a16:creationId xmlns:a16="http://schemas.microsoft.com/office/drawing/2014/main" id="{C5442ABF-5EB8-6AF3-A8E5-60BABBDF7926}"/>
              </a:ext>
            </a:extLst>
          </p:cNvPr>
          <p:cNvSpPr txBox="1">
            <a:spLocks/>
          </p:cNvSpPr>
          <p:nvPr/>
        </p:nvSpPr>
        <p:spPr>
          <a:xfrm>
            <a:off x="506092" y="3006035"/>
            <a:ext cx="6075113" cy="374396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>
            <a:lvl1pPr marL="0" indent="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100000"/>
              <a:buFont typeface="Arial" panose="020B0604020202020204" pitchFamily="34" charset="0"/>
              <a:buNone/>
              <a:defRPr sz="1400" b="0" i="0">
                <a:solidFill>
                  <a:srgbClr val="AB5905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  <a:lvl2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AB5905"/>
              </a:buClr>
              <a:buSzPct val="70000"/>
              <a:buFont typeface="Wingdings" panose="05000000000000000000" pitchFamily="2" charset="2"/>
              <a:buChar char="l"/>
              <a:tabLst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2pPr>
            <a:lvl3pPr marL="546100" indent="-2667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SzPct val="65000"/>
              <a:buFont typeface="Wingdings" panose="05000000000000000000" pitchFamily="2" charset="2"/>
              <a:buChar char="¡"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3pPr>
            <a:lvl4pPr marL="806450" indent="-2667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Wingdings" pitchFamily="2" charset="2"/>
              <a:buChar char="§"/>
              <a:defRPr sz="1200" b="0" i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4pPr>
            <a:lvl5pPr marL="1111250" indent="-29210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‒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1435100" indent="-311150" algn="l" rtl="0" eaLnBrk="1" fontAlgn="base" hangingPunct="1">
              <a:spcBef>
                <a:spcPts val="4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‒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 pitchFamily="-64" charset="-128"/>
              </a:defRPr>
            </a:lvl6pPr>
            <a:lvl7pPr marL="2861843" indent="-220142" algn="l" rtl="0" eaLnBrk="1" fontAlgn="base" hangingPunct="1">
              <a:spcBef>
                <a:spcPts val="400"/>
              </a:spcBef>
              <a:spcAft>
                <a:spcPct val="0"/>
              </a:spcAft>
              <a:buChar char="»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 pitchFamily="-64" charset="-128"/>
              </a:defRPr>
            </a:lvl7pPr>
            <a:lvl8pPr marL="3302127" indent="-220142" algn="l" rtl="0" eaLnBrk="1" fontAlgn="base" hangingPunct="1">
              <a:spcBef>
                <a:spcPts val="400"/>
              </a:spcBef>
              <a:spcAft>
                <a:spcPct val="0"/>
              </a:spcAft>
              <a:buChar char="»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 pitchFamily="-64" charset="-128"/>
              </a:defRPr>
            </a:lvl8pPr>
            <a:lvl9pPr marL="3742411" indent="-220142" algn="l" rtl="0" eaLnBrk="1" fontAlgn="base" hangingPunct="1">
              <a:spcBef>
                <a:spcPts val="400"/>
              </a:spcBef>
              <a:spcAft>
                <a:spcPct val="0"/>
              </a:spcAft>
              <a:buChar char="»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 pitchFamily="-64" charset="-128"/>
              </a:defRPr>
            </a:lvl9pPr>
          </a:lstStyle>
          <a:p>
            <a:r>
              <a:rPr lang="en-US" b="1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o-live at PICASSO since November 2024</a:t>
            </a:r>
          </a:p>
          <a:p>
            <a:pPr marL="409138" lvl="1"/>
            <a:r>
              <a:rPr lang="en-US" b="1" dirty="0"/>
              <a:t>November 24</a:t>
            </a:r>
          </a:p>
          <a:p>
            <a:pPr marL="731083" lvl="2"/>
            <a:r>
              <a:rPr lang="en-US" dirty="0"/>
              <a:t>SEPS joined PICASSO (</a:t>
            </a:r>
            <a:r>
              <a:rPr lang="en-US" dirty="0">
                <a:hlinkClick r:id="rId8"/>
              </a:rPr>
              <a:t>Link</a:t>
            </a:r>
            <a:r>
              <a:rPr lang="en-US" dirty="0"/>
              <a:t> to communication)</a:t>
            </a:r>
          </a:p>
          <a:p>
            <a:pPr marL="731083" lvl="2"/>
            <a:r>
              <a:rPr lang="en-US" dirty="0"/>
              <a:t>ELIA joined PICASSO (</a:t>
            </a:r>
            <a:r>
              <a:rPr lang="en-US" dirty="0">
                <a:hlinkClick r:id="rId9"/>
              </a:rPr>
              <a:t>Link</a:t>
            </a:r>
            <a:r>
              <a:rPr lang="en-US" dirty="0"/>
              <a:t> to communication) </a:t>
            </a:r>
            <a:endParaRPr lang="en-US" sz="1381" dirty="0"/>
          </a:p>
          <a:p>
            <a:pPr marL="503795" lvl="1"/>
            <a:r>
              <a:rPr lang="en-US" b="1" noProof="0" dirty="0"/>
              <a:t>February/March 25</a:t>
            </a:r>
          </a:p>
          <a:p>
            <a:pPr marL="899795" lvl="2"/>
            <a:r>
              <a:rPr lang="en-US" i="1" noProof="0" dirty="0"/>
              <a:t>ESO</a:t>
            </a:r>
            <a:r>
              <a:rPr lang="en-US" noProof="0" dirty="0"/>
              <a:t> joined PICASSO (</a:t>
            </a:r>
            <a:r>
              <a:rPr lang="en-US" noProof="0" dirty="0">
                <a:hlinkClick r:id="rId10"/>
              </a:rPr>
              <a:t>Link</a:t>
            </a:r>
            <a:r>
              <a:rPr lang="en-US" noProof="0" dirty="0"/>
              <a:t> to communication)</a:t>
            </a:r>
          </a:p>
          <a:p>
            <a:pPr marL="899795" lvl="2"/>
            <a:r>
              <a:rPr lang="en-US" i="1" noProof="0" dirty="0" err="1"/>
              <a:t>Litgrid</a:t>
            </a:r>
            <a:r>
              <a:rPr lang="en-US" noProof="0" dirty="0"/>
              <a:t> joined PICASSO (</a:t>
            </a:r>
            <a:r>
              <a:rPr lang="en-US" noProof="0" dirty="0">
                <a:hlinkClick r:id="rId11"/>
              </a:rPr>
              <a:t>Link</a:t>
            </a:r>
            <a:r>
              <a:rPr lang="en-US" noProof="0" dirty="0"/>
              <a:t> to communication)</a:t>
            </a:r>
          </a:p>
          <a:p>
            <a:pPr marL="899795" lvl="2"/>
            <a:r>
              <a:rPr lang="en-US" i="1" noProof="0" dirty="0"/>
              <a:t>ADMIE</a:t>
            </a:r>
            <a:r>
              <a:rPr lang="en-US" noProof="0" dirty="0"/>
              <a:t> joined PICASSO (</a:t>
            </a:r>
            <a:r>
              <a:rPr lang="en-US" noProof="0" dirty="0">
                <a:hlinkClick r:id="rId12"/>
              </a:rPr>
              <a:t>Link</a:t>
            </a:r>
            <a:r>
              <a:rPr lang="en-US" noProof="0" dirty="0"/>
              <a:t> to communication)</a:t>
            </a:r>
          </a:p>
          <a:p>
            <a:pPr marL="899795" lvl="2"/>
            <a:r>
              <a:rPr lang="en-US" i="1" noProof="0" dirty="0" err="1"/>
              <a:t>Fingrid</a:t>
            </a:r>
            <a:r>
              <a:rPr lang="en-US" noProof="0" dirty="0"/>
              <a:t> joined PICASSO (</a:t>
            </a:r>
            <a:r>
              <a:rPr lang="en-US" noProof="0" dirty="0">
                <a:hlinkClick r:id="rId13"/>
              </a:rPr>
              <a:t>Link</a:t>
            </a:r>
            <a:r>
              <a:rPr lang="en-US" noProof="0" dirty="0"/>
              <a:t> to communication)</a:t>
            </a:r>
            <a:endParaRPr lang="en-US" dirty="0"/>
          </a:p>
          <a:p>
            <a:pPr marL="671195" lvl="2" indent="0">
              <a:buNone/>
            </a:pPr>
            <a:endParaRPr lang="en-US" noProof="0" dirty="0"/>
          </a:p>
          <a:p>
            <a:pPr marL="560945" lvl="1" indent="-285750"/>
            <a:r>
              <a:rPr lang="en-US" b="1" dirty="0"/>
              <a:t>April/May/June 25</a:t>
            </a:r>
          </a:p>
          <a:p>
            <a:pPr marL="899795" lvl="2"/>
            <a:r>
              <a:rPr lang="en-US" i="1" dirty="0"/>
              <a:t>RTE</a:t>
            </a:r>
            <a:r>
              <a:rPr lang="en-US" dirty="0"/>
              <a:t> joined PICASSO (</a:t>
            </a:r>
            <a:r>
              <a:rPr lang="en-US" dirty="0">
                <a:hlinkClick r:id="rId14"/>
              </a:rPr>
              <a:t>Link</a:t>
            </a:r>
            <a:r>
              <a:rPr lang="en-US" dirty="0"/>
              <a:t> to communication)</a:t>
            </a:r>
          </a:p>
          <a:p>
            <a:pPr marL="899795" lvl="2"/>
            <a:r>
              <a:rPr lang="en-US" i="1" noProof="0" dirty="0"/>
              <a:t>AST</a:t>
            </a:r>
            <a:r>
              <a:rPr lang="en-US" noProof="0" dirty="0"/>
              <a:t> joined PICASSO (</a:t>
            </a:r>
            <a:r>
              <a:rPr lang="en-US" noProof="0" dirty="0">
                <a:hlinkClick r:id="rId15"/>
              </a:rPr>
              <a:t>Link</a:t>
            </a:r>
            <a:r>
              <a:rPr lang="en-US" noProof="0" dirty="0"/>
              <a:t> to communication)</a:t>
            </a:r>
          </a:p>
          <a:p>
            <a:pPr marL="899795" lvl="2"/>
            <a:r>
              <a:rPr lang="en-US" i="1" dirty="0"/>
              <a:t>ELERING</a:t>
            </a:r>
            <a:r>
              <a:rPr lang="en-US" dirty="0"/>
              <a:t> joined PICASSO (</a:t>
            </a:r>
            <a:r>
              <a:rPr lang="en-US" dirty="0">
                <a:hlinkClick r:id="rId16"/>
              </a:rPr>
              <a:t>Link</a:t>
            </a:r>
            <a:r>
              <a:rPr lang="en-US" dirty="0"/>
              <a:t> to communication)</a:t>
            </a:r>
          </a:p>
          <a:p>
            <a:pPr marL="899795" lvl="2"/>
            <a:r>
              <a:rPr lang="en-US" dirty="0"/>
              <a:t>RE joined PICASSO (</a:t>
            </a:r>
            <a:r>
              <a:rPr lang="en-US" dirty="0">
                <a:hlinkClick r:id="rId17"/>
              </a:rPr>
              <a:t>Link</a:t>
            </a:r>
            <a:r>
              <a:rPr lang="en-US" dirty="0"/>
              <a:t> to Communication)</a:t>
            </a:r>
          </a:p>
        </p:txBody>
      </p:sp>
      <p:cxnSp>
        <p:nvCxnSpPr>
          <p:cNvPr id="601" name="Straight Connector 600">
            <a:extLst>
              <a:ext uri="{FF2B5EF4-FFF2-40B4-BE49-F238E27FC236}">
                <a16:creationId xmlns:a16="http://schemas.microsoft.com/office/drawing/2014/main" id="{0E10FB19-53DC-C528-13DA-3F1FBFA4196B}"/>
              </a:ext>
            </a:extLst>
          </p:cNvPr>
          <p:cNvCxnSpPr>
            <a:cxnSpLocks/>
          </p:cNvCxnSpPr>
          <p:nvPr/>
        </p:nvCxnSpPr>
        <p:spPr bwMode="auto">
          <a:xfrm>
            <a:off x="392763" y="2936508"/>
            <a:ext cx="6222349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lg" len="lg"/>
            <a:tailEnd type="none"/>
          </a:ln>
          <a:effectLst/>
        </p:spPr>
      </p:cxnSp>
      <p:pic>
        <p:nvPicPr>
          <p:cNvPr id="609" name="Picture 608">
            <a:extLst>
              <a:ext uri="{FF2B5EF4-FFF2-40B4-BE49-F238E27FC236}">
                <a16:creationId xmlns:a16="http://schemas.microsoft.com/office/drawing/2014/main" id="{ADC3718B-5B7F-6858-39C3-1F4BD3FD666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107835" y="3003089"/>
            <a:ext cx="1552792" cy="628738"/>
          </a:xfrm>
          <a:prstGeom prst="rect">
            <a:avLst/>
          </a:prstGeom>
        </p:spPr>
      </p:pic>
      <p:pic>
        <p:nvPicPr>
          <p:cNvPr id="611" name="Picture 610">
            <a:extLst>
              <a:ext uri="{FF2B5EF4-FFF2-40B4-BE49-F238E27FC236}">
                <a16:creationId xmlns:a16="http://schemas.microsoft.com/office/drawing/2014/main" id="{77665969-1EB7-67F0-C2C8-656A68127B83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 t="1970"/>
          <a:stretch/>
        </p:blipFill>
        <p:spPr>
          <a:xfrm>
            <a:off x="5076045" y="909182"/>
            <a:ext cx="1505160" cy="70973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28DBC36-B702-EB51-DF90-C9B7554660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9599" y="3823319"/>
            <a:ext cx="2868000" cy="28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12462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 of the accession roadmaps </a:t>
            </a:r>
            <a:r>
              <a:rPr lang="cs-CZ" sz="1600" dirty="0">
                <a:solidFill>
                  <a:schemeClr val="tx1"/>
                </a:solidFill>
              </a:rPr>
              <a:t>MARI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ckground: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ession Roadmap based on 2</a:t>
            </a:r>
            <a: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.3. 2025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ublished version</a:t>
            </a:r>
          </a:p>
          <a:p>
            <a:r>
              <a:rPr lang="cs-CZ" dirty="0">
                <a:hlinkClick r:id="rId3"/>
              </a:rPr>
              <a:t>MARI_Accession_Roadmap_APR_2025.pdf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/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US" sz="1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6925BE-7712-EEE7-9D04-E4F9E8A5A9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999" y="1721366"/>
            <a:ext cx="6840000" cy="441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1090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 of the accession roadmaps </a:t>
            </a:r>
            <a:r>
              <a:rPr lang="cs-CZ" sz="1600" dirty="0">
                <a:solidFill>
                  <a:schemeClr val="tx1"/>
                </a:solidFill>
              </a:rPr>
              <a:t>MARI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ckground: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ession Roadmap based on 2</a:t>
            </a:r>
            <a: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.3. 2025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published version / footnotes</a:t>
            </a:r>
            <a:b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cs-CZ" dirty="0">
                <a:hlinkClick r:id="rId3"/>
              </a:rPr>
              <a:t>MARI_Accession_Roadmap_APR_2025.pdf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/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US" sz="1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F517E8-8DE9-00D7-54D6-56E174FB6C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80" y="1716597"/>
            <a:ext cx="8280000" cy="4973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4637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890A1F-7D81-528C-8DCB-3D4BC9F98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3474027A-113B-A837-60CD-C7C8FCEAE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E8242BF-6BEE-D967-4DDE-5CCAFCD2281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 of the accession roadmaps </a:t>
            </a:r>
            <a:r>
              <a:rPr lang="cs-CZ" sz="1600" dirty="0">
                <a:solidFill>
                  <a:schemeClr val="tx1"/>
                </a:solidFill>
              </a:rPr>
              <a:t>PICASSO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101C63C-7E86-E5CD-39E1-F85ABCE435E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ckground: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Accession Roadmap based on </a:t>
            </a:r>
            <a: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7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.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ublished version </a:t>
            </a:r>
            <a:r>
              <a:rPr lang="cs-CZ" dirty="0">
                <a:hlinkClick r:id="rId3"/>
              </a:rPr>
              <a:t>PICASSO_Accession_Roadmap_APR_2025.pdf</a:t>
            </a:r>
            <a:endParaRPr lang="en-US" sz="1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A3A63C4-E90F-CF9D-E528-3F3440DA8D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4DE3AB-4010-6DC7-3731-1C147206FF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999" y="1737972"/>
            <a:ext cx="6840000" cy="4798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67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1003B7-2BF2-0212-FC68-4C2101FB78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4">
            <a:extLst>
              <a:ext uri="{FF2B5EF4-FFF2-40B4-BE49-F238E27FC236}">
                <a16:creationId xmlns:a16="http://schemas.microsoft.com/office/drawing/2014/main" id="{03F92178-1871-7944-8E7F-7352EBBAF7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>
                <a:solidFill>
                  <a:schemeClr val="tx1"/>
                </a:solidFill>
              </a:rPr>
              <a:t>Recent developments and updat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73184DD-9106-4A16-0618-F9F0EB14470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z="1600" dirty="0">
                <a:solidFill>
                  <a:schemeClr val="tx1"/>
                </a:solidFill>
              </a:rPr>
              <a:t>Update of the accession roadmaps </a:t>
            </a:r>
            <a:r>
              <a:rPr lang="cs-CZ" sz="1600" dirty="0">
                <a:solidFill>
                  <a:schemeClr val="tx1"/>
                </a:solidFill>
              </a:rPr>
              <a:t>PICASSO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F673332-AEC0-8B78-A73F-7C36A944122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39999" y="1166444"/>
            <a:ext cx="8351281" cy="3871722"/>
          </a:xfrm>
          <a:noFill/>
          <a:ln>
            <a:noFill/>
          </a:ln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ckground: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ession Roadmap based on </a:t>
            </a:r>
            <a: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7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. 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ublished version footnotes </a:t>
            </a:r>
            <a:r>
              <a:rPr lang="cs-CZ" dirty="0">
                <a:hlinkClick r:id="rId3"/>
              </a:rPr>
              <a:t>PICASSO_Accession_Roadmap_APR_2025.pdf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457200"/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1">
              <a:buClr>
                <a:srgbClr val="A15D22"/>
              </a:buClr>
            </a:pPr>
            <a:endParaRPr lang="en-US" sz="14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2CF56A-D62E-99B0-7433-78F16D82B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551322C-20B2-48C3-B63D-68158FEBF63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14A4C76-8ABC-3CB3-ADF3-49271FE6568E}"/>
              </a:ext>
            </a:extLst>
          </p:cNvPr>
          <p:cNvSpPr/>
          <p:nvPr/>
        </p:nvSpPr>
        <p:spPr bwMode="auto">
          <a:xfrm>
            <a:off x="4180974" y="4944979"/>
            <a:ext cx="1395663" cy="457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0E8BE8A-E5F0-AC00-41D1-2F6E33FED3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280" y="1722850"/>
            <a:ext cx="8280000" cy="3932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6853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F"/>
  <p:tag name="EE4P_MAPWIZARD_HEADINGS" val="Admin 1"/>
  <p:tag name="EE4P_MAPWIZARD" val="Renfrewshir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L"/>
  <p:tag name="EE4P_MAPWIZARD_HEADINGS" val="Admin 1"/>
  <p:tag name="EE4P_MAPWIZARD" val="Flintshir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X"/>
  <p:tag name="EE4P_MAPWIZARD_HEADINGS" val="Admin 1"/>
  <p:tag name="EE4P_MAPWIZARD" val="Wrexham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Y"/>
  <p:tag name="EE4P_MAPWIZARD_HEADINGS" val="Admin 1"/>
  <p:tag name="EE4P_MAPWIZARD" val="Anglesey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W"/>
  <p:tag name="EE4P_MAPWIZARD_HEADINGS" val="Admin 1"/>
  <p:tag name="EE4P_MAPWIZARD" val="Conwy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D"/>
  <p:tag name="EE4P_MAPWIZARD_HEADINGS" val="Admin 1"/>
  <p:tag name="EE4P_MAPWIZARD" val="Gwyned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1"/>
  <p:tag name="EE4P_MAPWIZARD" val="Blaenau Gwen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1"/>
  <p:tag name="EE4P_MAPWIZARD" val="Monmouthshir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1"/>
  <p:tag name="EE4P_MAPWIZARD" val="Newpor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F"/>
  <p:tag name="EE4P_MAPWIZARD_HEADINGS" val="Admin 1"/>
  <p:tag name="EE4P_MAPWIZARD" val="Torfae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G"/>
  <p:tag name="EE4P_MAPWIZARD_HEADINGS" val="Admin 1"/>
  <p:tag name="EE4P_MAPWIZARD" val="Dumfries and Galloway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1"/>
  <p:tag name="EE4P_MAPWIZARD" val="South Ayrshir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1"/>
  <p:tag name="EE4P_MAPWIZARD" val="Cumbri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Y"/>
  <p:tag name="EE4P_MAPWIZARD_HEADINGS" val="Admin 1"/>
  <p:tag name="EE4P_MAPWIZARD" val="North Yorkshir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1"/>
  <p:tag name="EE4P_MAPWIZARD" val="Plymouth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B"/>
  <p:tag name="EE4P_MAPWIZARD_HEADINGS" val="Admin 1"/>
  <p:tag name="EE4P_MAPWIZARD" val="Torbay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X"/>
  <p:tag name="EE4P_MAPWIZARD_HEADINGS" val="Admin 1"/>
  <p:tag name="EE4P_MAPWIZARD" val="Essex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F"/>
  <p:tag name="EE4P_MAPWIZARD_HEADINGS" val="Admin 1"/>
  <p:tag name="EE4P_MAPWIZARD" val="Suffolk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F"/>
  <p:tag name="EE4P_MAPWIZARD_HEADINGS" val="Admin 1"/>
  <p:tag name="EE4P_MAPWIZARD" val="Norfolk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H"/>
  <p:tag name="EE4P_MAPWIZARD_HEADINGS" val="Admin 1"/>
  <p:tag name="EE4P_MAPWIZARD" val="Brighton and Hov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V"/>
  <p:tag name="EE4P_MAPWIZARD_HEADINGS" val="Admin 1"/>
  <p:tag name="EE4P_MAPWIZARD" val="Haveri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1"/>
  <p:tag name="EE4P_MAPWIZARD" val="Thurrock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1"/>
  <p:tag name="EE4P_MAPWIZARD" val="South Lanarkshir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1"/>
  <p:tag name="EE4P_MAPWIZARD" val="East Sussex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1"/>
  <p:tag name="EE4P_MAPWIZARD" val="Medway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1"/>
  <p:tag name="EE4P_MAPWIZARD" val="Southend-on-Se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O"/>
  <p:tag name="EE4P_MAPWIZARD_HEADINGS" val="Admin 1"/>
  <p:tag name="EE4P_MAPWIZARD" val="Orkney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I"/>
  <p:tag name="EE4P_MAPWIZARD_HEADINGS" val="Admin 1"/>
  <p:tag name="EE4P_MAPWIZARD" val="Highlan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B"/>
  <p:tag name="EE4P_MAPWIZARD_HEADINGS" val="Admin 1"/>
  <p:tag name="EE4P_MAPWIZARD" val="Argyll and Bu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1"/>
  <p:tag name="EE4P_MAPWIZARD" val="Shetland Islands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S"/>
  <p:tag name="EE4P_MAPWIZARD_HEADINGS" val="Admin 1"/>
  <p:tag name="EE4P_MAPWIZARD" val="West Sussex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1"/>
  <p:tag name="EE4P_MAPWIZARD" val="Northamptonshir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R"/>
  <p:tag name="EE4P_MAPWIZARD_HEADINGS" val="Admin 1"/>
  <p:tag name="EE4P_MAPWIZARD" val="Warwickshir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D"/>
  <p:tag name="EE4P_MAPWIZARD_HEADINGS" val="Admin 1"/>
  <p:tag name="EE4P_MAPWIZARD" val="West Dunbartonshir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X"/>
  <p:tag name="EE4P_MAPWIZARD_HEADINGS" val="Admin 1"/>
  <p:tag name="EE4P_MAPWIZARD" val="Oxfordshir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1"/>
  <p:tag name="EE4P_MAPWIZARD" val="Lut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D"/>
  <p:tag name="EE4P_MAPWIZARD_HEADINGS" val="Admin 1"/>
  <p:tag name="EE4P_MAPWIZARD" val="Hillingd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T"/>
  <p:tag name="EE4P_MAPWIZARD_HEADINGS" val="Admin 1"/>
  <p:tag name="EE4P_MAPWIZARD" val="Kingston upon Thames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1"/>
  <p:tag name="EE4P_MAPWIZARD" val="Surrey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1"/>
  <p:tag name="EE4P_MAPWIZARD" val="Swind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L"/>
  <p:tag name="EE4P_MAPWIZARD_HEADINGS" val="Admin 1"/>
  <p:tag name="EE4P_MAPWIZARD" val="Wiltshir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W"/>
  <p:tag name="EE4P_MAPWIZARD_HEADINGS" val="Admin 1"/>
  <p:tag name="EE4P_MAPWIZARD" val="Isle of Wigh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S"/>
  <p:tag name="EE4P_MAPWIZARD_HEADINGS" val="Admin 1"/>
  <p:tag name="EE4P_MAPWIZARD" val="Portsmouth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B"/>
  <p:tag name="EE4P_MAPWIZARD_HEADINGS" val="Admin 1"/>
  <p:tag name="EE4P_MAPWIZARD" val="Peterborough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1"/>
  <p:tag name="EE4P_MAPWIZARD" val="Aberdee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C"/>
  <p:tag name="EE4P_MAPWIZARD_HEADINGS" val="Admin 1"/>
  <p:tag name="EE4P_MAPWIZARD" val="Leicest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L"/>
  <p:tag name="EE4P_MAPWIZARD_HEADINGS" val="Admin 1"/>
  <p:tag name="EE4P_MAPWIZARD" val="Rutlan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1"/>
  <p:tag name="EE4P_MAPWIZARD" val="Nottingham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T"/>
  <p:tag name="EE4P_MAPWIZARD_HEADINGS" val="Admin 1"/>
  <p:tag name="EE4P_MAPWIZARD" val="Nottinghamshir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K"/>
  <p:tag name="EE4P_MAPWIZARD_HEADINGS" val="Admin 1"/>
  <p:tag name="EE4P_MAPWIZARD" val="Hackney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Y"/>
  <p:tag name="EE4P_MAPWIZARD_HEADINGS" val="Admin 1"/>
  <p:tag name="EE4P_MAPWIZARD" val="Haringey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1"/>
  <p:tag name="EE4P_MAPWIZARD" val="Harro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1"/>
  <p:tag name="EE4P_MAPWIZARD" val="Lambeth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W"/>
  <p:tag name="EE4P_MAPWIZARD_HEADINGS" val="Admin 1"/>
  <p:tag name="EE4P_MAPWIZARD" val="Lewisham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H"/>
  <p:tag name="EE4P_MAPWIZARD_HEADINGS" val="Admin 1"/>
  <p:tag name="EE4P_MAPWIZARD" val="Newha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S"/>
  <p:tag name="EE4P_MAPWIZARD_HEADINGS" val="Admin 1"/>
  <p:tag name="EE4P_MAPWIZARD" val="Aberdeenshir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Q"/>
  <p:tag name="EE4P_MAPWIZARD_HEADINGS" val="Admin 1"/>
  <p:tag name="EE4P_MAPWIZARD" val="Southwark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I"/>
  <p:tag name="EE4P_MAPWIZARD_HEADINGS" val="Admin 1"/>
  <p:tag name="EE4P_MAPWIZARD" val="Eilean Sia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T"/>
  <p:tag name="EE4P_MAPWIZARD_HEADINGS" val="Admin 1"/>
  <p:tag name="EE4P_MAPWIZARD" val="Warringt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E"/>
  <p:tag name="EE4P_MAPWIZARD_HEADINGS" val="Admin 1"/>
  <p:tag name="EE4P_MAPWIZARD" val="Herefordshir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C"/>
  <p:tag name="EE4P_MAPWIZARD_HEADINGS" val="Admin 1"/>
  <p:tag name="EE4P_MAPWIZARD" val="Worcestershir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T"/>
  <p:tag name="EE4P_MAPWIZARD_HEADINGS" val="Admin 1"/>
  <p:tag name="EE4P_MAPWIZARD" val="Staffordshir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1"/>
  <p:tag name="EE4P_MAPWIZARD" val="Stoke-on-Tren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P"/>
  <p:tag name="EE4P_MAPWIZARD_HEADINGS" val="Admin 1"/>
  <p:tag name="EE4P_MAPWIZARD" val="Shropshir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1"/>
  <p:tag name="EE4P_MAPWIZARD" val="Ken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1"/>
  <p:tag name="EE4P_MAPWIZARD" val="City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O"/>
  <p:tag name="EE4P_MAPWIZARD_HEADINGS" val="Admin 1"/>
  <p:tag name="EE4P_MAPWIZARD" val="Moray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Newcastle upon Tyn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North Tynesid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South Tynesid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Sunderlan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1"/>
  <p:tag name="EE4P_MAPWIZARD" val="Gateshea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Knowsley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Seft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Liverpool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S"/>
  <p:tag name="EE4P_MAPWIZARD_HEADINGS" val="Admin 1"/>
  <p:tag name="EE4P_MAPWIZARD" val="Merseysid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1"/>
  <p:tag name="EE4P_MAPWIZARD" val="Blackpoo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K"/>
  <p:tag name="EE4P_MAPWIZARD_HEADINGS" val="Admin 1"/>
  <p:tag name="EE4P_MAPWIZARD" val="Falkirk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Kirklees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Calderda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Bradfor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Leeds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Y"/>
  <p:tag name="EE4P_MAPWIZARD_HEADINGS" val="Admin 1"/>
  <p:tag name="EE4P_MAPWIZARD" val="Wakefie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Salfor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Wiga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Bolt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Bury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Rochd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G"/>
  <p:tag name="EE4P_MAPWIZARD_HEADINGS" val="Admin 1"/>
  <p:tag name="EE4P_MAPWIZARD" val="Stirlin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Oldham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Tamesid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Stockpor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Manchest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1"/>
  <p:tag name="EE4P_MAPWIZARD" val="Traffor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Rotherham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Sheffie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Barnsley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1"/>
  <p:tag name="EE4P_MAPWIZARD" val="Doncast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Birmingham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C"/>
  <p:tag name="EE4P_MAPWIZARD_HEADINGS" val="Admin 1"/>
  <p:tag name="EE4P_MAPWIZARD" val="Clackmannanshir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Sandwell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Dudley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Wolverhampton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Walsall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Solihull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M"/>
  <p:tag name="EE4P_MAPWIZARD_HEADINGS" val="Admin 1"/>
  <p:tag name="EE4P_MAPWIZARD" val="Coventry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1"/>
  <p:tag name="EE4P_MAPWIZARD" val="Central Bedfordshir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1"/>
  <p:tag name="EE4P_MAPWIZARD" val="Bedfor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Readin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West Berkshir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"/>
  <p:tag name="EE4P_MAPWIZARD" val="Irelan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2"/>
  <p:tag name="EE4P_MAPWIZARD_HEADINGS" val="Admin 1"/>
  <p:tag name="EE4P_MAPWIZARD" val="Perthshire and Kinros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Wokingham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Bracknell Fores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Royal Borough of Windsor and Mai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K"/>
  <p:tag name="EE4P_MAPWIZARD_HEADINGS" val="Admin 1"/>
  <p:tag name="EE4P_MAPWIZARD" val="Slough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F"/>
  <p:tag name="EE4P_MAPWIZARD_HEADINGS" val="Admin 1"/>
  <p:tag name="EE4P_MAPWIZARD" val="Barne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1"/>
  <p:tag name="EE4P_MAPWIZARD" val="Cheshire Eas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T"/>
  <p:tag name="EE4P_MAPWIZARD_HEADINGS" val="Admin 1"/>
  <p:tag name="EE4P_MAPWIZARD" val="Cheshire West and Chest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T"/>
  <p:tag name="EE4P_MAPWIZARD_HEADINGS" val="Admin 1"/>
  <p:tag name="EE4P_MAPWIZARD" val="Halt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1"/>
  <p:tag name="EE4P_MAPWIZARD" val="Isles of Scilly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M"/>
  <p:tag name="EE4P_MAPWIZARD_HEADINGS" val="Admin 1"/>
  <p:tag name="EE4P_MAPWIZARD" val="Isle of Ma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G"/>
  <p:tag name="EE4P_MAPWIZARD_HEADINGS" val="Admin 1"/>
  <p:tag name="EE4P_MAPWIZARD" val="Angu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E"/>
  <p:tag name="EE4P_MAPWIZARD_HEADINGS" val="Admin 1"/>
  <p:tag name="EE4P_MAPWIZARD" val="Jersey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2"/>
  <p:tag name="EE4P_MAPWIZARD_HEADINGS" val="Admin 1"/>
  <p:tag name="EE4P_MAPWIZARD" val="Guernsey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1"/>
  <p:tag name="EE4P_MAPWIZARD" val="Belfas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D"/>
  <p:tag name="EE4P_MAPWIZARD_HEADINGS" val="Admin 1"/>
  <p:tag name="EE4P_MAPWIZARD" val="Derry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1"/>
  <p:tag name="EE4P_MAPWIZARD" val="Omagh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1"/>
  <p:tag name="EE4P_MAPWIZARD" val="Armagh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M"/>
  <p:tag name="EE4P_MAPWIZARD_HEADINGS" val="Admin 1"/>
  <p:tag name="EE4P_MAPWIZARD" val="Newry and Mourn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B"/>
  <p:tag name="EE4P_MAPWIZARD_HEADINGS" val="Admin 1"/>
  <p:tag name="EE4P_MAPWIZARD" val="Banbridg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1"/>
  <p:tag name="EE4P_MAPWIZARD" val="Craigav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N"/>
  <p:tag name="EE4P_MAPWIZARD_HEADINGS" val="Admin 1"/>
  <p:tag name="EE4P_MAPWIZARD" val="Dungann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U"/>
  <p:tag name="EE4P_MAPWIZARD_HEADINGS" val="Admin 1"/>
  <p:tag name="EE4P_MAPWIZARD" val="Dunde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1"/>
  <p:tag name="EE4P_MAPWIZARD" val="Lisbur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4"/>
  <p:tag name="EE4P_MAPWIZARD_HEADINGS" val="Admin 1"/>
  <p:tag name="EE4P_MAPWIZARD" val="Cookstow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N"/>
  <p:tag name="EE4P_MAPWIZARD_HEADINGS" val="Admin 1"/>
  <p:tag name="EE4P_MAPWIZARD" val="Antrim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F"/>
  <p:tag name="EE4P_MAPWIZARD_HEADINGS" val="Admin 1"/>
  <p:tag name="EE4P_MAPWIZARD" val="Magherafel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L"/>
  <p:tag name="EE4P_MAPWIZARD_HEADINGS" val="Admin 1"/>
  <p:tag name="EE4P_MAPWIZARD" val="Ballymen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1"/>
  <p:tag name="EE4P_MAPWIZARD" val="Larn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1"/>
  <p:tag name="EE4P_MAPWIZARD" val="Carrickfergus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W"/>
  <p:tag name="EE4P_MAPWIZARD_HEADINGS" val="Admin 1"/>
  <p:tag name="EE4P_MAPWIZARD" val="Newtownabbey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D"/>
  <p:tag name="EE4P_MAPWIZARD_HEADINGS" val="Admin 1"/>
  <p:tag name="EE4P_MAPWIZARD" val="North Down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W"/>
  <p:tag name="EE4P_MAPWIZARD_HEADINGS" val="Admin 1"/>
  <p:tag name="EE4P_MAPWIZARD" val="Dow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1"/>
  <p:tag name="EE4P_MAPWIZARD" val="Fif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1"/>
  <p:tag name="EE4P_MAPWIZARD" val="Colerain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1"/>
  <p:tag name="EE4P_MAPWIZARD" val="Ballymoney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M"/>
  <p:tag name="EE4P_MAPWIZARD_HEADINGS" val="Admin 1"/>
  <p:tag name="EE4P_MAPWIZARD" val="Limavady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S"/>
  <p:tag name="EE4P_MAPWIZARD_HEADINGS" val="Admin 1"/>
  <p:tag name="EE4P_MAPWIZARD" val="Castlereagh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1"/>
  <p:tag name="EE4P_MAPWIZARD" val="Straban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E"/>
  <p:tag name="EE4P_MAPWIZARD_HEADINGS" val="Admin 1"/>
  <p:tag name="EE4P_MAPWIZARD" val="Fermanagh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D"/>
  <p:tag name="EE4P_MAPWIZARD_HEADINGS" val="Admin 1"/>
  <p:tag name="EE4P_MAPWIZARD" val="Ards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1"/>
  <p:tag name="EE4P_MAPWIZARD" val="Moy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"/>
  <p:tag name="EE4P_MAPWIZARD" val="Albani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D"/>
  <p:tag name="EE4P_MAPWIZARD_HEADINGS" val="Admin 0"/>
  <p:tag name="EE4P_MAPWIZARD" val="Andor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L"/>
  <p:tag name="EE4P_MAPWIZARD_HEADINGS" val="Admin 1"/>
  <p:tag name="EE4P_MAPWIZARD" val="East Lothia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"/>
  <p:tag name="EE4P_MAPWIZARD" val="Austri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"/>
  <p:tag name="EE4P_MAPWIZARD" val="Belgium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"/>
  <p:tag name="EE4P_MAPWIZARD" val="Bulgari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"/>
  <p:tag name="EE4P_MAPWIZARD" val="Bosnia and Herzegovin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"/>
  <p:tag name="EE4P_MAPWIZARD" val="Switzerland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"/>
  <p:tag name="EE4P_MAPWIZARD" val="Czech Republic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"/>
  <p:tag name="EE4P_MAPWIZARD" val="Germany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"/>
  <p:tag name="EE4P_MAPWIZARD" val="Denmark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"/>
  <p:tag name="EE4P_MAPWIZARD" val="Spai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B"/>
  <p:tag name="EE4P_MAPWIZARD_HEADINGS" val="Admin 1"/>
  <p:tag name="EE4P_MAPWIZARD" val="Edinburgh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"/>
  <p:tag name="EE4P_MAPWIZARD" val="Estoni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"/>
  <p:tag name="EE4P_MAPWIZARD" val="Finland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"/>
  <p:tag name="EE4P_MAPWIZARD" val="Franc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"/>
  <p:tag name="EE4P_MAPWIZARD" val="Greec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"/>
  <p:tag name="EE4P_MAPWIZARD" val="Croati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"/>
  <p:tag name="EE4P_MAPWIZARD" val="Hungary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0"/>
  <p:tag name="EE4P_MAPWIZARD" val="San Marino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"/>
  <p:tag name="EE4P_MAPWIZARD" val="Kosovo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0"/>
  <p:tag name="EE4P_MAPWIZARD" val="Liechtenstei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1"/>
  <p:tag name="EE4P_MAPWIZARD" val="Midlothia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"/>
  <p:tag name="EE4P_MAPWIZARD" val="Lithuani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"/>
  <p:tag name="EE4P_MAPWIZARD" val="Luxembour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"/>
  <p:tag name="EE4P_MAPWIZARD" val="Latvi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C"/>
  <p:tag name="EE4P_MAPWIZARD_HEADINGS" val="Admin 0"/>
  <p:tag name="EE4P_MAPWIZARD" val="Monaco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"/>
  <p:tag name="EE4P_MAPWIZARD" val="Macedoni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0"/>
  <p:tag name="EE4P_MAPWIZARD" val="Malt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"/>
  <p:tag name="EE4P_MAPWIZARD" val="Montenegro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"/>
  <p:tag name="EE4P_MAPWIZARD" val="Netherlands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"/>
  <p:tag name="EE4P_MAPWIZARD" val="Norway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H"/>
  <p:tag name="EE4P_MAPWIZARD_HEADINGS" val="Admin 1"/>
  <p:tag name="EE4P_MAPWIZARD" val="West Lothia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"/>
  <p:tag name="EE4P_MAPWIZARD" val="Polan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"/>
  <p:tag name="EE4P_MAPWIZARD" val="Portugal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"/>
  <p:tag name="EE4P_MAPWIZARD" val="Romani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"/>
  <p:tag name="EE4P_MAPWIZARD" val="Italy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"/>
  <p:tag name="EE4P_MAPWIZARD" val="Republic of Serbi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"/>
  <p:tag name="EE4P_MAPWIZARD" val="Slovaki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"/>
  <p:tag name="EE4P_MAPWIZARD" val="Sloveni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"/>
  <p:tag name="EE4P_MAPWIZARD" val="Swede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"/>
  <p:tag name="EE4P_MAPWIZARD" val="Ukrain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A"/>
  <p:tag name="EE4P_MAPWIZARD_HEADINGS" val="Admin 0"/>
  <p:tag name="EE4P_MAPWIZARD" val="Vatica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1"/>
  <p:tag name="EE4P_MAPWIZARD" val="Scottish Border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A"/>
  <p:tag name="EE4P_MAPWIZARD_HEADINGS" val="Admin 1"/>
  <p:tag name="EE4P_MAPWIZARD" val="Darlingt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A"/>
  <p:tag name="EE4P_MAPWIZARD_HEADINGS" val="Admin 1"/>
  <p:tag name="EE4P_MAPWIZARD" val="East Ayrshi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H"/>
  <p:tag name="EE4P_MAPWIZARD_HEADINGS" val="Admin 1"/>
  <p:tag name="EE4P_MAPWIZARD" val="Durham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P"/>
  <p:tag name="EE4P_MAPWIZARD_HEADINGS" val="Admin 1"/>
  <p:tag name="EE4P_MAPWIZARD" val="Hartlepoo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B"/>
  <p:tag name="EE4P_MAPWIZARD_HEADINGS" val="Admin 1"/>
  <p:tag name="EE4P_MAPWIZARD" val="Middlesbroug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C"/>
  <p:tag name="EE4P_MAPWIZARD_HEADINGS" val="Admin 1"/>
  <p:tag name="EE4P_MAPWIZARD" val="Redcar and Clevelan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T"/>
  <p:tag name="EE4P_MAPWIZARD_HEADINGS" val="Admin 1"/>
  <p:tag name="EE4P_MAPWIZARD" val="Stockton-on-Te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B"/>
  <p:tag name="EE4P_MAPWIZARD_HEADINGS" val="Admin 1"/>
  <p:tag name="EE4P_MAPWIZARD" val="Northumberlan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A"/>
  <p:tag name="EE4P_MAPWIZARD_HEADINGS" val="Admin 1"/>
  <p:tag name="EE4P_MAPWIZARD" val="Hampshir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H"/>
  <p:tag name="EE4P_MAPWIZARD_HEADINGS" val="Admin 1"/>
  <p:tag name="EE4P_MAPWIZARD" val="Southampt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1"/>
  <p:tag name="EE4P_MAPWIZARD" val="Milton Keyn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C"/>
  <p:tag name="EE4P_MAPWIZARD_HEADINGS" val="Admin 1"/>
  <p:tag name="EE4P_MAPWIZARD" val="Gloucestershir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D"/>
  <p:tag name="EE4P_MAPWIZARD_HEADINGS" val="Admin 1"/>
  <p:tag name="EE4P_MAPWIZARD" val="East Dunbartonshir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U"/>
  <p:tag name="EE4P_MAPWIZARD_HEADINGS" val="Admin 1"/>
  <p:tag name="EE4P_MAPWIZARD" val="Buckinghamshir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1"/>
  <p:tag name="EE4P_MAPWIZARD" val="Hertfordshir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1"/>
  <p:tag name="EE4P_MAPWIZARD" val="Bath and North East Somerse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1"/>
  <p:tag name="EE4P_MAPWIZARD" val="Bristo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S"/>
  <p:tag name="EE4P_MAPWIZARD_HEADINGS" val="Admin 1"/>
  <p:tag name="EE4P_MAPWIZARD" val="North Somerse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J"/>
  <p:tag name="EE4P_MAPWIZARD_HEADINGS" val="Admin 1"/>
  <p:tag name="EE4P_MAPWIZARD" val="South Gloucestershir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M"/>
  <p:tag name="EE4P_MAPWIZARD_HEADINGS" val="Admin 1"/>
  <p:tag name="EE4P_MAPWIZARD" val="Somerse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1"/>
  <p:tag name="EE4P_MAPWIZARD" val="Dev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M"/>
  <p:tag name="EE4P_MAPWIZARD_HEADINGS" val="Admin 1"/>
  <p:tag name="EE4P_MAPWIZARD" val="Bournemouth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S"/>
  <p:tag name="EE4P_MAPWIZARD_HEADINGS" val="Admin 1"/>
  <p:tag name="EE4P_MAPWIZARD" val="Dorse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1"/>
  <p:tag name="EE4P_MAPWIZARD" val="East Renfrewshir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M"/>
  <p:tag name="EE4P_MAPWIZARD_HEADINGS" val="Admin 1"/>
  <p:tag name="EE4P_MAPWIZARD" val="Poo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1"/>
  <p:tag name="EE4P_MAPWIZARD" val="Cambridgeshir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1"/>
  <p:tag name="EE4P_MAPWIZARD_HEADINGS" val="Admin 1"/>
  <p:tag name="EE4P_MAPWIZARD" val="Leicestershir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1"/>
  <p:tag name="EE4P_MAPWIZARD" val="Kingston upon Hul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1"/>
  <p:tag name="EE4P_MAPWIZARD" val="North East Lincolnshir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1"/>
  <p:tag name="EE4P_MAPWIZARD" val="North Lincolnshir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1"/>
  <p:tag name="EE4P_MAPWIZARD" val="Derby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B"/>
  <p:tag name="EE4P_MAPWIZARD_HEADINGS" val="Admin 1"/>
  <p:tag name="EE4P_MAPWIZARD" val="Derbyshir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1"/>
  <p:tag name="EE4P_MAPWIZARD" val="Barking and Dagenham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B"/>
  <p:tag name="EE4P_MAPWIZARD_HEADINGS" val="Admin 1"/>
  <p:tag name="EE4P_MAPWIZARD" val="Bexle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G"/>
  <p:tag name="EE4P_MAPWIZARD_HEADINGS" val="Admin 1"/>
  <p:tag name="EE4P_MAPWIZARD" val="Glasg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1"/>
  <p:tag name="EE4P_MAPWIZARD" val="Bren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1"/>
  <p:tag name="EE4P_MAPWIZARD" val="Bromley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1"/>
  <p:tag name="EE4P_MAPWIZARD" val="Camde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1"/>
  <p:tag name="EE4P_MAPWIZARD" val="Croyd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1"/>
  <p:tag name="EE4P_MAPWIZARD" val="Eali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F"/>
  <p:tag name="EE4P_MAPWIZARD_HEADINGS" val="Admin 1"/>
  <p:tag name="EE4P_MAPWIZARD" val="Enfie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1"/>
  <p:tag name="EE4P_MAPWIZARD" val="Greenwich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F"/>
  <p:tag name="EE4P_MAPWIZARD_HEADINGS" val="Admin 1"/>
  <p:tag name="EE4P_MAPWIZARD" val="Hammersmith and Fulham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1"/>
  <p:tag name="EE4P_MAPWIZARD" val="Hounslo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1"/>
  <p:tag name="EE4P_MAPWIZARD" val="Islingt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C"/>
  <p:tag name="EE4P_MAPWIZARD_HEADINGS" val="Admin 1"/>
  <p:tag name="EE4P_MAPWIZARD" val="Inverclyd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C"/>
  <p:tag name="EE4P_MAPWIZARD_HEADINGS" val="Admin 1"/>
  <p:tag name="EE4P_MAPWIZARD" val="Kensington and Chelse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1"/>
  <p:tag name="EE4P_MAPWIZARD" val="Mert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B"/>
  <p:tag name="EE4P_MAPWIZARD_HEADINGS" val="Admin 1"/>
  <p:tag name="EE4P_MAPWIZARD" val="Redbridg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1"/>
  <p:tag name="EE4P_MAPWIZARD" val="Richmond upon Tham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U"/>
  <p:tag name="EE4P_MAPWIZARD_HEADINGS" val="Admin 1"/>
  <p:tag name="EE4P_MAPWIZARD" val="Sutt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1"/>
  <p:tag name="EE4P_MAPWIZARD" val="Tower Hamlet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F"/>
  <p:tag name="EE4P_MAPWIZARD_HEADINGS" val="Admin 1"/>
  <p:tag name="EE4P_MAPWIZARD" val="Waltham Fores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W"/>
  <p:tag name="EE4P_MAPWIZARD_HEADINGS" val="Admin 1"/>
  <p:tag name="EE4P_MAPWIZARD" val="Wandsworth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WE"/>
  <p:tag name="EE4P_MAPWIZARD_HEADINGS" val="Admin 1"/>
  <p:tag name="EE4P_MAPWIZARD" val="Westminst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I"/>
  <p:tag name="EE4P_MAPWIZARD_HEADINGS" val="Admin 1"/>
  <p:tag name="EE4P_MAPWIZARD" val="Lincolnshi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D"/>
  <p:tag name="EE4P_MAPWIZARD_HEADINGS" val="Admin 1"/>
  <p:tag name="EE4P_MAPWIZARD" val="North Ayshir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1"/>
  <p:tag name="EE4P_MAPWIZARD" val="Carmarthenshir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3"/>
  <p:tag name="EE4P_MAPWIZARD_HEADINGS" val="Admin 1"/>
  <p:tag name="EE4P_MAPWIZARD" val="Ceredigi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1"/>
  <p:tag name="EE4P_MAPWIZARD" val="Pembrokeshir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L"/>
  <p:tag name="EE4P_MAPWIZARD_HEADINGS" val="Admin 1"/>
  <p:tag name="EE4P_MAPWIZARD" val="Halt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1"/>
  <p:tag name="EE4P_MAPWIZARD" val="Cornwal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O"/>
  <p:tag name="EE4P_MAPWIZARD_HEADINGS" val="Admin 1"/>
  <p:tag name="EE4P_MAPWIZARD" val="Powy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1"/>
  <p:tag name="EE4P_MAPWIZARD" val="Bridgen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P"/>
  <p:tag name="EE4P_MAPWIZARD_HEADINGS" val="Admin 1"/>
  <p:tag name="EE4P_MAPWIZARD" val="Caerphilly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T"/>
  <p:tag name="EE4P_MAPWIZARD_HEADINGS" val="Admin 1"/>
  <p:tag name="EE4P_MAPWIZARD" val="Merthyr Tydfil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T"/>
  <p:tag name="EE4P_MAPWIZARD_HEADINGS" val="Admin 1"/>
  <p:tag name="EE4P_MAPWIZARD" val="Rhondda, Cynon, Taff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N"/>
  <p:tag name="EE4P_MAPWIZARD_HEADINGS" val="Admin 1"/>
  <p:tag name="EE4P_MAPWIZARD" val="North Lanarkshir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1"/>
  <p:tag name="EE4P_MAPWIZARD" val="Cardiff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G"/>
  <p:tag name="EE4P_MAPWIZARD_HEADINGS" val="Admin 1"/>
  <p:tag name="EE4P_MAPWIZARD" val="Vale of Glamorga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1"/>
  <p:tag name="EE4P_MAPWIZARD" val="Neath Port Talbo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W"/>
  <p:tag name="EE4P_MAPWIZARD_HEADINGS" val="Admin 1"/>
  <p:tag name="EE4P_MAPWIZARD" val="Swans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K"/>
  <p:tag name="EE4P_MAPWIZARD_HEADINGS" val="Admin 1"/>
  <p:tag name="EE4P_MAPWIZARD" val="York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K"/>
  <p:tag name="EE4P_MAPWIZARD_HEADINGS" val="Admin 1"/>
  <p:tag name="EE4P_MAPWIZARD" val="Telford and Wreki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1"/>
  <p:tag name="EE4P_MAPWIZARD" val="Blackburn with Darwe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1"/>
  <p:tag name="EE4P_MAPWIZARD" val="Lancashir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Y"/>
  <p:tag name="EE4P_MAPWIZARD_HEADINGS" val="Admin 1"/>
  <p:tag name="EE4P_MAPWIZARD" val="East Riding of Yorkshir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I"/>
  <p:tag name="EE4P_MAPWIZARD_HEADINGS" val="Admin 1"/>
  <p:tag name="EE4P_MAPWIZARD" val="Denbighshire"/>
</p:tagLst>
</file>

<file path=ppt/theme/theme1.xml><?xml version="1.0" encoding="utf-8"?>
<a:theme xmlns:a="http://schemas.openxmlformats.org/drawingml/2006/main" name="11_Magnus Red 4ENERGY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2.xml><?xml version="1.0" encoding="utf-8"?>
<a:theme xmlns:a="http://schemas.openxmlformats.org/drawingml/2006/main" name="12_Magnus Red 4ENERGY">
  <a:themeElements>
    <a:clrScheme name="MARI PMO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B5905"/>
      </a:accent1>
      <a:accent2>
        <a:srgbClr val="0078AA"/>
      </a:accent2>
      <a:accent3>
        <a:srgbClr val="5F5F5F"/>
      </a:accent3>
      <a:accent4>
        <a:srgbClr val="DC7306"/>
      </a:accent4>
      <a:accent5>
        <a:srgbClr val="E4002B"/>
      </a:accent5>
      <a:accent6>
        <a:srgbClr val="BFBFBF"/>
      </a:accent6>
      <a:hlink>
        <a:srgbClr val="3F3F3F"/>
      </a:hlink>
      <a:folHlink>
        <a:srgbClr val="A5A5A5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7FA2B128EEFB42966526B431863192" ma:contentTypeVersion="3" ma:contentTypeDescription="Create a new document." ma:contentTypeScope="" ma:versionID="b571e774194a608990b7871124e4bbb9">
  <xsd:schema xmlns:xsd="http://www.w3.org/2001/XMLSchema" xmlns:xs="http://www.w3.org/2001/XMLSchema" xmlns:p="http://schemas.microsoft.com/office/2006/metadata/properties" xmlns:ns2="f89569d2-067d-48de-ab35-d2ef9d0f13c9" targetNamespace="http://schemas.microsoft.com/office/2006/metadata/properties" ma:root="true" ma:fieldsID="c2b70cf290f5c2d8978e13b112a65cc5" ns2:_="">
    <xsd:import namespace="f89569d2-067d-48de-ab35-d2ef9d0f13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9569d2-067d-48de-ab35-d2ef9d0f13c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470D290-21E3-4C5B-AA28-46F7A54A63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396C6EC-B670-4B8B-B6A1-D1F3B660B840}">
  <ds:schemaRefs>
    <ds:schemaRef ds:uri="http://schemas.microsoft.com/office/2006/documentManagement/types"/>
    <ds:schemaRef ds:uri="http://purl.org/dc/dcmitype/"/>
    <ds:schemaRef ds:uri="http://purl.org/dc/elements/1.1/"/>
    <ds:schemaRef ds:uri="http://www.w3.org/XML/1998/namespace"/>
    <ds:schemaRef ds:uri="http://schemas.microsoft.com/office/infopath/2007/PartnerControls"/>
    <ds:schemaRef ds:uri="f89569d2-067d-48de-ab35-d2ef9d0f13c9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2FD9CA4-C678-41A2-996E-039571D8EF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9569d2-067d-48de-ab35-d2ef9d0f13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489738c2-04c6-4350-92ad-ce129e1deca5}" enabled="1" method="Privileged" siteId="{5a599c86-6e50-4562-81a7-1b85777f7db7}" contentBits="0" removed="0"/>
  <clbl:label id="{eb769cfb-dd8b-4bb8-a400-4916379695bd}" enabled="1" method="Privileged" siteId="{d602ad75-52f3-4a9e-930c-683bb9414935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</TotalTime>
  <Words>441</Words>
  <Application>Microsoft Office PowerPoint</Application>
  <PresentationFormat>A4 Paper (210x297 mm)</PresentationFormat>
  <Paragraphs>84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 Unicode MS</vt:lpstr>
      <vt:lpstr>Calibri</vt:lpstr>
      <vt:lpstr>Wingdings</vt:lpstr>
      <vt:lpstr>11_Magnus Red 4ENERGY</vt:lpstr>
      <vt:lpstr>12_Magnus Red 4ENERGY</vt:lpstr>
      <vt:lpstr>think-cell Folie</vt:lpstr>
      <vt:lpstr>PowerPoint Presentation</vt:lpstr>
      <vt:lpstr>Introduction</vt:lpstr>
      <vt:lpstr>Recent developments and updates</vt:lpstr>
      <vt:lpstr>Recent developments and updates</vt:lpstr>
      <vt:lpstr>Recent developments and updates</vt:lpstr>
      <vt:lpstr>Recent developments and updates</vt:lpstr>
      <vt:lpstr>Recent developments and updat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oph Hindersmann</dc:creator>
  <cp:lastModifiedBy>Pflanzer Václav</cp:lastModifiedBy>
  <cp:revision>374</cp:revision>
  <dcterms:created xsi:type="dcterms:W3CDTF">2018-12-04T09:56:18Z</dcterms:created>
  <dcterms:modified xsi:type="dcterms:W3CDTF">2025-06-24T13:5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7FA2B128EEFB42966526B431863192</vt:lpwstr>
  </property>
  <property fmtid="{D5CDD505-2E9C-101B-9397-08002B2CF9AE}" pid="3" name="MediaServiceImageTags">
    <vt:lpwstr/>
  </property>
  <property fmtid="{D5CDD505-2E9C-101B-9397-08002B2CF9AE}" pid="4" name="ClassificationContentMarkingFooterLocations">
    <vt:lpwstr>11_Magnus Red 4ENERGY:6\12_Magnus Red 4ENERGY:7</vt:lpwstr>
  </property>
  <property fmtid="{D5CDD505-2E9C-101B-9397-08002B2CF9AE}" pid="5" name="ClassificationContentMarkingFooterText">
    <vt:lpwstr>Klasifikace: Veřejné</vt:lpwstr>
  </property>
  <property fmtid="{D5CDD505-2E9C-101B-9397-08002B2CF9AE}" pid="6" name="ClassificationContentMarkingHeaderLocations">
    <vt:lpwstr>11_Magnus Red 4ENERGY:6\12_Magnus Red 4ENERGY:8</vt:lpwstr>
  </property>
  <property fmtid="{D5CDD505-2E9C-101B-9397-08002B2CF9AE}" pid="7" name="ClassificationContentMarkingHeaderText">
    <vt:lpwstr>Intern (Internal)</vt:lpwstr>
  </property>
</Properties>
</file>